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3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4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6.xml" ContentType="application/vnd.openxmlformats-officedocument.theme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7.xml" ContentType="application/vnd.openxmlformats-officedocument.theme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8.xml" ContentType="application/vnd.openxmlformats-officedocument.theme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9.xml" ContentType="application/vnd.openxmlformats-officedocument.theme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  <p:sldMasterId id="2147483679" r:id="rId2"/>
    <p:sldMasterId id="2147483710" r:id="rId3"/>
    <p:sldMasterId id="2147483800" r:id="rId4"/>
    <p:sldMasterId id="2147483875" r:id="rId5"/>
    <p:sldMasterId id="2147483928" r:id="rId6"/>
    <p:sldMasterId id="2147483947" r:id="rId7"/>
    <p:sldMasterId id="2147483975" r:id="rId8"/>
    <p:sldMasterId id="2147483997" r:id="rId9"/>
    <p:sldMasterId id="2147484018" r:id="rId10"/>
  </p:sldMasterIdLst>
  <p:notesMasterIdLst>
    <p:notesMasterId r:id="rId24"/>
  </p:notesMasterIdLst>
  <p:sldIdLst>
    <p:sldId id="416" r:id="rId11"/>
    <p:sldId id="503" r:id="rId12"/>
    <p:sldId id="506" r:id="rId13"/>
    <p:sldId id="495" r:id="rId14"/>
    <p:sldId id="494" r:id="rId15"/>
    <p:sldId id="496" r:id="rId16"/>
    <p:sldId id="497" r:id="rId17"/>
    <p:sldId id="501" r:id="rId18"/>
    <p:sldId id="507" r:id="rId19"/>
    <p:sldId id="500" r:id="rId20"/>
    <p:sldId id="498" r:id="rId21"/>
    <p:sldId id="504" r:id="rId22"/>
    <p:sldId id="502" r:id="rId23"/>
  </p:sldIdLst>
  <p:sldSz cx="9906000" cy="6858000" type="A4"/>
  <p:notesSz cx="9906000" cy="6858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Пьянзин Станислав Русланович" initials="ПСР" lastIdx="12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CC"/>
    <a:srgbClr val="FCC917"/>
    <a:srgbClr val="585858"/>
    <a:srgbClr val="595959"/>
    <a:srgbClr val="BF1238"/>
    <a:srgbClr val="00877D"/>
    <a:srgbClr val="FFCC66"/>
    <a:srgbClr val="C898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2C8C85-51F0-491E-9774-3900AFEF0FD7}" styleName="Светлый стиль 2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790" autoAdjust="0"/>
    <p:restoredTop sz="96283" autoAdjust="0"/>
  </p:normalViewPr>
  <p:slideViewPr>
    <p:cSldViewPr>
      <p:cViewPr>
        <p:scale>
          <a:sx n="100" d="100"/>
          <a:sy n="100" d="100"/>
        </p:scale>
        <p:origin x="2010" y="279"/>
      </p:cViewPr>
      <p:guideLst>
        <p:guide orient="horz" pos="2880"/>
        <p:guide pos="216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2926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11813" y="0"/>
            <a:ext cx="42926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F30636-7FA8-4D51-8008-535995B5E8D6}" type="datetimeFigureOut">
              <a:rPr lang="ru-RU" smtClean="0"/>
              <a:t>11.02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095625" y="514350"/>
            <a:ext cx="371475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0600" y="3257550"/>
            <a:ext cx="79248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42926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11813" y="6513513"/>
            <a:ext cx="42926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029975-B369-4F07-8AE4-E1F147C8E21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69819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A7C119-28D5-5342-8FDF-728EEBCB3E7E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766343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A7C119-28D5-5342-8FDF-728EEBCB3E7E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24769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A7C119-28D5-5342-8FDF-728EEBCB3E7E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11453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A7C119-28D5-5342-8FDF-728EEBCB3E7E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24816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A7C119-28D5-5342-8FDF-728EEBCB3E7E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511064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A7C119-28D5-5342-8FDF-728EEBCB3E7E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27726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A7C119-28D5-5342-8FDF-728EEBCB3E7E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607669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9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0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>
            <a:off x="15" y="3"/>
            <a:ext cx="9906000" cy="948807"/>
          </a:xfrm>
          <a:prstGeom prst="rect">
            <a:avLst/>
          </a:prstGeom>
          <a:solidFill>
            <a:srgbClr val="53575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86008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583556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716154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2867434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1544094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Вертикальный заголовок и текст">
    <p:bg>
      <p:bgPr>
        <a:blipFill dpi="0" rotWithShape="1">
          <a:blip r:embed="rId2" cstate="print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" y="393600"/>
            <a:ext cx="9906000" cy="6464401"/>
          </a:xfrm>
          <a:prstGeom prst="rect">
            <a:avLst/>
          </a:prstGeom>
        </p:spPr>
      </p:pic>
      <p:sp>
        <p:nvSpPr>
          <p:cNvPr id="7" name="AutoShape 3"/>
          <p:cNvSpPr>
            <a:spLocks noChangeAspect="1" noChangeArrowheads="1" noTextEdit="1"/>
          </p:cNvSpPr>
          <p:nvPr userDrawn="1"/>
        </p:nvSpPr>
        <p:spPr bwMode="auto">
          <a:xfrm>
            <a:off x="531416" y="488952"/>
            <a:ext cx="2393950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" name="Группа 14"/>
          <p:cNvGrpSpPr/>
          <p:nvPr userDrawn="1"/>
        </p:nvGrpSpPr>
        <p:grpSpPr>
          <a:xfrm>
            <a:off x="531416" y="487363"/>
            <a:ext cx="2332038" cy="455612"/>
            <a:chOff x="490538" y="487363"/>
            <a:chExt cx="2152650" cy="455612"/>
          </a:xfrm>
        </p:grpSpPr>
        <p:sp>
          <p:nvSpPr>
            <p:cNvPr id="6" name="Freeform 5"/>
            <p:cNvSpPr>
              <a:spLocks noEditPoints="1"/>
            </p:cNvSpPr>
            <p:nvPr userDrawn="1"/>
          </p:nvSpPr>
          <p:spPr bwMode="auto">
            <a:xfrm>
              <a:off x="1144588" y="590550"/>
              <a:ext cx="1498600" cy="247650"/>
            </a:xfrm>
            <a:custGeom>
              <a:avLst/>
              <a:gdLst>
                <a:gd name="T0" fmla="*/ 2465 w 11327"/>
                <a:gd name="T1" fmla="*/ 803 h 1868"/>
                <a:gd name="T2" fmla="*/ 2667 w 11327"/>
                <a:gd name="T3" fmla="*/ 466 h 1868"/>
                <a:gd name="T4" fmla="*/ 3049 w 11327"/>
                <a:gd name="T5" fmla="*/ 345 h 1868"/>
                <a:gd name="T6" fmla="*/ 3430 w 11327"/>
                <a:gd name="T7" fmla="*/ 466 h 1868"/>
                <a:gd name="T8" fmla="*/ 3632 w 11327"/>
                <a:gd name="T9" fmla="*/ 803 h 1868"/>
                <a:gd name="T10" fmla="*/ 3574 w 11327"/>
                <a:gd name="T11" fmla="*/ 1233 h 1868"/>
                <a:gd name="T12" fmla="*/ 3284 w 11327"/>
                <a:gd name="T13" fmla="*/ 1483 h 1868"/>
                <a:gd name="T14" fmla="*/ 2870 w 11327"/>
                <a:gd name="T15" fmla="*/ 1500 h 1868"/>
                <a:gd name="T16" fmla="*/ 2553 w 11327"/>
                <a:gd name="T17" fmla="*/ 1281 h 1868"/>
                <a:gd name="T18" fmla="*/ 4046 w 11327"/>
                <a:gd name="T19" fmla="*/ 882 h 1868"/>
                <a:gd name="T20" fmla="*/ 3784 w 11327"/>
                <a:gd name="T21" fmla="*/ 289 h 1868"/>
                <a:gd name="T22" fmla="*/ 3199 w 11327"/>
                <a:gd name="T23" fmla="*/ 10 h 1868"/>
                <a:gd name="T24" fmla="*/ 2536 w 11327"/>
                <a:gd name="T25" fmla="*/ 125 h 1868"/>
                <a:gd name="T26" fmla="*/ 2113 w 11327"/>
                <a:gd name="T27" fmla="*/ 595 h 1868"/>
                <a:gd name="T28" fmla="*/ 2113 w 11327"/>
                <a:gd name="T29" fmla="*/ 1273 h 1868"/>
                <a:gd name="T30" fmla="*/ 2536 w 11327"/>
                <a:gd name="T31" fmla="*/ 1743 h 1868"/>
                <a:gd name="T32" fmla="*/ 3199 w 11327"/>
                <a:gd name="T33" fmla="*/ 1858 h 1868"/>
                <a:gd name="T34" fmla="*/ 3784 w 11327"/>
                <a:gd name="T35" fmla="*/ 1579 h 1868"/>
                <a:gd name="T36" fmla="*/ 4046 w 11327"/>
                <a:gd name="T37" fmla="*/ 985 h 1868"/>
                <a:gd name="T38" fmla="*/ 4444 w 11327"/>
                <a:gd name="T39" fmla="*/ 1443 h 1868"/>
                <a:gd name="T40" fmla="*/ 4540 w 11327"/>
                <a:gd name="T41" fmla="*/ 1808 h 1868"/>
                <a:gd name="T42" fmla="*/ 4811 w 11327"/>
                <a:gd name="T43" fmla="*/ 1650 h 1868"/>
                <a:gd name="T44" fmla="*/ 5796 w 11327"/>
                <a:gd name="T45" fmla="*/ 403 h 1868"/>
                <a:gd name="T46" fmla="*/ 7304 w 11327"/>
                <a:gd name="T47" fmla="*/ 1292 h 1868"/>
                <a:gd name="T48" fmla="*/ 7673 w 11327"/>
                <a:gd name="T49" fmla="*/ 1730 h 1868"/>
                <a:gd name="T50" fmla="*/ 8267 w 11327"/>
                <a:gd name="T51" fmla="*/ 1867 h 1868"/>
                <a:gd name="T52" fmla="*/ 8871 w 11327"/>
                <a:gd name="T53" fmla="*/ 1653 h 1868"/>
                <a:gd name="T54" fmla="*/ 9178 w 11327"/>
                <a:gd name="T55" fmla="*/ 1094 h 1868"/>
                <a:gd name="T56" fmla="*/ 9049 w 11327"/>
                <a:gd name="T57" fmla="*/ 414 h 1868"/>
                <a:gd name="T58" fmla="*/ 8552 w 11327"/>
                <a:gd name="T59" fmla="*/ 48 h 1868"/>
                <a:gd name="T60" fmla="*/ 7924 w 11327"/>
                <a:gd name="T61" fmla="*/ 36 h 1868"/>
                <a:gd name="T62" fmla="*/ 7459 w 11327"/>
                <a:gd name="T63" fmla="*/ 313 h 1868"/>
                <a:gd name="T64" fmla="*/ 6585 w 11327"/>
                <a:gd name="T65" fmla="*/ 42 h 1868"/>
                <a:gd name="T66" fmla="*/ 7740 w 11327"/>
                <a:gd name="T67" fmla="*/ 563 h 1868"/>
                <a:gd name="T68" fmla="*/ 8053 w 11327"/>
                <a:gd name="T69" fmla="*/ 361 h 1868"/>
                <a:gd name="T70" fmla="*/ 8492 w 11327"/>
                <a:gd name="T71" fmla="*/ 396 h 1868"/>
                <a:gd name="T72" fmla="*/ 8744 w 11327"/>
                <a:gd name="T73" fmla="*/ 660 h 1868"/>
                <a:gd name="T74" fmla="*/ 8775 w 11327"/>
                <a:gd name="T75" fmla="*/ 1095 h 1868"/>
                <a:gd name="T76" fmla="*/ 8585 w 11327"/>
                <a:gd name="T77" fmla="*/ 1418 h 1868"/>
                <a:gd name="T78" fmla="*/ 8182 w 11327"/>
                <a:gd name="T79" fmla="*/ 1522 h 1868"/>
                <a:gd name="T80" fmla="*/ 7807 w 11327"/>
                <a:gd name="T81" fmla="*/ 1385 h 1868"/>
                <a:gd name="T82" fmla="*/ 7649 w 11327"/>
                <a:gd name="T83" fmla="*/ 1033 h 1868"/>
                <a:gd name="T84" fmla="*/ 11121 w 11327"/>
                <a:gd name="T85" fmla="*/ 228 h 1868"/>
                <a:gd name="T86" fmla="*/ 10716 w 11327"/>
                <a:gd name="T87" fmla="*/ 30 h 1868"/>
                <a:gd name="T88" fmla="*/ 10126 w 11327"/>
                <a:gd name="T89" fmla="*/ 37 h 1868"/>
                <a:gd name="T90" fmla="*/ 9598 w 11327"/>
                <a:gd name="T91" fmla="*/ 385 h 1868"/>
                <a:gd name="T92" fmla="*/ 9435 w 11327"/>
                <a:gd name="T93" fmla="*/ 1039 h 1868"/>
                <a:gd name="T94" fmla="*/ 9714 w 11327"/>
                <a:gd name="T95" fmla="*/ 1617 h 1868"/>
                <a:gd name="T96" fmla="*/ 10320 w 11327"/>
                <a:gd name="T97" fmla="*/ 1863 h 1868"/>
                <a:gd name="T98" fmla="*/ 10845 w 11327"/>
                <a:gd name="T99" fmla="*/ 1799 h 1868"/>
                <a:gd name="T100" fmla="*/ 11211 w 11327"/>
                <a:gd name="T101" fmla="*/ 1551 h 1868"/>
                <a:gd name="T102" fmla="*/ 10919 w 11327"/>
                <a:gd name="T103" fmla="*/ 1325 h 1868"/>
                <a:gd name="T104" fmla="*/ 10676 w 11327"/>
                <a:gd name="T105" fmla="*/ 1473 h 1868"/>
                <a:gd name="T106" fmla="*/ 10324 w 11327"/>
                <a:gd name="T107" fmla="*/ 1504 h 1868"/>
                <a:gd name="T108" fmla="*/ 9975 w 11327"/>
                <a:gd name="T109" fmla="*/ 1332 h 1868"/>
                <a:gd name="T110" fmla="*/ 9831 w 11327"/>
                <a:gd name="T111" fmla="*/ 966 h 1868"/>
                <a:gd name="T112" fmla="*/ 9938 w 11327"/>
                <a:gd name="T113" fmla="*/ 575 h 1868"/>
                <a:gd name="T114" fmla="*/ 10261 w 11327"/>
                <a:gd name="T115" fmla="*/ 373 h 1868"/>
                <a:gd name="T116" fmla="*/ 10634 w 11327"/>
                <a:gd name="T117" fmla="*/ 382 h 1868"/>
                <a:gd name="T118" fmla="*/ 10890 w 11327"/>
                <a:gd name="T119" fmla="*/ 515 h 1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27" h="1868">
                  <a:moveTo>
                    <a:pt x="0" y="42"/>
                  </a:moveTo>
                  <a:lnTo>
                    <a:pt x="0" y="1822"/>
                  </a:lnTo>
                  <a:lnTo>
                    <a:pt x="399" y="1822"/>
                  </a:lnTo>
                  <a:lnTo>
                    <a:pt x="399" y="400"/>
                  </a:lnTo>
                  <a:lnTo>
                    <a:pt x="1352" y="400"/>
                  </a:lnTo>
                  <a:lnTo>
                    <a:pt x="1352" y="1822"/>
                  </a:lnTo>
                  <a:lnTo>
                    <a:pt x="1755" y="1822"/>
                  </a:lnTo>
                  <a:lnTo>
                    <a:pt x="1755" y="42"/>
                  </a:lnTo>
                  <a:lnTo>
                    <a:pt x="0" y="42"/>
                  </a:lnTo>
                  <a:close/>
                  <a:moveTo>
                    <a:pt x="2454" y="933"/>
                  </a:moveTo>
                  <a:lnTo>
                    <a:pt x="2454" y="900"/>
                  </a:lnTo>
                  <a:lnTo>
                    <a:pt x="2457" y="866"/>
                  </a:lnTo>
                  <a:lnTo>
                    <a:pt x="2460" y="835"/>
                  </a:lnTo>
                  <a:lnTo>
                    <a:pt x="2465" y="803"/>
                  </a:lnTo>
                  <a:lnTo>
                    <a:pt x="2472" y="773"/>
                  </a:lnTo>
                  <a:lnTo>
                    <a:pt x="2480" y="743"/>
                  </a:lnTo>
                  <a:lnTo>
                    <a:pt x="2489" y="715"/>
                  </a:lnTo>
                  <a:lnTo>
                    <a:pt x="2499" y="686"/>
                  </a:lnTo>
                  <a:lnTo>
                    <a:pt x="2511" y="660"/>
                  </a:lnTo>
                  <a:lnTo>
                    <a:pt x="2524" y="634"/>
                  </a:lnTo>
                  <a:lnTo>
                    <a:pt x="2538" y="610"/>
                  </a:lnTo>
                  <a:lnTo>
                    <a:pt x="2553" y="586"/>
                  </a:lnTo>
                  <a:lnTo>
                    <a:pt x="2570" y="563"/>
                  </a:lnTo>
                  <a:lnTo>
                    <a:pt x="2588" y="542"/>
                  </a:lnTo>
                  <a:lnTo>
                    <a:pt x="2606" y="521"/>
                  </a:lnTo>
                  <a:lnTo>
                    <a:pt x="2626" y="501"/>
                  </a:lnTo>
                  <a:lnTo>
                    <a:pt x="2646" y="483"/>
                  </a:lnTo>
                  <a:lnTo>
                    <a:pt x="2667" y="466"/>
                  </a:lnTo>
                  <a:lnTo>
                    <a:pt x="2691" y="449"/>
                  </a:lnTo>
                  <a:lnTo>
                    <a:pt x="2713" y="434"/>
                  </a:lnTo>
                  <a:lnTo>
                    <a:pt x="2737" y="420"/>
                  </a:lnTo>
                  <a:lnTo>
                    <a:pt x="2763" y="408"/>
                  </a:lnTo>
                  <a:lnTo>
                    <a:pt x="2788" y="396"/>
                  </a:lnTo>
                  <a:lnTo>
                    <a:pt x="2815" y="385"/>
                  </a:lnTo>
                  <a:lnTo>
                    <a:pt x="2842" y="375"/>
                  </a:lnTo>
                  <a:lnTo>
                    <a:pt x="2870" y="367"/>
                  </a:lnTo>
                  <a:lnTo>
                    <a:pt x="2898" y="361"/>
                  </a:lnTo>
                  <a:lnTo>
                    <a:pt x="2928" y="355"/>
                  </a:lnTo>
                  <a:lnTo>
                    <a:pt x="2957" y="351"/>
                  </a:lnTo>
                  <a:lnTo>
                    <a:pt x="2988" y="347"/>
                  </a:lnTo>
                  <a:lnTo>
                    <a:pt x="3018" y="345"/>
                  </a:lnTo>
                  <a:lnTo>
                    <a:pt x="3049" y="345"/>
                  </a:lnTo>
                  <a:lnTo>
                    <a:pt x="3080" y="345"/>
                  </a:lnTo>
                  <a:lnTo>
                    <a:pt x="3111" y="347"/>
                  </a:lnTo>
                  <a:lnTo>
                    <a:pt x="3141" y="351"/>
                  </a:lnTo>
                  <a:lnTo>
                    <a:pt x="3171" y="355"/>
                  </a:lnTo>
                  <a:lnTo>
                    <a:pt x="3200" y="361"/>
                  </a:lnTo>
                  <a:lnTo>
                    <a:pt x="3229" y="367"/>
                  </a:lnTo>
                  <a:lnTo>
                    <a:pt x="3256" y="375"/>
                  </a:lnTo>
                  <a:lnTo>
                    <a:pt x="3284" y="385"/>
                  </a:lnTo>
                  <a:lnTo>
                    <a:pt x="3310" y="396"/>
                  </a:lnTo>
                  <a:lnTo>
                    <a:pt x="3335" y="408"/>
                  </a:lnTo>
                  <a:lnTo>
                    <a:pt x="3361" y="420"/>
                  </a:lnTo>
                  <a:lnTo>
                    <a:pt x="3384" y="434"/>
                  </a:lnTo>
                  <a:lnTo>
                    <a:pt x="3408" y="449"/>
                  </a:lnTo>
                  <a:lnTo>
                    <a:pt x="3430" y="466"/>
                  </a:lnTo>
                  <a:lnTo>
                    <a:pt x="3452" y="483"/>
                  </a:lnTo>
                  <a:lnTo>
                    <a:pt x="3473" y="501"/>
                  </a:lnTo>
                  <a:lnTo>
                    <a:pt x="3492" y="521"/>
                  </a:lnTo>
                  <a:lnTo>
                    <a:pt x="3510" y="542"/>
                  </a:lnTo>
                  <a:lnTo>
                    <a:pt x="3528" y="563"/>
                  </a:lnTo>
                  <a:lnTo>
                    <a:pt x="3545" y="586"/>
                  </a:lnTo>
                  <a:lnTo>
                    <a:pt x="3560" y="610"/>
                  </a:lnTo>
                  <a:lnTo>
                    <a:pt x="3574" y="634"/>
                  </a:lnTo>
                  <a:lnTo>
                    <a:pt x="3587" y="660"/>
                  </a:lnTo>
                  <a:lnTo>
                    <a:pt x="3599" y="686"/>
                  </a:lnTo>
                  <a:lnTo>
                    <a:pt x="3609" y="715"/>
                  </a:lnTo>
                  <a:lnTo>
                    <a:pt x="3618" y="743"/>
                  </a:lnTo>
                  <a:lnTo>
                    <a:pt x="3626" y="773"/>
                  </a:lnTo>
                  <a:lnTo>
                    <a:pt x="3632" y="803"/>
                  </a:lnTo>
                  <a:lnTo>
                    <a:pt x="3637" y="835"/>
                  </a:lnTo>
                  <a:lnTo>
                    <a:pt x="3642" y="866"/>
                  </a:lnTo>
                  <a:lnTo>
                    <a:pt x="3644" y="900"/>
                  </a:lnTo>
                  <a:lnTo>
                    <a:pt x="3645" y="933"/>
                  </a:lnTo>
                  <a:lnTo>
                    <a:pt x="3644" y="968"/>
                  </a:lnTo>
                  <a:lnTo>
                    <a:pt x="3642" y="1001"/>
                  </a:lnTo>
                  <a:lnTo>
                    <a:pt x="3637" y="1033"/>
                  </a:lnTo>
                  <a:lnTo>
                    <a:pt x="3632" y="1065"/>
                  </a:lnTo>
                  <a:lnTo>
                    <a:pt x="3626" y="1095"/>
                  </a:lnTo>
                  <a:lnTo>
                    <a:pt x="3618" y="1125"/>
                  </a:lnTo>
                  <a:lnTo>
                    <a:pt x="3609" y="1153"/>
                  </a:lnTo>
                  <a:lnTo>
                    <a:pt x="3599" y="1181"/>
                  </a:lnTo>
                  <a:lnTo>
                    <a:pt x="3587" y="1207"/>
                  </a:lnTo>
                  <a:lnTo>
                    <a:pt x="3574" y="1233"/>
                  </a:lnTo>
                  <a:lnTo>
                    <a:pt x="3560" y="1258"/>
                  </a:lnTo>
                  <a:lnTo>
                    <a:pt x="3545" y="1281"/>
                  </a:lnTo>
                  <a:lnTo>
                    <a:pt x="3528" y="1305"/>
                  </a:lnTo>
                  <a:lnTo>
                    <a:pt x="3510" y="1326"/>
                  </a:lnTo>
                  <a:lnTo>
                    <a:pt x="3492" y="1346"/>
                  </a:lnTo>
                  <a:lnTo>
                    <a:pt x="3473" y="1366"/>
                  </a:lnTo>
                  <a:lnTo>
                    <a:pt x="3452" y="1385"/>
                  </a:lnTo>
                  <a:lnTo>
                    <a:pt x="3430" y="1402"/>
                  </a:lnTo>
                  <a:lnTo>
                    <a:pt x="3408" y="1418"/>
                  </a:lnTo>
                  <a:lnTo>
                    <a:pt x="3384" y="1434"/>
                  </a:lnTo>
                  <a:lnTo>
                    <a:pt x="3361" y="1447"/>
                  </a:lnTo>
                  <a:lnTo>
                    <a:pt x="3335" y="1460"/>
                  </a:lnTo>
                  <a:lnTo>
                    <a:pt x="3310" y="1472"/>
                  </a:lnTo>
                  <a:lnTo>
                    <a:pt x="3284" y="1483"/>
                  </a:lnTo>
                  <a:lnTo>
                    <a:pt x="3256" y="1492"/>
                  </a:lnTo>
                  <a:lnTo>
                    <a:pt x="3229" y="1500"/>
                  </a:lnTo>
                  <a:lnTo>
                    <a:pt x="3200" y="1507"/>
                  </a:lnTo>
                  <a:lnTo>
                    <a:pt x="3171" y="1513"/>
                  </a:lnTo>
                  <a:lnTo>
                    <a:pt x="3141" y="1517"/>
                  </a:lnTo>
                  <a:lnTo>
                    <a:pt x="3111" y="1520"/>
                  </a:lnTo>
                  <a:lnTo>
                    <a:pt x="3080" y="1522"/>
                  </a:lnTo>
                  <a:lnTo>
                    <a:pt x="3049" y="1523"/>
                  </a:lnTo>
                  <a:lnTo>
                    <a:pt x="3018" y="1522"/>
                  </a:lnTo>
                  <a:lnTo>
                    <a:pt x="2988" y="1520"/>
                  </a:lnTo>
                  <a:lnTo>
                    <a:pt x="2957" y="1517"/>
                  </a:lnTo>
                  <a:lnTo>
                    <a:pt x="2928" y="1513"/>
                  </a:lnTo>
                  <a:lnTo>
                    <a:pt x="2898" y="1507"/>
                  </a:lnTo>
                  <a:lnTo>
                    <a:pt x="2870" y="1500"/>
                  </a:lnTo>
                  <a:lnTo>
                    <a:pt x="2842" y="1492"/>
                  </a:lnTo>
                  <a:lnTo>
                    <a:pt x="2815" y="1483"/>
                  </a:lnTo>
                  <a:lnTo>
                    <a:pt x="2788" y="1472"/>
                  </a:lnTo>
                  <a:lnTo>
                    <a:pt x="2763" y="1460"/>
                  </a:lnTo>
                  <a:lnTo>
                    <a:pt x="2737" y="1447"/>
                  </a:lnTo>
                  <a:lnTo>
                    <a:pt x="2713" y="1434"/>
                  </a:lnTo>
                  <a:lnTo>
                    <a:pt x="2691" y="1418"/>
                  </a:lnTo>
                  <a:lnTo>
                    <a:pt x="2667" y="1402"/>
                  </a:lnTo>
                  <a:lnTo>
                    <a:pt x="2646" y="1385"/>
                  </a:lnTo>
                  <a:lnTo>
                    <a:pt x="2626" y="1366"/>
                  </a:lnTo>
                  <a:lnTo>
                    <a:pt x="2606" y="1346"/>
                  </a:lnTo>
                  <a:lnTo>
                    <a:pt x="2588" y="1326"/>
                  </a:lnTo>
                  <a:lnTo>
                    <a:pt x="2570" y="1305"/>
                  </a:lnTo>
                  <a:lnTo>
                    <a:pt x="2553" y="1281"/>
                  </a:lnTo>
                  <a:lnTo>
                    <a:pt x="2538" y="1258"/>
                  </a:lnTo>
                  <a:lnTo>
                    <a:pt x="2524" y="1233"/>
                  </a:lnTo>
                  <a:lnTo>
                    <a:pt x="2511" y="1207"/>
                  </a:lnTo>
                  <a:lnTo>
                    <a:pt x="2499" y="1181"/>
                  </a:lnTo>
                  <a:lnTo>
                    <a:pt x="2489" y="1153"/>
                  </a:lnTo>
                  <a:lnTo>
                    <a:pt x="2480" y="1125"/>
                  </a:lnTo>
                  <a:lnTo>
                    <a:pt x="2472" y="1095"/>
                  </a:lnTo>
                  <a:lnTo>
                    <a:pt x="2465" y="1065"/>
                  </a:lnTo>
                  <a:lnTo>
                    <a:pt x="2460" y="1033"/>
                  </a:lnTo>
                  <a:lnTo>
                    <a:pt x="2457" y="1001"/>
                  </a:lnTo>
                  <a:lnTo>
                    <a:pt x="2454" y="968"/>
                  </a:lnTo>
                  <a:lnTo>
                    <a:pt x="2454" y="933"/>
                  </a:lnTo>
                  <a:close/>
                  <a:moveTo>
                    <a:pt x="4047" y="933"/>
                  </a:moveTo>
                  <a:lnTo>
                    <a:pt x="4046" y="882"/>
                  </a:lnTo>
                  <a:lnTo>
                    <a:pt x="4042" y="831"/>
                  </a:lnTo>
                  <a:lnTo>
                    <a:pt x="4035" y="781"/>
                  </a:lnTo>
                  <a:lnTo>
                    <a:pt x="4026" y="733"/>
                  </a:lnTo>
                  <a:lnTo>
                    <a:pt x="4015" y="685"/>
                  </a:lnTo>
                  <a:lnTo>
                    <a:pt x="4002" y="640"/>
                  </a:lnTo>
                  <a:lnTo>
                    <a:pt x="3985" y="595"/>
                  </a:lnTo>
                  <a:lnTo>
                    <a:pt x="3967" y="551"/>
                  </a:lnTo>
                  <a:lnTo>
                    <a:pt x="3947" y="509"/>
                  </a:lnTo>
                  <a:lnTo>
                    <a:pt x="3924" y="469"/>
                  </a:lnTo>
                  <a:lnTo>
                    <a:pt x="3900" y="430"/>
                  </a:lnTo>
                  <a:lnTo>
                    <a:pt x="3874" y="392"/>
                  </a:lnTo>
                  <a:lnTo>
                    <a:pt x="3846" y="356"/>
                  </a:lnTo>
                  <a:lnTo>
                    <a:pt x="3815" y="321"/>
                  </a:lnTo>
                  <a:lnTo>
                    <a:pt x="3784" y="289"/>
                  </a:lnTo>
                  <a:lnTo>
                    <a:pt x="3751" y="257"/>
                  </a:lnTo>
                  <a:lnTo>
                    <a:pt x="3716" y="227"/>
                  </a:lnTo>
                  <a:lnTo>
                    <a:pt x="3679" y="199"/>
                  </a:lnTo>
                  <a:lnTo>
                    <a:pt x="3642" y="173"/>
                  </a:lnTo>
                  <a:lnTo>
                    <a:pt x="3603" y="147"/>
                  </a:lnTo>
                  <a:lnTo>
                    <a:pt x="3562" y="125"/>
                  </a:lnTo>
                  <a:lnTo>
                    <a:pt x="3521" y="104"/>
                  </a:lnTo>
                  <a:lnTo>
                    <a:pt x="3477" y="84"/>
                  </a:lnTo>
                  <a:lnTo>
                    <a:pt x="3433" y="67"/>
                  </a:lnTo>
                  <a:lnTo>
                    <a:pt x="3388" y="52"/>
                  </a:lnTo>
                  <a:lnTo>
                    <a:pt x="3342" y="39"/>
                  </a:lnTo>
                  <a:lnTo>
                    <a:pt x="3295" y="26"/>
                  </a:lnTo>
                  <a:lnTo>
                    <a:pt x="3247" y="17"/>
                  </a:lnTo>
                  <a:lnTo>
                    <a:pt x="3199" y="10"/>
                  </a:lnTo>
                  <a:lnTo>
                    <a:pt x="3149" y="4"/>
                  </a:lnTo>
                  <a:lnTo>
                    <a:pt x="3099" y="1"/>
                  </a:lnTo>
                  <a:lnTo>
                    <a:pt x="3049" y="0"/>
                  </a:lnTo>
                  <a:lnTo>
                    <a:pt x="2999" y="1"/>
                  </a:lnTo>
                  <a:lnTo>
                    <a:pt x="2949" y="4"/>
                  </a:lnTo>
                  <a:lnTo>
                    <a:pt x="2899" y="10"/>
                  </a:lnTo>
                  <a:lnTo>
                    <a:pt x="2851" y="17"/>
                  </a:lnTo>
                  <a:lnTo>
                    <a:pt x="2804" y="26"/>
                  </a:lnTo>
                  <a:lnTo>
                    <a:pt x="2756" y="39"/>
                  </a:lnTo>
                  <a:lnTo>
                    <a:pt x="2710" y="52"/>
                  </a:lnTo>
                  <a:lnTo>
                    <a:pt x="2665" y="67"/>
                  </a:lnTo>
                  <a:lnTo>
                    <a:pt x="2620" y="84"/>
                  </a:lnTo>
                  <a:lnTo>
                    <a:pt x="2578" y="104"/>
                  </a:lnTo>
                  <a:lnTo>
                    <a:pt x="2536" y="125"/>
                  </a:lnTo>
                  <a:lnTo>
                    <a:pt x="2495" y="147"/>
                  </a:lnTo>
                  <a:lnTo>
                    <a:pt x="2457" y="173"/>
                  </a:lnTo>
                  <a:lnTo>
                    <a:pt x="2418" y="199"/>
                  </a:lnTo>
                  <a:lnTo>
                    <a:pt x="2382" y="227"/>
                  </a:lnTo>
                  <a:lnTo>
                    <a:pt x="2347" y="257"/>
                  </a:lnTo>
                  <a:lnTo>
                    <a:pt x="2313" y="289"/>
                  </a:lnTo>
                  <a:lnTo>
                    <a:pt x="2282" y="321"/>
                  </a:lnTo>
                  <a:lnTo>
                    <a:pt x="2252" y="356"/>
                  </a:lnTo>
                  <a:lnTo>
                    <a:pt x="2224" y="392"/>
                  </a:lnTo>
                  <a:lnTo>
                    <a:pt x="2197" y="430"/>
                  </a:lnTo>
                  <a:lnTo>
                    <a:pt x="2173" y="469"/>
                  </a:lnTo>
                  <a:lnTo>
                    <a:pt x="2152" y="509"/>
                  </a:lnTo>
                  <a:lnTo>
                    <a:pt x="2131" y="551"/>
                  </a:lnTo>
                  <a:lnTo>
                    <a:pt x="2113" y="595"/>
                  </a:lnTo>
                  <a:lnTo>
                    <a:pt x="2097" y="640"/>
                  </a:lnTo>
                  <a:lnTo>
                    <a:pt x="2083" y="685"/>
                  </a:lnTo>
                  <a:lnTo>
                    <a:pt x="2071" y="733"/>
                  </a:lnTo>
                  <a:lnTo>
                    <a:pt x="2063" y="781"/>
                  </a:lnTo>
                  <a:lnTo>
                    <a:pt x="2056" y="831"/>
                  </a:lnTo>
                  <a:lnTo>
                    <a:pt x="2052" y="882"/>
                  </a:lnTo>
                  <a:lnTo>
                    <a:pt x="2051" y="933"/>
                  </a:lnTo>
                  <a:lnTo>
                    <a:pt x="2052" y="985"/>
                  </a:lnTo>
                  <a:lnTo>
                    <a:pt x="2056" y="1036"/>
                  </a:lnTo>
                  <a:lnTo>
                    <a:pt x="2063" y="1086"/>
                  </a:lnTo>
                  <a:lnTo>
                    <a:pt x="2071" y="1135"/>
                  </a:lnTo>
                  <a:lnTo>
                    <a:pt x="2083" y="1182"/>
                  </a:lnTo>
                  <a:lnTo>
                    <a:pt x="2097" y="1228"/>
                  </a:lnTo>
                  <a:lnTo>
                    <a:pt x="2113" y="1273"/>
                  </a:lnTo>
                  <a:lnTo>
                    <a:pt x="2131" y="1316"/>
                  </a:lnTo>
                  <a:lnTo>
                    <a:pt x="2152" y="1357"/>
                  </a:lnTo>
                  <a:lnTo>
                    <a:pt x="2173" y="1398"/>
                  </a:lnTo>
                  <a:lnTo>
                    <a:pt x="2197" y="1438"/>
                  </a:lnTo>
                  <a:lnTo>
                    <a:pt x="2224" y="1475"/>
                  </a:lnTo>
                  <a:lnTo>
                    <a:pt x="2252" y="1512"/>
                  </a:lnTo>
                  <a:lnTo>
                    <a:pt x="2282" y="1547"/>
                  </a:lnTo>
                  <a:lnTo>
                    <a:pt x="2313" y="1579"/>
                  </a:lnTo>
                  <a:lnTo>
                    <a:pt x="2347" y="1611"/>
                  </a:lnTo>
                  <a:lnTo>
                    <a:pt x="2382" y="1640"/>
                  </a:lnTo>
                  <a:lnTo>
                    <a:pt x="2418" y="1669"/>
                  </a:lnTo>
                  <a:lnTo>
                    <a:pt x="2457" y="1695"/>
                  </a:lnTo>
                  <a:lnTo>
                    <a:pt x="2495" y="1719"/>
                  </a:lnTo>
                  <a:lnTo>
                    <a:pt x="2536" y="1743"/>
                  </a:lnTo>
                  <a:lnTo>
                    <a:pt x="2578" y="1764"/>
                  </a:lnTo>
                  <a:lnTo>
                    <a:pt x="2620" y="1782"/>
                  </a:lnTo>
                  <a:lnTo>
                    <a:pt x="2665" y="1801"/>
                  </a:lnTo>
                  <a:lnTo>
                    <a:pt x="2710" y="1816"/>
                  </a:lnTo>
                  <a:lnTo>
                    <a:pt x="2756" y="1829"/>
                  </a:lnTo>
                  <a:lnTo>
                    <a:pt x="2804" y="1840"/>
                  </a:lnTo>
                  <a:lnTo>
                    <a:pt x="2851" y="1851"/>
                  </a:lnTo>
                  <a:lnTo>
                    <a:pt x="2899" y="1858"/>
                  </a:lnTo>
                  <a:lnTo>
                    <a:pt x="2949" y="1863"/>
                  </a:lnTo>
                  <a:lnTo>
                    <a:pt x="2999" y="1866"/>
                  </a:lnTo>
                  <a:lnTo>
                    <a:pt x="3049" y="1868"/>
                  </a:lnTo>
                  <a:lnTo>
                    <a:pt x="3099" y="1866"/>
                  </a:lnTo>
                  <a:lnTo>
                    <a:pt x="3149" y="1863"/>
                  </a:lnTo>
                  <a:lnTo>
                    <a:pt x="3199" y="1858"/>
                  </a:lnTo>
                  <a:lnTo>
                    <a:pt x="3247" y="1851"/>
                  </a:lnTo>
                  <a:lnTo>
                    <a:pt x="3295" y="1840"/>
                  </a:lnTo>
                  <a:lnTo>
                    <a:pt x="3342" y="1829"/>
                  </a:lnTo>
                  <a:lnTo>
                    <a:pt x="3388" y="1816"/>
                  </a:lnTo>
                  <a:lnTo>
                    <a:pt x="3433" y="1801"/>
                  </a:lnTo>
                  <a:lnTo>
                    <a:pt x="3477" y="1782"/>
                  </a:lnTo>
                  <a:lnTo>
                    <a:pt x="3521" y="1764"/>
                  </a:lnTo>
                  <a:lnTo>
                    <a:pt x="3562" y="1743"/>
                  </a:lnTo>
                  <a:lnTo>
                    <a:pt x="3603" y="1719"/>
                  </a:lnTo>
                  <a:lnTo>
                    <a:pt x="3642" y="1695"/>
                  </a:lnTo>
                  <a:lnTo>
                    <a:pt x="3679" y="1669"/>
                  </a:lnTo>
                  <a:lnTo>
                    <a:pt x="3716" y="1640"/>
                  </a:lnTo>
                  <a:lnTo>
                    <a:pt x="3751" y="1611"/>
                  </a:lnTo>
                  <a:lnTo>
                    <a:pt x="3784" y="1579"/>
                  </a:lnTo>
                  <a:lnTo>
                    <a:pt x="3815" y="1547"/>
                  </a:lnTo>
                  <a:lnTo>
                    <a:pt x="3846" y="1512"/>
                  </a:lnTo>
                  <a:lnTo>
                    <a:pt x="3874" y="1475"/>
                  </a:lnTo>
                  <a:lnTo>
                    <a:pt x="3900" y="1438"/>
                  </a:lnTo>
                  <a:lnTo>
                    <a:pt x="3924" y="1398"/>
                  </a:lnTo>
                  <a:lnTo>
                    <a:pt x="3947" y="1357"/>
                  </a:lnTo>
                  <a:lnTo>
                    <a:pt x="3967" y="1316"/>
                  </a:lnTo>
                  <a:lnTo>
                    <a:pt x="3985" y="1273"/>
                  </a:lnTo>
                  <a:lnTo>
                    <a:pt x="4002" y="1228"/>
                  </a:lnTo>
                  <a:lnTo>
                    <a:pt x="4015" y="1182"/>
                  </a:lnTo>
                  <a:lnTo>
                    <a:pt x="4026" y="1135"/>
                  </a:lnTo>
                  <a:lnTo>
                    <a:pt x="4035" y="1086"/>
                  </a:lnTo>
                  <a:lnTo>
                    <a:pt x="4042" y="1036"/>
                  </a:lnTo>
                  <a:lnTo>
                    <a:pt x="4046" y="985"/>
                  </a:lnTo>
                  <a:lnTo>
                    <a:pt x="4047" y="933"/>
                  </a:lnTo>
                  <a:close/>
                  <a:moveTo>
                    <a:pt x="4779" y="42"/>
                  </a:moveTo>
                  <a:lnTo>
                    <a:pt x="4540" y="1317"/>
                  </a:lnTo>
                  <a:lnTo>
                    <a:pt x="4535" y="1334"/>
                  </a:lnTo>
                  <a:lnTo>
                    <a:pt x="4530" y="1350"/>
                  </a:lnTo>
                  <a:lnTo>
                    <a:pt x="4524" y="1366"/>
                  </a:lnTo>
                  <a:lnTo>
                    <a:pt x="4517" y="1379"/>
                  </a:lnTo>
                  <a:lnTo>
                    <a:pt x="4510" y="1392"/>
                  </a:lnTo>
                  <a:lnTo>
                    <a:pt x="4501" y="1403"/>
                  </a:lnTo>
                  <a:lnTo>
                    <a:pt x="4491" y="1413"/>
                  </a:lnTo>
                  <a:lnTo>
                    <a:pt x="4481" y="1423"/>
                  </a:lnTo>
                  <a:lnTo>
                    <a:pt x="4469" y="1431"/>
                  </a:lnTo>
                  <a:lnTo>
                    <a:pt x="4457" y="1437"/>
                  </a:lnTo>
                  <a:lnTo>
                    <a:pt x="4444" y="1443"/>
                  </a:lnTo>
                  <a:lnTo>
                    <a:pt x="4430" y="1447"/>
                  </a:lnTo>
                  <a:lnTo>
                    <a:pt x="4415" y="1451"/>
                  </a:lnTo>
                  <a:lnTo>
                    <a:pt x="4399" y="1453"/>
                  </a:lnTo>
                  <a:lnTo>
                    <a:pt x="4383" y="1455"/>
                  </a:lnTo>
                  <a:lnTo>
                    <a:pt x="4366" y="1455"/>
                  </a:lnTo>
                  <a:lnTo>
                    <a:pt x="4172" y="1455"/>
                  </a:lnTo>
                  <a:lnTo>
                    <a:pt x="4172" y="1822"/>
                  </a:lnTo>
                  <a:lnTo>
                    <a:pt x="4385" y="1822"/>
                  </a:lnTo>
                  <a:lnTo>
                    <a:pt x="4412" y="1822"/>
                  </a:lnTo>
                  <a:lnTo>
                    <a:pt x="4439" y="1821"/>
                  </a:lnTo>
                  <a:lnTo>
                    <a:pt x="4465" y="1819"/>
                  </a:lnTo>
                  <a:lnTo>
                    <a:pt x="4491" y="1816"/>
                  </a:lnTo>
                  <a:lnTo>
                    <a:pt x="4515" y="1812"/>
                  </a:lnTo>
                  <a:lnTo>
                    <a:pt x="4540" y="1808"/>
                  </a:lnTo>
                  <a:lnTo>
                    <a:pt x="4563" y="1802"/>
                  </a:lnTo>
                  <a:lnTo>
                    <a:pt x="4586" y="1796"/>
                  </a:lnTo>
                  <a:lnTo>
                    <a:pt x="4609" y="1789"/>
                  </a:lnTo>
                  <a:lnTo>
                    <a:pt x="4630" y="1780"/>
                  </a:lnTo>
                  <a:lnTo>
                    <a:pt x="4651" y="1771"/>
                  </a:lnTo>
                  <a:lnTo>
                    <a:pt x="4672" y="1762"/>
                  </a:lnTo>
                  <a:lnTo>
                    <a:pt x="4692" y="1751"/>
                  </a:lnTo>
                  <a:lnTo>
                    <a:pt x="4710" y="1740"/>
                  </a:lnTo>
                  <a:lnTo>
                    <a:pt x="4730" y="1728"/>
                  </a:lnTo>
                  <a:lnTo>
                    <a:pt x="4747" y="1713"/>
                  </a:lnTo>
                  <a:lnTo>
                    <a:pt x="4764" y="1699"/>
                  </a:lnTo>
                  <a:lnTo>
                    <a:pt x="4781" y="1684"/>
                  </a:lnTo>
                  <a:lnTo>
                    <a:pt x="4796" y="1668"/>
                  </a:lnTo>
                  <a:lnTo>
                    <a:pt x="4811" y="1650"/>
                  </a:lnTo>
                  <a:lnTo>
                    <a:pt x="4825" y="1633"/>
                  </a:lnTo>
                  <a:lnTo>
                    <a:pt x="4839" y="1614"/>
                  </a:lnTo>
                  <a:lnTo>
                    <a:pt x="4852" y="1593"/>
                  </a:lnTo>
                  <a:lnTo>
                    <a:pt x="4864" y="1572"/>
                  </a:lnTo>
                  <a:lnTo>
                    <a:pt x="4875" y="1551"/>
                  </a:lnTo>
                  <a:lnTo>
                    <a:pt x="4885" y="1527"/>
                  </a:lnTo>
                  <a:lnTo>
                    <a:pt x="4895" y="1504"/>
                  </a:lnTo>
                  <a:lnTo>
                    <a:pt x="4905" y="1478"/>
                  </a:lnTo>
                  <a:lnTo>
                    <a:pt x="4913" y="1452"/>
                  </a:lnTo>
                  <a:lnTo>
                    <a:pt x="4920" y="1426"/>
                  </a:lnTo>
                  <a:lnTo>
                    <a:pt x="4927" y="1397"/>
                  </a:lnTo>
                  <a:lnTo>
                    <a:pt x="4932" y="1369"/>
                  </a:lnTo>
                  <a:lnTo>
                    <a:pt x="5113" y="403"/>
                  </a:lnTo>
                  <a:lnTo>
                    <a:pt x="5796" y="403"/>
                  </a:lnTo>
                  <a:lnTo>
                    <a:pt x="5796" y="1822"/>
                  </a:lnTo>
                  <a:lnTo>
                    <a:pt x="6198" y="1822"/>
                  </a:lnTo>
                  <a:lnTo>
                    <a:pt x="6198" y="42"/>
                  </a:lnTo>
                  <a:lnTo>
                    <a:pt x="4779" y="42"/>
                  </a:lnTo>
                  <a:close/>
                  <a:moveTo>
                    <a:pt x="6585" y="42"/>
                  </a:moveTo>
                  <a:lnTo>
                    <a:pt x="6585" y="1822"/>
                  </a:lnTo>
                  <a:lnTo>
                    <a:pt x="6980" y="1822"/>
                  </a:lnTo>
                  <a:lnTo>
                    <a:pt x="6980" y="1069"/>
                  </a:lnTo>
                  <a:lnTo>
                    <a:pt x="7251" y="1069"/>
                  </a:lnTo>
                  <a:lnTo>
                    <a:pt x="7258" y="1116"/>
                  </a:lnTo>
                  <a:lnTo>
                    <a:pt x="7266" y="1162"/>
                  </a:lnTo>
                  <a:lnTo>
                    <a:pt x="7277" y="1207"/>
                  </a:lnTo>
                  <a:lnTo>
                    <a:pt x="7290" y="1251"/>
                  </a:lnTo>
                  <a:lnTo>
                    <a:pt x="7304" y="1292"/>
                  </a:lnTo>
                  <a:lnTo>
                    <a:pt x="7320" y="1333"/>
                  </a:lnTo>
                  <a:lnTo>
                    <a:pt x="7338" y="1372"/>
                  </a:lnTo>
                  <a:lnTo>
                    <a:pt x="7358" y="1409"/>
                  </a:lnTo>
                  <a:lnTo>
                    <a:pt x="7379" y="1446"/>
                  </a:lnTo>
                  <a:lnTo>
                    <a:pt x="7402" y="1482"/>
                  </a:lnTo>
                  <a:lnTo>
                    <a:pt x="7427" y="1514"/>
                  </a:lnTo>
                  <a:lnTo>
                    <a:pt x="7452" y="1547"/>
                  </a:lnTo>
                  <a:lnTo>
                    <a:pt x="7480" y="1577"/>
                  </a:lnTo>
                  <a:lnTo>
                    <a:pt x="7509" y="1607"/>
                  </a:lnTo>
                  <a:lnTo>
                    <a:pt x="7540" y="1634"/>
                  </a:lnTo>
                  <a:lnTo>
                    <a:pt x="7571" y="1660"/>
                  </a:lnTo>
                  <a:lnTo>
                    <a:pt x="7604" y="1685"/>
                  </a:lnTo>
                  <a:lnTo>
                    <a:pt x="7637" y="1708"/>
                  </a:lnTo>
                  <a:lnTo>
                    <a:pt x="7673" y="1730"/>
                  </a:lnTo>
                  <a:lnTo>
                    <a:pt x="7710" y="1750"/>
                  </a:lnTo>
                  <a:lnTo>
                    <a:pt x="7747" y="1768"/>
                  </a:lnTo>
                  <a:lnTo>
                    <a:pt x="7786" y="1786"/>
                  </a:lnTo>
                  <a:lnTo>
                    <a:pt x="7824" y="1801"/>
                  </a:lnTo>
                  <a:lnTo>
                    <a:pt x="7865" y="1815"/>
                  </a:lnTo>
                  <a:lnTo>
                    <a:pt x="7907" y="1827"/>
                  </a:lnTo>
                  <a:lnTo>
                    <a:pt x="7949" y="1837"/>
                  </a:lnTo>
                  <a:lnTo>
                    <a:pt x="7991" y="1847"/>
                  </a:lnTo>
                  <a:lnTo>
                    <a:pt x="8035" y="1854"/>
                  </a:lnTo>
                  <a:lnTo>
                    <a:pt x="8080" y="1860"/>
                  </a:lnTo>
                  <a:lnTo>
                    <a:pt x="8124" y="1864"/>
                  </a:lnTo>
                  <a:lnTo>
                    <a:pt x="8170" y="1867"/>
                  </a:lnTo>
                  <a:lnTo>
                    <a:pt x="8217" y="1868"/>
                  </a:lnTo>
                  <a:lnTo>
                    <a:pt x="8267" y="1867"/>
                  </a:lnTo>
                  <a:lnTo>
                    <a:pt x="8317" y="1864"/>
                  </a:lnTo>
                  <a:lnTo>
                    <a:pt x="8364" y="1859"/>
                  </a:lnTo>
                  <a:lnTo>
                    <a:pt x="8413" y="1852"/>
                  </a:lnTo>
                  <a:lnTo>
                    <a:pt x="8460" y="1842"/>
                  </a:lnTo>
                  <a:lnTo>
                    <a:pt x="8506" y="1832"/>
                  </a:lnTo>
                  <a:lnTo>
                    <a:pt x="8552" y="1820"/>
                  </a:lnTo>
                  <a:lnTo>
                    <a:pt x="8595" y="1805"/>
                  </a:lnTo>
                  <a:lnTo>
                    <a:pt x="8639" y="1789"/>
                  </a:lnTo>
                  <a:lnTo>
                    <a:pt x="8681" y="1771"/>
                  </a:lnTo>
                  <a:lnTo>
                    <a:pt x="8721" y="1751"/>
                  </a:lnTo>
                  <a:lnTo>
                    <a:pt x="8761" y="1729"/>
                  </a:lnTo>
                  <a:lnTo>
                    <a:pt x="8799" y="1705"/>
                  </a:lnTo>
                  <a:lnTo>
                    <a:pt x="8835" y="1680"/>
                  </a:lnTo>
                  <a:lnTo>
                    <a:pt x="8871" y="1653"/>
                  </a:lnTo>
                  <a:lnTo>
                    <a:pt x="8905" y="1624"/>
                  </a:lnTo>
                  <a:lnTo>
                    <a:pt x="8937" y="1593"/>
                  </a:lnTo>
                  <a:lnTo>
                    <a:pt x="8968" y="1561"/>
                  </a:lnTo>
                  <a:lnTo>
                    <a:pt x="8996" y="1526"/>
                  </a:lnTo>
                  <a:lnTo>
                    <a:pt x="9023" y="1491"/>
                  </a:lnTo>
                  <a:lnTo>
                    <a:pt x="9049" y="1453"/>
                  </a:lnTo>
                  <a:lnTo>
                    <a:pt x="9072" y="1414"/>
                  </a:lnTo>
                  <a:lnTo>
                    <a:pt x="9094" y="1374"/>
                  </a:lnTo>
                  <a:lnTo>
                    <a:pt x="9113" y="1331"/>
                  </a:lnTo>
                  <a:lnTo>
                    <a:pt x="9130" y="1287"/>
                  </a:lnTo>
                  <a:lnTo>
                    <a:pt x="9146" y="1242"/>
                  </a:lnTo>
                  <a:lnTo>
                    <a:pt x="9159" y="1194"/>
                  </a:lnTo>
                  <a:lnTo>
                    <a:pt x="9169" y="1145"/>
                  </a:lnTo>
                  <a:lnTo>
                    <a:pt x="9178" y="1094"/>
                  </a:lnTo>
                  <a:lnTo>
                    <a:pt x="9184" y="1042"/>
                  </a:lnTo>
                  <a:lnTo>
                    <a:pt x="9188" y="988"/>
                  </a:lnTo>
                  <a:lnTo>
                    <a:pt x="9189" y="933"/>
                  </a:lnTo>
                  <a:lnTo>
                    <a:pt x="9188" y="879"/>
                  </a:lnTo>
                  <a:lnTo>
                    <a:pt x="9184" y="825"/>
                  </a:lnTo>
                  <a:lnTo>
                    <a:pt x="9178" y="773"/>
                  </a:lnTo>
                  <a:lnTo>
                    <a:pt x="9169" y="723"/>
                  </a:lnTo>
                  <a:lnTo>
                    <a:pt x="9159" y="674"/>
                  </a:lnTo>
                  <a:lnTo>
                    <a:pt x="9146" y="626"/>
                  </a:lnTo>
                  <a:lnTo>
                    <a:pt x="9130" y="581"/>
                  </a:lnTo>
                  <a:lnTo>
                    <a:pt x="9113" y="537"/>
                  </a:lnTo>
                  <a:lnTo>
                    <a:pt x="9094" y="494"/>
                  </a:lnTo>
                  <a:lnTo>
                    <a:pt x="9072" y="453"/>
                  </a:lnTo>
                  <a:lnTo>
                    <a:pt x="9049" y="414"/>
                  </a:lnTo>
                  <a:lnTo>
                    <a:pt x="9023" y="376"/>
                  </a:lnTo>
                  <a:lnTo>
                    <a:pt x="8996" y="341"/>
                  </a:lnTo>
                  <a:lnTo>
                    <a:pt x="8968" y="307"/>
                  </a:lnTo>
                  <a:lnTo>
                    <a:pt x="8937" y="275"/>
                  </a:lnTo>
                  <a:lnTo>
                    <a:pt x="8905" y="244"/>
                  </a:lnTo>
                  <a:lnTo>
                    <a:pt x="8871" y="215"/>
                  </a:lnTo>
                  <a:lnTo>
                    <a:pt x="8835" y="187"/>
                  </a:lnTo>
                  <a:lnTo>
                    <a:pt x="8799" y="162"/>
                  </a:lnTo>
                  <a:lnTo>
                    <a:pt x="8761" y="138"/>
                  </a:lnTo>
                  <a:lnTo>
                    <a:pt x="8721" y="117"/>
                  </a:lnTo>
                  <a:lnTo>
                    <a:pt x="8681" y="97"/>
                  </a:lnTo>
                  <a:lnTo>
                    <a:pt x="8639" y="78"/>
                  </a:lnTo>
                  <a:lnTo>
                    <a:pt x="8595" y="62"/>
                  </a:lnTo>
                  <a:lnTo>
                    <a:pt x="8552" y="48"/>
                  </a:lnTo>
                  <a:lnTo>
                    <a:pt x="8506" y="36"/>
                  </a:lnTo>
                  <a:lnTo>
                    <a:pt x="8460" y="24"/>
                  </a:lnTo>
                  <a:lnTo>
                    <a:pt x="8413" y="16"/>
                  </a:lnTo>
                  <a:lnTo>
                    <a:pt x="8364" y="9"/>
                  </a:lnTo>
                  <a:lnTo>
                    <a:pt x="8317" y="4"/>
                  </a:lnTo>
                  <a:lnTo>
                    <a:pt x="8267" y="1"/>
                  </a:lnTo>
                  <a:lnTo>
                    <a:pt x="8217" y="0"/>
                  </a:lnTo>
                  <a:lnTo>
                    <a:pt x="8173" y="1"/>
                  </a:lnTo>
                  <a:lnTo>
                    <a:pt x="8131" y="3"/>
                  </a:lnTo>
                  <a:lnTo>
                    <a:pt x="8088" y="7"/>
                  </a:lnTo>
                  <a:lnTo>
                    <a:pt x="8046" y="12"/>
                  </a:lnTo>
                  <a:lnTo>
                    <a:pt x="8004" y="18"/>
                  </a:lnTo>
                  <a:lnTo>
                    <a:pt x="7964" y="26"/>
                  </a:lnTo>
                  <a:lnTo>
                    <a:pt x="7924" y="36"/>
                  </a:lnTo>
                  <a:lnTo>
                    <a:pt x="7884" y="47"/>
                  </a:lnTo>
                  <a:lnTo>
                    <a:pt x="7846" y="59"/>
                  </a:lnTo>
                  <a:lnTo>
                    <a:pt x="7808" y="73"/>
                  </a:lnTo>
                  <a:lnTo>
                    <a:pt x="7772" y="88"/>
                  </a:lnTo>
                  <a:lnTo>
                    <a:pt x="7736" y="105"/>
                  </a:lnTo>
                  <a:lnTo>
                    <a:pt x="7700" y="122"/>
                  </a:lnTo>
                  <a:lnTo>
                    <a:pt x="7667" y="141"/>
                  </a:lnTo>
                  <a:lnTo>
                    <a:pt x="7633" y="162"/>
                  </a:lnTo>
                  <a:lnTo>
                    <a:pt x="7602" y="184"/>
                  </a:lnTo>
                  <a:lnTo>
                    <a:pt x="7571" y="207"/>
                  </a:lnTo>
                  <a:lnTo>
                    <a:pt x="7542" y="232"/>
                  </a:lnTo>
                  <a:lnTo>
                    <a:pt x="7512" y="257"/>
                  </a:lnTo>
                  <a:lnTo>
                    <a:pt x="7486" y="285"/>
                  </a:lnTo>
                  <a:lnTo>
                    <a:pt x="7459" y="313"/>
                  </a:lnTo>
                  <a:lnTo>
                    <a:pt x="7435" y="343"/>
                  </a:lnTo>
                  <a:lnTo>
                    <a:pt x="7412" y="374"/>
                  </a:lnTo>
                  <a:lnTo>
                    <a:pt x="7389" y="406"/>
                  </a:lnTo>
                  <a:lnTo>
                    <a:pt x="7369" y="439"/>
                  </a:lnTo>
                  <a:lnTo>
                    <a:pt x="7350" y="475"/>
                  </a:lnTo>
                  <a:lnTo>
                    <a:pt x="7331" y="510"/>
                  </a:lnTo>
                  <a:lnTo>
                    <a:pt x="7315" y="548"/>
                  </a:lnTo>
                  <a:lnTo>
                    <a:pt x="7301" y="586"/>
                  </a:lnTo>
                  <a:lnTo>
                    <a:pt x="7287" y="625"/>
                  </a:lnTo>
                  <a:lnTo>
                    <a:pt x="7276" y="666"/>
                  </a:lnTo>
                  <a:lnTo>
                    <a:pt x="7267" y="709"/>
                  </a:lnTo>
                  <a:lnTo>
                    <a:pt x="6980" y="709"/>
                  </a:lnTo>
                  <a:lnTo>
                    <a:pt x="6980" y="42"/>
                  </a:lnTo>
                  <a:lnTo>
                    <a:pt x="6585" y="42"/>
                  </a:lnTo>
                  <a:close/>
                  <a:moveTo>
                    <a:pt x="7643" y="933"/>
                  </a:moveTo>
                  <a:lnTo>
                    <a:pt x="7644" y="900"/>
                  </a:lnTo>
                  <a:lnTo>
                    <a:pt x="7645" y="866"/>
                  </a:lnTo>
                  <a:lnTo>
                    <a:pt x="7649" y="835"/>
                  </a:lnTo>
                  <a:lnTo>
                    <a:pt x="7653" y="803"/>
                  </a:lnTo>
                  <a:lnTo>
                    <a:pt x="7658" y="773"/>
                  </a:lnTo>
                  <a:lnTo>
                    <a:pt x="7664" y="743"/>
                  </a:lnTo>
                  <a:lnTo>
                    <a:pt x="7672" y="715"/>
                  </a:lnTo>
                  <a:lnTo>
                    <a:pt x="7680" y="686"/>
                  </a:lnTo>
                  <a:lnTo>
                    <a:pt x="7690" y="660"/>
                  </a:lnTo>
                  <a:lnTo>
                    <a:pt x="7700" y="634"/>
                  </a:lnTo>
                  <a:lnTo>
                    <a:pt x="7713" y="610"/>
                  </a:lnTo>
                  <a:lnTo>
                    <a:pt x="7726" y="586"/>
                  </a:lnTo>
                  <a:lnTo>
                    <a:pt x="7740" y="563"/>
                  </a:lnTo>
                  <a:lnTo>
                    <a:pt x="7755" y="542"/>
                  </a:lnTo>
                  <a:lnTo>
                    <a:pt x="7772" y="521"/>
                  </a:lnTo>
                  <a:lnTo>
                    <a:pt x="7789" y="501"/>
                  </a:lnTo>
                  <a:lnTo>
                    <a:pt x="7807" y="483"/>
                  </a:lnTo>
                  <a:lnTo>
                    <a:pt x="7828" y="466"/>
                  </a:lnTo>
                  <a:lnTo>
                    <a:pt x="7848" y="449"/>
                  </a:lnTo>
                  <a:lnTo>
                    <a:pt x="7870" y="434"/>
                  </a:lnTo>
                  <a:lnTo>
                    <a:pt x="7893" y="420"/>
                  </a:lnTo>
                  <a:lnTo>
                    <a:pt x="7917" y="408"/>
                  </a:lnTo>
                  <a:lnTo>
                    <a:pt x="7942" y="396"/>
                  </a:lnTo>
                  <a:lnTo>
                    <a:pt x="7968" y="385"/>
                  </a:lnTo>
                  <a:lnTo>
                    <a:pt x="7995" y="375"/>
                  </a:lnTo>
                  <a:lnTo>
                    <a:pt x="8024" y="367"/>
                  </a:lnTo>
                  <a:lnTo>
                    <a:pt x="8053" y="361"/>
                  </a:lnTo>
                  <a:lnTo>
                    <a:pt x="8084" y="355"/>
                  </a:lnTo>
                  <a:lnTo>
                    <a:pt x="8115" y="351"/>
                  </a:lnTo>
                  <a:lnTo>
                    <a:pt x="8148" y="347"/>
                  </a:lnTo>
                  <a:lnTo>
                    <a:pt x="8182" y="345"/>
                  </a:lnTo>
                  <a:lnTo>
                    <a:pt x="8217" y="345"/>
                  </a:lnTo>
                  <a:lnTo>
                    <a:pt x="8252" y="345"/>
                  </a:lnTo>
                  <a:lnTo>
                    <a:pt x="8285" y="347"/>
                  </a:lnTo>
                  <a:lnTo>
                    <a:pt x="8318" y="351"/>
                  </a:lnTo>
                  <a:lnTo>
                    <a:pt x="8349" y="355"/>
                  </a:lnTo>
                  <a:lnTo>
                    <a:pt x="8380" y="361"/>
                  </a:lnTo>
                  <a:lnTo>
                    <a:pt x="8409" y="367"/>
                  </a:lnTo>
                  <a:lnTo>
                    <a:pt x="8438" y="375"/>
                  </a:lnTo>
                  <a:lnTo>
                    <a:pt x="8465" y="385"/>
                  </a:lnTo>
                  <a:lnTo>
                    <a:pt x="8492" y="396"/>
                  </a:lnTo>
                  <a:lnTo>
                    <a:pt x="8517" y="408"/>
                  </a:lnTo>
                  <a:lnTo>
                    <a:pt x="8540" y="420"/>
                  </a:lnTo>
                  <a:lnTo>
                    <a:pt x="8564" y="434"/>
                  </a:lnTo>
                  <a:lnTo>
                    <a:pt x="8585" y="449"/>
                  </a:lnTo>
                  <a:lnTo>
                    <a:pt x="8607" y="466"/>
                  </a:lnTo>
                  <a:lnTo>
                    <a:pt x="8626" y="483"/>
                  </a:lnTo>
                  <a:lnTo>
                    <a:pt x="8644" y="501"/>
                  </a:lnTo>
                  <a:lnTo>
                    <a:pt x="8662" y="521"/>
                  </a:lnTo>
                  <a:lnTo>
                    <a:pt x="8679" y="542"/>
                  </a:lnTo>
                  <a:lnTo>
                    <a:pt x="8694" y="563"/>
                  </a:lnTo>
                  <a:lnTo>
                    <a:pt x="8708" y="586"/>
                  </a:lnTo>
                  <a:lnTo>
                    <a:pt x="8720" y="610"/>
                  </a:lnTo>
                  <a:lnTo>
                    <a:pt x="8733" y="634"/>
                  </a:lnTo>
                  <a:lnTo>
                    <a:pt x="8744" y="660"/>
                  </a:lnTo>
                  <a:lnTo>
                    <a:pt x="8753" y="686"/>
                  </a:lnTo>
                  <a:lnTo>
                    <a:pt x="8762" y="715"/>
                  </a:lnTo>
                  <a:lnTo>
                    <a:pt x="8769" y="743"/>
                  </a:lnTo>
                  <a:lnTo>
                    <a:pt x="8775" y="773"/>
                  </a:lnTo>
                  <a:lnTo>
                    <a:pt x="8780" y="803"/>
                  </a:lnTo>
                  <a:lnTo>
                    <a:pt x="8785" y="835"/>
                  </a:lnTo>
                  <a:lnTo>
                    <a:pt x="8788" y="866"/>
                  </a:lnTo>
                  <a:lnTo>
                    <a:pt x="8790" y="900"/>
                  </a:lnTo>
                  <a:lnTo>
                    <a:pt x="8790" y="933"/>
                  </a:lnTo>
                  <a:lnTo>
                    <a:pt x="8790" y="968"/>
                  </a:lnTo>
                  <a:lnTo>
                    <a:pt x="8788" y="1001"/>
                  </a:lnTo>
                  <a:lnTo>
                    <a:pt x="8785" y="1033"/>
                  </a:lnTo>
                  <a:lnTo>
                    <a:pt x="8780" y="1065"/>
                  </a:lnTo>
                  <a:lnTo>
                    <a:pt x="8775" y="1095"/>
                  </a:lnTo>
                  <a:lnTo>
                    <a:pt x="8769" y="1125"/>
                  </a:lnTo>
                  <a:lnTo>
                    <a:pt x="8762" y="1153"/>
                  </a:lnTo>
                  <a:lnTo>
                    <a:pt x="8753" y="1181"/>
                  </a:lnTo>
                  <a:lnTo>
                    <a:pt x="8744" y="1207"/>
                  </a:lnTo>
                  <a:lnTo>
                    <a:pt x="8733" y="1233"/>
                  </a:lnTo>
                  <a:lnTo>
                    <a:pt x="8720" y="1258"/>
                  </a:lnTo>
                  <a:lnTo>
                    <a:pt x="8708" y="1281"/>
                  </a:lnTo>
                  <a:lnTo>
                    <a:pt x="8694" y="1305"/>
                  </a:lnTo>
                  <a:lnTo>
                    <a:pt x="8679" y="1326"/>
                  </a:lnTo>
                  <a:lnTo>
                    <a:pt x="8662" y="1346"/>
                  </a:lnTo>
                  <a:lnTo>
                    <a:pt x="8644" y="1366"/>
                  </a:lnTo>
                  <a:lnTo>
                    <a:pt x="8626" y="1385"/>
                  </a:lnTo>
                  <a:lnTo>
                    <a:pt x="8607" y="1402"/>
                  </a:lnTo>
                  <a:lnTo>
                    <a:pt x="8585" y="1418"/>
                  </a:lnTo>
                  <a:lnTo>
                    <a:pt x="8564" y="1434"/>
                  </a:lnTo>
                  <a:lnTo>
                    <a:pt x="8540" y="1447"/>
                  </a:lnTo>
                  <a:lnTo>
                    <a:pt x="8517" y="1460"/>
                  </a:lnTo>
                  <a:lnTo>
                    <a:pt x="8492" y="1472"/>
                  </a:lnTo>
                  <a:lnTo>
                    <a:pt x="8465" y="1483"/>
                  </a:lnTo>
                  <a:lnTo>
                    <a:pt x="8438" y="1492"/>
                  </a:lnTo>
                  <a:lnTo>
                    <a:pt x="8409" y="1500"/>
                  </a:lnTo>
                  <a:lnTo>
                    <a:pt x="8380" y="1507"/>
                  </a:lnTo>
                  <a:lnTo>
                    <a:pt x="8349" y="1513"/>
                  </a:lnTo>
                  <a:lnTo>
                    <a:pt x="8318" y="1517"/>
                  </a:lnTo>
                  <a:lnTo>
                    <a:pt x="8285" y="1520"/>
                  </a:lnTo>
                  <a:lnTo>
                    <a:pt x="8252" y="1522"/>
                  </a:lnTo>
                  <a:lnTo>
                    <a:pt x="8217" y="1523"/>
                  </a:lnTo>
                  <a:lnTo>
                    <a:pt x="8182" y="1522"/>
                  </a:lnTo>
                  <a:lnTo>
                    <a:pt x="8148" y="1520"/>
                  </a:lnTo>
                  <a:lnTo>
                    <a:pt x="8115" y="1517"/>
                  </a:lnTo>
                  <a:lnTo>
                    <a:pt x="8084" y="1513"/>
                  </a:lnTo>
                  <a:lnTo>
                    <a:pt x="8053" y="1507"/>
                  </a:lnTo>
                  <a:lnTo>
                    <a:pt x="8024" y="1500"/>
                  </a:lnTo>
                  <a:lnTo>
                    <a:pt x="7995" y="1492"/>
                  </a:lnTo>
                  <a:lnTo>
                    <a:pt x="7968" y="1483"/>
                  </a:lnTo>
                  <a:lnTo>
                    <a:pt x="7942" y="1472"/>
                  </a:lnTo>
                  <a:lnTo>
                    <a:pt x="7917" y="1460"/>
                  </a:lnTo>
                  <a:lnTo>
                    <a:pt x="7893" y="1447"/>
                  </a:lnTo>
                  <a:lnTo>
                    <a:pt x="7870" y="1434"/>
                  </a:lnTo>
                  <a:lnTo>
                    <a:pt x="7848" y="1418"/>
                  </a:lnTo>
                  <a:lnTo>
                    <a:pt x="7828" y="1402"/>
                  </a:lnTo>
                  <a:lnTo>
                    <a:pt x="7807" y="1385"/>
                  </a:lnTo>
                  <a:lnTo>
                    <a:pt x="7789" y="1366"/>
                  </a:lnTo>
                  <a:lnTo>
                    <a:pt x="7772" y="1346"/>
                  </a:lnTo>
                  <a:lnTo>
                    <a:pt x="7755" y="1326"/>
                  </a:lnTo>
                  <a:lnTo>
                    <a:pt x="7740" y="1305"/>
                  </a:lnTo>
                  <a:lnTo>
                    <a:pt x="7726" y="1281"/>
                  </a:lnTo>
                  <a:lnTo>
                    <a:pt x="7713" y="1258"/>
                  </a:lnTo>
                  <a:lnTo>
                    <a:pt x="7700" y="1233"/>
                  </a:lnTo>
                  <a:lnTo>
                    <a:pt x="7690" y="1207"/>
                  </a:lnTo>
                  <a:lnTo>
                    <a:pt x="7680" y="1181"/>
                  </a:lnTo>
                  <a:lnTo>
                    <a:pt x="7672" y="1153"/>
                  </a:lnTo>
                  <a:lnTo>
                    <a:pt x="7664" y="1125"/>
                  </a:lnTo>
                  <a:lnTo>
                    <a:pt x="7658" y="1095"/>
                  </a:lnTo>
                  <a:lnTo>
                    <a:pt x="7653" y="1065"/>
                  </a:lnTo>
                  <a:lnTo>
                    <a:pt x="7649" y="1033"/>
                  </a:lnTo>
                  <a:lnTo>
                    <a:pt x="7645" y="1001"/>
                  </a:lnTo>
                  <a:lnTo>
                    <a:pt x="7644" y="968"/>
                  </a:lnTo>
                  <a:lnTo>
                    <a:pt x="7643" y="933"/>
                  </a:lnTo>
                  <a:close/>
                  <a:moveTo>
                    <a:pt x="11327" y="477"/>
                  </a:moveTo>
                  <a:lnTo>
                    <a:pt x="11310" y="447"/>
                  </a:lnTo>
                  <a:lnTo>
                    <a:pt x="11291" y="420"/>
                  </a:lnTo>
                  <a:lnTo>
                    <a:pt x="11272" y="392"/>
                  </a:lnTo>
                  <a:lnTo>
                    <a:pt x="11253" y="366"/>
                  </a:lnTo>
                  <a:lnTo>
                    <a:pt x="11232" y="341"/>
                  </a:lnTo>
                  <a:lnTo>
                    <a:pt x="11211" y="316"/>
                  </a:lnTo>
                  <a:lnTo>
                    <a:pt x="11190" y="293"/>
                  </a:lnTo>
                  <a:lnTo>
                    <a:pt x="11167" y="270"/>
                  </a:lnTo>
                  <a:lnTo>
                    <a:pt x="11144" y="248"/>
                  </a:lnTo>
                  <a:lnTo>
                    <a:pt x="11121" y="228"/>
                  </a:lnTo>
                  <a:lnTo>
                    <a:pt x="11096" y="207"/>
                  </a:lnTo>
                  <a:lnTo>
                    <a:pt x="11071" y="188"/>
                  </a:lnTo>
                  <a:lnTo>
                    <a:pt x="11045" y="171"/>
                  </a:lnTo>
                  <a:lnTo>
                    <a:pt x="11018" y="154"/>
                  </a:lnTo>
                  <a:lnTo>
                    <a:pt x="10991" y="136"/>
                  </a:lnTo>
                  <a:lnTo>
                    <a:pt x="10963" y="121"/>
                  </a:lnTo>
                  <a:lnTo>
                    <a:pt x="10934" y="107"/>
                  </a:lnTo>
                  <a:lnTo>
                    <a:pt x="10905" y="93"/>
                  </a:lnTo>
                  <a:lnTo>
                    <a:pt x="10875" y="80"/>
                  </a:lnTo>
                  <a:lnTo>
                    <a:pt x="10845" y="68"/>
                  </a:lnTo>
                  <a:lnTo>
                    <a:pt x="10813" y="58"/>
                  </a:lnTo>
                  <a:lnTo>
                    <a:pt x="10782" y="48"/>
                  </a:lnTo>
                  <a:lnTo>
                    <a:pt x="10749" y="39"/>
                  </a:lnTo>
                  <a:lnTo>
                    <a:pt x="10716" y="30"/>
                  </a:lnTo>
                  <a:lnTo>
                    <a:pt x="10682" y="23"/>
                  </a:lnTo>
                  <a:lnTo>
                    <a:pt x="10648" y="17"/>
                  </a:lnTo>
                  <a:lnTo>
                    <a:pt x="10612" y="12"/>
                  </a:lnTo>
                  <a:lnTo>
                    <a:pt x="10576" y="8"/>
                  </a:lnTo>
                  <a:lnTo>
                    <a:pt x="10540" y="4"/>
                  </a:lnTo>
                  <a:lnTo>
                    <a:pt x="10502" y="2"/>
                  </a:lnTo>
                  <a:lnTo>
                    <a:pt x="10465" y="1"/>
                  </a:lnTo>
                  <a:lnTo>
                    <a:pt x="10426" y="0"/>
                  </a:lnTo>
                  <a:lnTo>
                    <a:pt x="10373" y="1"/>
                  </a:lnTo>
                  <a:lnTo>
                    <a:pt x="10322" y="4"/>
                  </a:lnTo>
                  <a:lnTo>
                    <a:pt x="10271" y="9"/>
                  </a:lnTo>
                  <a:lnTo>
                    <a:pt x="10222" y="16"/>
                  </a:lnTo>
                  <a:lnTo>
                    <a:pt x="10174" y="25"/>
                  </a:lnTo>
                  <a:lnTo>
                    <a:pt x="10126" y="37"/>
                  </a:lnTo>
                  <a:lnTo>
                    <a:pt x="10079" y="50"/>
                  </a:lnTo>
                  <a:lnTo>
                    <a:pt x="10033" y="65"/>
                  </a:lnTo>
                  <a:lnTo>
                    <a:pt x="9990" y="81"/>
                  </a:lnTo>
                  <a:lnTo>
                    <a:pt x="9947" y="101"/>
                  </a:lnTo>
                  <a:lnTo>
                    <a:pt x="9905" y="121"/>
                  </a:lnTo>
                  <a:lnTo>
                    <a:pt x="9865" y="143"/>
                  </a:lnTo>
                  <a:lnTo>
                    <a:pt x="9826" y="168"/>
                  </a:lnTo>
                  <a:lnTo>
                    <a:pt x="9788" y="194"/>
                  </a:lnTo>
                  <a:lnTo>
                    <a:pt x="9753" y="222"/>
                  </a:lnTo>
                  <a:lnTo>
                    <a:pt x="9718" y="251"/>
                  </a:lnTo>
                  <a:lnTo>
                    <a:pt x="9686" y="282"/>
                  </a:lnTo>
                  <a:lnTo>
                    <a:pt x="9654" y="314"/>
                  </a:lnTo>
                  <a:lnTo>
                    <a:pt x="9626" y="349"/>
                  </a:lnTo>
                  <a:lnTo>
                    <a:pt x="9598" y="385"/>
                  </a:lnTo>
                  <a:lnTo>
                    <a:pt x="9572" y="423"/>
                  </a:lnTo>
                  <a:lnTo>
                    <a:pt x="9548" y="462"/>
                  </a:lnTo>
                  <a:lnTo>
                    <a:pt x="9527" y="502"/>
                  </a:lnTo>
                  <a:lnTo>
                    <a:pt x="9508" y="545"/>
                  </a:lnTo>
                  <a:lnTo>
                    <a:pt x="9489" y="589"/>
                  </a:lnTo>
                  <a:lnTo>
                    <a:pt x="9474" y="633"/>
                  </a:lnTo>
                  <a:lnTo>
                    <a:pt x="9461" y="680"/>
                  </a:lnTo>
                  <a:lnTo>
                    <a:pt x="9451" y="728"/>
                  </a:lnTo>
                  <a:lnTo>
                    <a:pt x="9441" y="778"/>
                  </a:lnTo>
                  <a:lnTo>
                    <a:pt x="9435" y="829"/>
                  </a:lnTo>
                  <a:lnTo>
                    <a:pt x="9432" y="881"/>
                  </a:lnTo>
                  <a:lnTo>
                    <a:pt x="9430" y="933"/>
                  </a:lnTo>
                  <a:lnTo>
                    <a:pt x="9431" y="987"/>
                  </a:lnTo>
                  <a:lnTo>
                    <a:pt x="9435" y="1039"/>
                  </a:lnTo>
                  <a:lnTo>
                    <a:pt x="9441" y="1090"/>
                  </a:lnTo>
                  <a:lnTo>
                    <a:pt x="9450" y="1139"/>
                  </a:lnTo>
                  <a:lnTo>
                    <a:pt x="9461" y="1188"/>
                  </a:lnTo>
                  <a:lnTo>
                    <a:pt x="9474" y="1234"/>
                  </a:lnTo>
                  <a:lnTo>
                    <a:pt x="9488" y="1279"/>
                  </a:lnTo>
                  <a:lnTo>
                    <a:pt x="9506" y="1323"/>
                  </a:lnTo>
                  <a:lnTo>
                    <a:pt x="9525" y="1365"/>
                  </a:lnTo>
                  <a:lnTo>
                    <a:pt x="9546" y="1405"/>
                  </a:lnTo>
                  <a:lnTo>
                    <a:pt x="9570" y="1445"/>
                  </a:lnTo>
                  <a:lnTo>
                    <a:pt x="9595" y="1483"/>
                  </a:lnTo>
                  <a:lnTo>
                    <a:pt x="9623" y="1518"/>
                  </a:lnTo>
                  <a:lnTo>
                    <a:pt x="9651" y="1553"/>
                  </a:lnTo>
                  <a:lnTo>
                    <a:pt x="9681" y="1585"/>
                  </a:lnTo>
                  <a:lnTo>
                    <a:pt x="9714" y="1617"/>
                  </a:lnTo>
                  <a:lnTo>
                    <a:pt x="9749" y="1646"/>
                  </a:lnTo>
                  <a:lnTo>
                    <a:pt x="9784" y="1674"/>
                  </a:lnTo>
                  <a:lnTo>
                    <a:pt x="9822" y="1700"/>
                  </a:lnTo>
                  <a:lnTo>
                    <a:pt x="9860" y="1724"/>
                  </a:lnTo>
                  <a:lnTo>
                    <a:pt x="9900" y="1746"/>
                  </a:lnTo>
                  <a:lnTo>
                    <a:pt x="9942" y="1767"/>
                  </a:lnTo>
                  <a:lnTo>
                    <a:pt x="9986" y="1786"/>
                  </a:lnTo>
                  <a:lnTo>
                    <a:pt x="10029" y="1803"/>
                  </a:lnTo>
                  <a:lnTo>
                    <a:pt x="10075" y="1818"/>
                  </a:lnTo>
                  <a:lnTo>
                    <a:pt x="10122" y="1830"/>
                  </a:lnTo>
                  <a:lnTo>
                    <a:pt x="10170" y="1841"/>
                  </a:lnTo>
                  <a:lnTo>
                    <a:pt x="10219" y="1851"/>
                  </a:lnTo>
                  <a:lnTo>
                    <a:pt x="10269" y="1858"/>
                  </a:lnTo>
                  <a:lnTo>
                    <a:pt x="10320" y="1863"/>
                  </a:lnTo>
                  <a:lnTo>
                    <a:pt x="10372" y="1867"/>
                  </a:lnTo>
                  <a:lnTo>
                    <a:pt x="10426" y="1868"/>
                  </a:lnTo>
                  <a:lnTo>
                    <a:pt x="10465" y="1867"/>
                  </a:lnTo>
                  <a:lnTo>
                    <a:pt x="10502" y="1866"/>
                  </a:lnTo>
                  <a:lnTo>
                    <a:pt x="10540" y="1863"/>
                  </a:lnTo>
                  <a:lnTo>
                    <a:pt x="10576" y="1860"/>
                  </a:lnTo>
                  <a:lnTo>
                    <a:pt x="10612" y="1856"/>
                  </a:lnTo>
                  <a:lnTo>
                    <a:pt x="10648" y="1851"/>
                  </a:lnTo>
                  <a:lnTo>
                    <a:pt x="10682" y="1845"/>
                  </a:lnTo>
                  <a:lnTo>
                    <a:pt x="10716" y="1837"/>
                  </a:lnTo>
                  <a:lnTo>
                    <a:pt x="10749" y="1829"/>
                  </a:lnTo>
                  <a:lnTo>
                    <a:pt x="10782" y="1820"/>
                  </a:lnTo>
                  <a:lnTo>
                    <a:pt x="10813" y="1810"/>
                  </a:lnTo>
                  <a:lnTo>
                    <a:pt x="10845" y="1799"/>
                  </a:lnTo>
                  <a:lnTo>
                    <a:pt x="10875" y="1788"/>
                  </a:lnTo>
                  <a:lnTo>
                    <a:pt x="10905" y="1774"/>
                  </a:lnTo>
                  <a:lnTo>
                    <a:pt x="10934" y="1761"/>
                  </a:lnTo>
                  <a:lnTo>
                    <a:pt x="10963" y="1746"/>
                  </a:lnTo>
                  <a:lnTo>
                    <a:pt x="10991" y="1731"/>
                  </a:lnTo>
                  <a:lnTo>
                    <a:pt x="11018" y="1714"/>
                  </a:lnTo>
                  <a:lnTo>
                    <a:pt x="11045" y="1697"/>
                  </a:lnTo>
                  <a:lnTo>
                    <a:pt x="11071" y="1679"/>
                  </a:lnTo>
                  <a:lnTo>
                    <a:pt x="11096" y="1659"/>
                  </a:lnTo>
                  <a:lnTo>
                    <a:pt x="11121" y="1640"/>
                  </a:lnTo>
                  <a:lnTo>
                    <a:pt x="11144" y="1619"/>
                  </a:lnTo>
                  <a:lnTo>
                    <a:pt x="11167" y="1597"/>
                  </a:lnTo>
                  <a:lnTo>
                    <a:pt x="11190" y="1574"/>
                  </a:lnTo>
                  <a:lnTo>
                    <a:pt x="11211" y="1551"/>
                  </a:lnTo>
                  <a:lnTo>
                    <a:pt x="11232" y="1526"/>
                  </a:lnTo>
                  <a:lnTo>
                    <a:pt x="11253" y="1501"/>
                  </a:lnTo>
                  <a:lnTo>
                    <a:pt x="11272" y="1474"/>
                  </a:lnTo>
                  <a:lnTo>
                    <a:pt x="11291" y="1448"/>
                  </a:lnTo>
                  <a:lnTo>
                    <a:pt x="11310" y="1419"/>
                  </a:lnTo>
                  <a:lnTo>
                    <a:pt x="11327" y="1391"/>
                  </a:lnTo>
                  <a:lnTo>
                    <a:pt x="11015" y="1211"/>
                  </a:lnTo>
                  <a:lnTo>
                    <a:pt x="11002" y="1228"/>
                  </a:lnTo>
                  <a:lnTo>
                    <a:pt x="10988" y="1246"/>
                  </a:lnTo>
                  <a:lnTo>
                    <a:pt x="10975" y="1263"/>
                  </a:lnTo>
                  <a:lnTo>
                    <a:pt x="10962" y="1279"/>
                  </a:lnTo>
                  <a:lnTo>
                    <a:pt x="10948" y="1294"/>
                  </a:lnTo>
                  <a:lnTo>
                    <a:pt x="10933" y="1310"/>
                  </a:lnTo>
                  <a:lnTo>
                    <a:pt x="10919" y="1325"/>
                  </a:lnTo>
                  <a:lnTo>
                    <a:pt x="10904" y="1339"/>
                  </a:lnTo>
                  <a:lnTo>
                    <a:pt x="10890" y="1352"/>
                  </a:lnTo>
                  <a:lnTo>
                    <a:pt x="10873" y="1366"/>
                  </a:lnTo>
                  <a:lnTo>
                    <a:pt x="10858" y="1378"/>
                  </a:lnTo>
                  <a:lnTo>
                    <a:pt x="10842" y="1390"/>
                  </a:lnTo>
                  <a:lnTo>
                    <a:pt x="10825" y="1402"/>
                  </a:lnTo>
                  <a:lnTo>
                    <a:pt x="10807" y="1412"/>
                  </a:lnTo>
                  <a:lnTo>
                    <a:pt x="10790" y="1423"/>
                  </a:lnTo>
                  <a:lnTo>
                    <a:pt x="10773" y="1433"/>
                  </a:lnTo>
                  <a:lnTo>
                    <a:pt x="10754" y="1442"/>
                  </a:lnTo>
                  <a:lnTo>
                    <a:pt x="10735" y="1451"/>
                  </a:lnTo>
                  <a:lnTo>
                    <a:pt x="10716" y="1459"/>
                  </a:lnTo>
                  <a:lnTo>
                    <a:pt x="10696" y="1466"/>
                  </a:lnTo>
                  <a:lnTo>
                    <a:pt x="10676" y="1473"/>
                  </a:lnTo>
                  <a:lnTo>
                    <a:pt x="10656" y="1479"/>
                  </a:lnTo>
                  <a:lnTo>
                    <a:pt x="10634" y="1486"/>
                  </a:lnTo>
                  <a:lnTo>
                    <a:pt x="10613" y="1491"/>
                  </a:lnTo>
                  <a:lnTo>
                    <a:pt x="10591" y="1495"/>
                  </a:lnTo>
                  <a:lnTo>
                    <a:pt x="10567" y="1499"/>
                  </a:lnTo>
                  <a:lnTo>
                    <a:pt x="10544" y="1502"/>
                  </a:lnTo>
                  <a:lnTo>
                    <a:pt x="10521" y="1505"/>
                  </a:lnTo>
                  <a:lnTo>
                    <a:pt x="10496" y="1507"/>
                  </a:lnTo>
                  <a:lnTo>
                    <a:pt x="10471" y="1509"/>
                  </a:lnTo>
                  <a:lnTo>
                    <a:pt x="10445" y="1510"/>
                  </a:lnTo>
                  <a:lnTo>
                    <a:pt x="10419" y="1510"/>
                  </a:lnTo>
                  <a:lnTo>
                    <a:pt x="10386" y="1509"/>
                  </a:lnTo>
                  <a:lnTo>
                    <a:pt x="10355" y="1507"/>
                  </a:lnTo>
                  <a:lnTo>
                    <a:pt x="10324" y="1504"/>
                  </a:lnTo>
                  <a:lnTo>
                    <a:pt x="10294" y="1500"/>
                  </a:lnTo>
                  <a:lnTo>
                    <a:pt x="10264" y="1494"/>
                  </a:lnTo>
                  <a:lnTo>
                    <a:pt x="10236" y="1487"/>
                  </a:lnTo>
                  <a:lnTo>
                    <a:pt x="10207" y="1478"/>
                  </a:lnTo>
                  <a:lnTo>
                    <a:pt x="10180" y="1468"/>
                  </a:lnTo>
                  <a:lnTo>
                    <a:pt x="10153" y="1458"/>
                  </a:lnTo>
                  <a:lnTo>
                    <a:pt x="10128" y="1446"/>
                  </a:lnTo>
                  <a:lnTo>
                    <a:pt x="10104" y="1433"/>
                  </a:lnTo>
                  <a:lnTo>
                    <a:pt x="10080" y="1418"/>
                  </a:lnTo>
                  <a:lnTo>
                    <a:pt x="10057" y="1403"/>
                  </a:lnTo>
                  <a:lnTo>
                    <a:pt x="10035" y="1387"/>
                  </a:lnTo>
                  <a:lnTo>
                    <a:pt x="10014" y="1370"/>
                  </a:lnTo>
                  <a:lnTo>
                    <a:pt x="9994" y="1351"/>
                  </a:lnTo>
                  <a:lnTo>
                    <a:pt x="9975" y="1332"/>
                  </a:lnTo>
                  <a:lnTo>
                    <a:pt x="9957" y="1312"/>
                  </a:lnTo>
                  <a:lnTo>
                    <a:pt x="9941" y="1289"/>
                  </a:lnTo>
                  <a:lnTo>
                    <a:pt x="9925" y="1268"/>
                  </a:lnTo>
                  <a:lnTo>
                    <a:pt x="9910" y="1245"/>
                  </a:lnTo>
                  <a:lnTo>
                    <a:pt x="9896" y="1220"/>
                  </a:lnTo>
                  <a:lnTo>
                    <a:pt x="9884" y="1195"/>
                  </a:lnTo>
                  <a:lnTo>
                    <a:pt x="9873" y="1169"/>
                  </a:lnTo>
                  <a:lnTo>
                    <a:pt x="9864" y="1143"/>
                  </a:lnTo>
                  <a:lnTo>
                    <a:pt x="9854" y="1114"/>
                  </a:lnTo>
                  <a:lnTo>
                    <a:pt x="9847" y="1087"/>
                  </a:lnTo>
                  <a:lnTo>
                    <a:pt x="9841" y="1057"/>
                  </a:lnTo>
                  <a:lnTo>
                    <a:pt x="9836" y="1028"/>
                  </a:lnTo>
                  <a:lnTo>
                    <a:pt x="9833" y="998"/>
                  </a:lnTo>
                  <a:lnTo>
                    <a:pt x="9831" y="966"/>
                  </a:lnTo>
                  <a:lnTo>
                    <a:pt x="9830" y="933"/>
                  </a:lnTo>
                  <a:lnTo>
                    <a:pt x="9831" y="901"/>
                  </a:lnTo>
                  <a:lnTo>
                    <a:pt x="9833" y="869"/>
                  </a:lnTo>
                  <a:lnTo>
                    <a:pt x="9836" y="839"/>
                  </a:lnTo>
                  <a:lnTo>
                    <a:pt x="9840" y="808"/>
                  </a:lnTo>
                  <a:lnTo>
                    <a:pt x="9846" y="779"/>
                  </a:lnTo>
                  <a:lnTo>
                    <a:pt x="9853" y="750"/>
                  </a:lnTo>
                  <a:lnTo>
                    <a:pt x="9863" y="723"/>
                  </a:lnTo>
                  <a:lnTo>
                    <a:pt x="9872" y="696"/>
                  </a:lnTo>
                  <a:lnTo>
                    <a:pt x="9883" y="670"/>
                  </a:lnTo>
                  <a:lnTo>
                    <a:pt x="9894" y="645"/>
                  </a:lnTo>
                  <a:lnTo>
                    <a:pt x="9907" y="620"/>
                  </a:lnTo>
                  <a:lnTo>
                    <a:pt x="9923" y="597"/>
                  </a:lnTo>
                  <a:lnTo>
                    <a:pt x="9938" y="575"/>
                  </a:lnTo>
                  <a:lnTo>
                    <a:pt x="9954" y="553"/>
                  </a:lnTo>
                  <a:lnTo>
                    <a:pt x="9971" y="533"/>
                  </a:lnTo>
                  <a:lnTo>
                    <a:pt x="9991" y="513"/>
                  </a:lnTo>
                  <a:lnTo>
                    <a:pt x="10010" y="496"/>
                  </a:lnTo>
                  <a:lnTo>
                    <a:pt x="10031" y="479"/>
                  </a:lnTo>
                  <a:lnTo>
                    <a:pt x="10053" y="463"/>
                  </a:lnTo>
                  <a:lnTo>
                    <a:pt x="10075" y="447"/>
                  </a:lnTo>
                  <a:lnTo>
                    <a:pt x="10099" y="433"/>
                  </a:lnTo>
                  <a:lnTo>
                    <a:pt x="10124" y="420"/>
                  </a:lnTo>
                  <a:lnTo>
                    <a:pt x="10149" y="409"/>
                  </a:lnTo>
                  <a:lnTo>
                    <a:pt x="10176" y="399"/>
                  </a:lnTo>
                  <a:lnTo>
                    <a:pt x="10203" y="388"/>
                  </a:lnTo>
                  <a:lnTo>
                    <a:pt x="10232" y="380"/>
                  </a:lnTo>
                  <a:lnTo>
                    <a:pt x="10261" y="373"/>
                  </a:lnTo>
                  <a:lnTo>
                    <a:pt x="10291" y="368"/>
                  </a:lnTo>
                  <a:lnTo>
                    <a:pt x="10322" y="363"/>
                  </a:lnTo>
                  <a:lnTo>
                    <a:pt x="10354" y="360"/>
                  </a:lnTo>
                  <a:lnTo>
                    <a:pt x="10386" y="358"/>
                  </a:lnTo>
                  <a:lnTo>
                    <a:pt x="10419" y="358"/>
                  </a:lnTo>
                  <a:lnTo>
                    <a:pt x="10445" y="358"/>
                  </a:lnTo>
                  <a:lnTo>
                    <a:pt x="10471" y="359"/>
                  </a:lnTo>
                  <a:lnTo>
                    <a:pt x="10496" y="360"/>
                  </a:lnTo>
                  <a:lnTo>
                    <a:pt x="10521" y="362"/>
                  </a:lnTo>
                  <a:lnTo>
                    <a:pt x="10544" y="365"/>
                  </a:lnTo>
                  <a:lnTo>
                    <a:pt x="10567" y="368"/>
                  </a:lnTo>
                  <a:lnTo>
                    <a:pt x="10591" y="372"/>
                  </a:lnTo>
                  <a:lnTo>
                    <a:pt x="10613" y="377"/>
                  </a:lnTo>
                  <a:lnTo>
                    <a:pt x="10634" y="382"/>
                  </a:lnTo>
                  <a:lnTo>
                    <a:pt x="10656" y="388"/>
                  </a:lnTo>
                  <a:lnTo>
                    <a:pt x="10676" y="395"/>
                  </a:lnTo>
                  <a:lnTo>
                    <a:pt x="10696" y="402"/>
                  </a:lnTo>
                  <a:lnTo>
                    <a:pt x="10716" y="409"/>
                  </a:lnTo>
                  <a:lnTo>
                    <a:pt x="10735" y="417"/>
                  </a:lnTo>
                  <a:lnTo>
                    <a:pt x="10754" y="425"/>
                  </a:lnTo>
                  <a:lnTo>
                    <a:pt x="10773" y="435"/>
                  </a:lnTo>
                  <a:lnTo>
                    <a:pt x="10790" y="444"/>
                  </a:lnTo>
                  <a:lnTo>
                    <a:pt x="10807" y="455"/>
                  </a:lnTo>
                  <a:lnTo>
                    <a:pt x="10825" y="466"/>
                  </a:lnTo>
                  <a:lnTo>
                    <a:pt x="10842" y="477"/>
                  </a:lnTo>
                  <a:lnTo>
                    <a:pt x="10858" y="489"/>
                  </a:lnTo>
                  <a:lnTo>
                    <a:pt x="10873" y="502"/>
                  </a:lnTo>
                  <a:lnTo>
                    <a:pt x="10890" y="515"/>
                  </a:lnTo>
                  <a:lnTo>
                    <a:pt x="10904" y="529"/>
                  </a:lnTo>
                  <a:lnTo>
                    <a:pt x="10919" y="543"/>
                  </a:lnTo>
                  <a:lnTo>
                    <a:pt x="10933" y="557"/>
                  </a:lnTo>
                  <a:lnTo>
                    <a:pt x="10948" y="572"/>
                  </a:lnTo>
                  <a:lnTo>
                    <a:pt x="10962" y="589"/>
                  </a:lnTo>
                  <a:lnTo>
                    <a:pt x="10975" y="605"/>
                  </a:lnTo>
                  <a:lnTo>
                    <a:pt x="10988" y="621"/>
                  </a:lnTo>
                  <a:lnTo>
                    <a:pt x="11002" y="639"/>
                  </a:lnTo>
                  <a:lnTo>
                    <a:pt x="11015" y="657"/>
                  </a:lnTo>
                  <a:lnTo>
                    <a:pt x="11327" y="4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490538" y="487363"/>
              <a:ext cx="466725" cy="455612"/>
            </a:xfrm>
            <a:custGeom>
              <a:avLst/>
              <a:gdLst>
                <a:gd name="T0" fmla="*/ 1853 w 3532"/>
                <a:gd name="T1" fmla="*/ 1336 h 3444"/>
                <a:gd name="T2" fmla="*/ 1828 w 3532"/>
                <a:gd name="T3" fmla="*/ 1351 h 3444"/>
                <a:gd name="T4" fmla="*/ 1795 w 3532"/>
                <a:gd name="T5" fmla="*/ 1349 h 3444"/>
                <a:gd name="T6" fmla="*/ 1104 w 3532"/>
                <a:gd name="T7" fmla="*/ 1069 h 3444"/>
                <a:gd name="T8" fmla="*/ 1071 w 3532"/>
                <a:gd name="T9" fmla="*/ 1010 h 3444"/>
                <a:gd name="T10" fmla="*/ 1204 w 3532"/>
                <a:gd name="T11" fmla="*/ 141 h 3444"/>
                <a:gd name="T12" fmla="*/ 1231 w 3532"/>
                <a:gd name="T13" fmla="*/ 77 h 3444"/>
                <a:gd name="T14" fmla="*/ 1287 w 3532"/>
                <a:gd name="T15" fmla="*/ 37 h 3444"/>
                <a:gd name="T16" fmla="*/ 2026 w 3532"/>
                <a:gd name="T17" fmla="*/ 0 h 3444"/>
                <a:gd name="T18" fmla="*/ 2055 w 3532"/>
                <a:gd name="T19" fmla="*/ 11 h 3444"/>
                <a:gd name="T20" fmla="*/ 2072 w 3532"/>
                <a:gd name="T21" fmla="*/ 37 h 3444"/>
                <a:gd name="T22" fmla="*/ 1399 w 3532"/>
                <a:gd name="T23" fmla="*/ 1554 h 3444"/>
                <a:gd name="T24" fmla="*/ 1417 w 3532"/>
                <a:gd name="T25" fmla="*/ 1578 h 3444"/>
                <a:gd name="T26" fmla="*/ 1414 w 3532"/>
                <a:gd name="T27" fmla="*/ 1610 h 3444"/>
                <a:gd name="T28" fmla="*/ 958 w 3532"/>
                <a:gd name="T29" fmla="*/ 2172 h 3444"/>
                <a:gd name="T30" fmla="*/ 893 w 3532"/>
                <a:gd name="T31" fmla="*/ 2208 h 3444"/>
                <a:gd name="T32" fmla="*/ 826 w 3532"/>
                <a:gd name="T33" fmla="*/ 2201 h 3444"/>
                <a:gd name="T34" fmla="*/ 45 w 3532"/>
                <a:gd name="T35" fmla="*/ 1796 h 3444"/>
                <a:gd name="T36" fmla="*/ 6 w 3532"/>
                <a:gd name="T37" fmla="*/ 1741 h 3444"/>
                <a:gd name="T38" fmla="*/ 4 w 3532"/>
                <a:gd name="T39" fmla="*/ 1664 h 3444"/>
                <a:gd name="T40" fmla="*/ 200 w 3532"/>
                <a:gd name="T41" fmla="*/ 976 h 3444"/>
                <a:gd name="T42" fmla="*/ 226 w 3532"/>
                <a:gd name="T43" fmla="*/ 959 h 3444"/>
                <a:gd name="T44" fmla="*/ 255 w 3532"/>
                <a:gd name="T45" fmla="*/ 963 h 3444"/>
                <a:gd name="T46" fmla="*/ 1491 w 3532"/>
                <a:gd name="T47" fmla="*/ 2055 h 3444"/>
                <a:gd name="T48" fmla="*/ 1521 w 3532"/>
                <a:gd name="T49" fmla="*/ 2057 h 3444"/>
                <a:gd name="T50" fmla="*/ 1546 w 3532"/>
                <a:gd name="T51" fmla="*/ 2077 h 3444"/>
                <a:gd name="T52" fmla="*/ 1940 w 3532"/>
                <a:gd name="T53" fmla="*/ 2711 h 3444"/>
                <a:gd name="T54" fmla="*/ 1933 w 3532"/>
                <a:gd name="T55" fmla="*/ 2779 h 3444"/>
                <a:gd name="T56" fmla="*/ 1315 w 3532"/>
                <a:gd name="T57" fmla="*/ 3402 h 3444"/>
                <a:gd name="T58" fmla="*/ 1256 w 3532"/>
                <a:gd name="T59" fmla="*/ 3439 h 3444"/>
                <a:gd name="T60" fmla="*/ 1187 w 3532"/>
                <a:gd name="T61" fmla="*/ 3439 h 3444"/>
                <a:gd name="T62" fmla="*/ 567 w 3532"/>
                <a:gd name="T63" fmla="*/ 3035 h 3444"/>
                <a:gd name="T64" fmla="*/ 549 w 3532"/>
                <a:gd name="T65" fmla="*/ 3009 h 3444"/>
                <a:gd name="T66" fmla="*/ 551 w 3532"/>
                <a:gd name="T67" fmla="*/ 2978 h 3444"/>
                <a:gd name="T68" fmla="*/ 1987 w 3532"/>
                <a:gd name="T69" fmla="*/ 2144 h 3444"/>
                <a:gd name="T70" fmla="*/ 1988 w 3532"/>
                <a:gd name="T71" fmla="*/ 2114 h 3444"/>
                <a:gd name="T72" fmla="*/ 2009 w 3532"/>
                <a:gd name="T73" fmla="*/ 2091 h 3444"/>
                <a:gd name="T74" fmla="*/ 2707 w 3532"/>
                <a:gd name="T75" fmla="*/ 1899 h 3444"/>
                <a:gd name="T76" fmla="*/ 2780 w 3532"/>
                <a:gd name="T77" fmla="*/ 1910 h 3444"/>
                <a:gd name="T78" fmla="*/ 2832 w 3532"/>
                <a:gd name="T79" fmla="*/ 1953 h 3444"/>
                <a:gd name="T80" fmla="*/ 3229 w 3532"/>
                <a:gd name="T81" fmla="*/ 2739 h 3444"/>
                <a:gd name="T82" fmla="*/ 3227 w 3532"/>
                <a:gd name="T83" fmla="*/ 2806 h 3444"/>
                <a:gd name="T84" fmla="*/ 3184 w 3532"/>
                <a:gd name="T85" fmla="*/ 2871 h 3444"/>
                <a:gd name="T86" fmla="*/ 2624 w 3532"/>
                <a:gd name="T87" fmla="*/ 3314 h 3444"/>
                <a:gd name="T88" fmla="*/ 2593 w 3532"/>
                <a:gd name="T89" fmla="*/ 3313 h 3444"/>
                <a:gd name="T90" fmla="*/ 2570 w 3532"/>
                <a:gd name="T91" fmla="*/ 3292 h 3444"/>
                <a:gd name="T92" fmla="*/ 2206 w 3532"/>
                <a:gd name="T93" fmla="*/ 1686 h 3444"/>
                <a:gd name="T94" fmla="*/ 2183 w 3532"/>
                <a:gd name="T95" fmla="*/ 1667 h 3444"/>
                <a:gd name="T96" fmla="*/ 2176 w 3532"/>
                <a:gd name="T97" fmla="*/ 1635 h 3444"/>
                <a:gd name="T98" fmla="*/ 2229 w 3532"/>
                <a:gd name="T99" fmla="*/ 892 h 3444"/>
                <a:gd name="T100" fmla="*/ 2275 w 3532"/>
                <a:gd name="T101" fmla="*/ 841 h 3444"/>
                <a:gd name="T102" fmla="*/ 3142 w 3532"/>
                <a:gd name="T103" fmla="*/ 700 h 3444"/>
                <a:gd name="T104" fmla="*/ 3211 w 3532"/>
                <a:gd name="T105" fmla="*/ 706 h 3444"/>
                <a:gd name="T106" fmla="*/ 3268 w 3532"/>
                <a:gd name="T107" fmla="*/ 746 h 3444"/>
                <a:gd name="T108" fmla="*/ 3530 w 3532"/>
                <a:gd name="T109" fmla="*/ 1438 h 3444"/>
                <a:gd name="T110" fmla="*/ 3529 w 3532"/>
                <a:gd name="T111" fmla="*/ 1469 h 3444"/>
                <a:gd name="T112" fmla="*/ 3510 w 3532"/>
                <a:gd name="T113" fmla="*/ 1493 h 3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32" h="3444">
                  <a:moveTo>
                    <a:pt x="2072" y="52"/>
                  </a:moveTo>
                  <a:lnTo>
                    <a:pt x="1861" y="1317"/>
                  </a:lnTo>
                  <a:lnTo>
                    <a:pt x="1860" y="1322"/>
                  </a:lnTo>
                  <a:lnTo>
                    <a:pt x="1858" y="1327"/>
                  </a:lnTo>
                  <a:lnTo>
                    <a:pt x="1856" y="1332"/>
                  </a:lnTo>
                  <a:lnTo>
                    <a:pt x="1853" y="1336"/>
                  </a:lnTo>
                  <a:lnTo>
                    <a:pt x="1849" y="1340"/>
                  </a:lnTo>
                  <a:lnTo>
                    <a:pt x="1846" y="1343"/>
                  </a:lnTo>
                  <a:lnTo>
                    <a:pt x="1842" y="1346"/>
                  </a:lnTo>
                  <a:lnTo>
                    <a:pt x="1837" y="1348"/>
                  </a:lnTo>
                  <a:lnTo>
                    <a:pt x="1833" y="1350"/>
                  </a:lnTo>
                  <a:lnTo>
                    <a:pt x="1828" y="1351"/>
                  </a:lnTo>
                  <a:lnTo>
                    <a:pt x="1822" y="1352"/>
                  </a:lnTo>
                  <a:lnTo>
                    <a:pt x="1817" y="1353"/>
                  </a:lnTo>
                  <a:lnTo>
                    <a:pt x="1811" y="1352"/>
                  </a:lnTo>
                  <a:lnTo>
                    <a:pt x="1806" y="1352"/>
                  </a:lnTo>
                  <a:lnTo>
                    <a:pt x="1801" y="1351"/>
                  </a:lnTo>
                  <a:lnTo>
                    <a:pt x="1795" y="1349"/>
                  </a:lnTo>
                  <a:lnTo>
                    <a:pt x="1163" y="1105"/>
                  </a:lnTo>
                  <a:lnTo>
                    <a:pt x="1149" y="1099"/>
                  </a:lnTo>
                  <a:lnTo>
                    <a:pt x="1136" y="1092"/>
                  </a:lnTo>
                  <a:lnTo>
                    <a:pt x="1125" y="1085"/>
                  </a:lnTo>
                  <a:lnTo>
                    <a:pt x="1114" y="1077"/>
                  </a:lnTo>
                  <a:lnTo>
                    <a:pt x="1104" y="1069"/>
                  </a:lnTo>
                  <a:lnTo>
                    <a:pt x="1096" y="1060"/>
                  </a:lnTo>
                  <a:lnTo>
                    <a:pt x="1089" y="1050"/>
                  </a:lnTo>
                  <a:lnTo>
                    <a:pt x="1083" y="1041"/>
                  </a:lnTo>
                  <a:lnTo>
                    <a:pt x="1078" y="1031"/>
                  </a:lnTo>
                  <a:lnTo>
                    <a:pt x="1074" y="1020"/>
                  </a:lnTo>
                  <a:lnTo>
                    <a:pt x="1071" y="1010"/>
                  </a:lnTo>
                  <a:lnTo>
                    <a:pt x="1068" y="999"/>
                  </a:lnTo>
                  <a:lnTo>
                    <a:pt x="1067" y="986"/>
                  </a:lnTo>
                  <a:lnTo>
                    <a:pt x="1067" y="975"/>
                  </a:lnTo>
                  <a:lnTo>
                    <a:pt x="1068" y="963"/>
                  </a:lnTo>
                  <a:lnTo>
                    <a:pt x="1069" y="951"/>
                  </a:lnTo>
                  <a:lnTo>
                    <a:pt x="1204" y="141"/>
                  </a:lnTo>
                  <a:lnTo>
                    <a:pt x="1206" y="130"/>
                  </a:lnTo>
                  <a:lnTo>
                    <a:pt x="1209" y="118"/>
                  </a:lnTo>
                  <a:lnTo>
                    <a:pt x="1213" y="107"/>
                  </a:lnTo>
                  <a:lnTo>
                    <a:pt x="1218" y="97"/>
                  </a:lnTo>
                  <a:lnTo>
                    <a:pt x="1224" y="86"/>
                  </a:lnTo>
                  <a:lnTo>
                    <a:pt x="1231" y="77"/>
                  </a:lnTo>
                  <a:lnTo>
                    <a:pt x="1238" y="69"/>
                  </a:lnTo>
                  <a:lnTo>
                    <a:pt x="1246" y="61"/>
                  </a:lnTo>
                  <a:lnTo>
                    <a:pt x="1255" y="54"/>
                  </a:lnTo>
                  <a:lnTo>
                    <a:pt x="1265" y="47"/>
                  </a:lnTo>
                  <a:lnTo>
                    <a:pt x="1275" y="42"/>
                  </a:lnTo>
                  <a:lnTo>
                    <a:pt x="1287" y="37"/>
                  </a:lnTo>
                  <a:lnTo>
                    <a:pt x="1300" y="33"/>
                  </a:lnTo>
                  <a:lnTo>
                    <a:pt x="1313" y="29"/>
                  </a:lnTo>
                  <a:lnTo>
                    <a:pt x="1327" y="27"/>
                  </a:lnTo>
                  <a:lnTo>
                    <a:pt x="1342" y="26"/>
                  </a:lnTo>
                  <a:lnTo>
                    <a:pt x="2020" y="0"/>
                  </a:lnTo>
                  <a:lnTo>
                    <a:pt x="2026" y="0"/>
                  </a:lnTo>
                  <a:lnTo>
                    <a:pt x="2031" y="1"/>
                  </a:lnTo>
                  <a:lnTo>
                    <a:pt x="2036" y="2"/>
                  </a:lnTo>
                  <a:lnTo>
                    <a:pt x="2042" y="3"/>
                  </a:lnTo>
                  <a:lnTo>
                    <a:pt x="2046" y="5"/>
                  </a:lnTo>
                  <a:lnTo>
                    <a:pt x="2051" y="8"/>
                  </a:lnTo>
                  <a:lnTo>
                    <a:pt x="2055" y="11"/>
                  </a:lnTo>
                  <a:lnTo>
                    <a:pt x="2059" y="14"/>
                  </a:lnTo>
                  <a:lnTo>
                    <a:pt x="2062" y="18"/>
                  </a:lnTo>
                  <a:lnTo>
                    <a:pt x="2066" y="22"/>
                  </a:lnTo>
                  <a:lnTo>
                    <a:pt x="2068" y="26"/>
                  </a:lnTo>
                  <a:lnTo>
                    <a:pt x="2070" y="32"/>
                  </a:lnTo>
                  <a:lnTo>
                    <a:pt x="2072" y="37"/>
                  </a:lnTo>
                  <a:lnTo>
                    <a:pt x="2072" y="42"/>
                  </a:lnTo>
                  <a:lnTo>
                    <a:pt x="2073" y="47"/>
                  </a:lnTo>
                  <a:lnTo>
                    <a:pt x="2072" y="52"/>
                  </a:lnTo>
                  <a:close/>
                  <a:moveTo>
                    <a:pt x="255" y="963"/>
                  </a:moveTo>
                  <a:lnTo>
                    <a:pt x="1394" y="1551"/>
                  </a:lnTo>
                  <a:lnTo>
                    <a:pt x="1399" y="1554"/>
                  </a:lnTo>
                  <a:lnTo>
                    <a:pt x="1403" y="1557"/>
                  </a:lnTo>
                  <a:lnTo>
                    <a:pt x="1408" y="1561"/>
                  </a:lnTo>
                  <a:lnTo>
                    <a:pt x="1411" y="1565"/>
                  </a:lnTo>
                  <a:lnTo>
                    <a:pt x="1413" y="1569"/>
                  </a:lnTo>
                  <a:lnTo>
                    <a:pt x="1415" y="1574"/>
                  </a:lnTo>
                  <a:lnTo>
                    <a:pt x="1417" y="1578"/>
                  </a:lnTo>
                  <a:lnTo>
                    <a:pt x="1418" y="1583"/>
                  </a:lnTo>
                  <a:lnTo>
                    <a:pt x="1418" y="1588"/>
                  </a:lnTo>
                  <a:lnTo>
                    <a:pt x="1418" y="1593"/>
                  </a:lnTo>
                  <a:lnTo>
                    <a:pt x="1417" y="1599"/>
                  </a:lnTo>
                  <a:lnTo>
                    <a:pt x="1416" y="1605"/>
                  </a:lnTo>
                  <a:lnTo>
                    <a:pt x="1414" y="1610"/>
                  </a:lnTo>
                  <a:lnTo>
                    <a:pt x="1412" y="1614"/>
                  </a:lnTo>
                  <a:lnTo>
                    <a:pt x="1409" y="1619"/>
                  </a:lnTo>
                  <a:lnTo>
                    <a:pt x="1405" y="1624"/>
                  </a:lnTo>
                  <a:lnTo>
                    <a:pt x="978" y="2151"/>
                  </a:lnTo>
                  <a:lnTo>
                    <a:pt x="969" y="2162"/>
                  </a:lnTo>
                  <a:lnTo>
                    <a:pt x="958" y="2172"/>
                  </a:lnTo>
                  <a:lnTo>
                    <a:pt x="948" y="2181"/>
                  </a:lnTo>
                  <a:lnTo>
                    <a:pt x="938" y="2188"/>
                  </a:lnTo>
                  <a:lnTo>
                    <a:pt x="926" y="2195"/>
                  </a:lnTo>
                  <a:lnTo>
                    <a:pt x="915" y="2200"/>
                  </a:lnTo>
                  <a:lnTo>
                    <a:pt x="904" y="2204"/>
                  </a:lnTo>
                  <a:lnTo>
                    <a:pt x="893" y="2208"/>
                  </a:lnTo>
                  <a:lnTo>
                    <a:pt x="882" y="2209"/>
                  </a:lnTo>
                  <a:lnTo>
                    <a:pt x="871" y="2210"/>
                  </a:lnTo>
                  <a:lnTo>
                    <a:pt x="859" y="2209"/>
                  </a:lnTo>
                  <a:lnTo>
                    <a:pt x="848" y="2208"/>
                  </a:lnTo>
                  <a:lnTo>
                    <a:pt x="837" y="2206"/>
                  </a:lnTo>
                  <a:lnTo>
                    <a:pt x="826" y="2201"/>
                  </a:lnTo>
                  <a:lnTo>
                    <a:pt x="815" y="2197"/>
                  </a:lnTo>
                  <a:lnTo>
                    <a:pt x="803" y="2192"/>
                  </a:lnTo>
                  <a:lnTo>
                    <a:pt x="74" y="1816"/>
                  </a:lnTo>
                  <a:lnTo>
                    <a:pt x="64" y="1810"/>
                  </a:lnTo>
                  <a:lnTo>
                    <a:pt x="54" y="1803"/>
                  </a:lnTo>
                  <a:lnTo>
                    <a:pt x="45" y="1796"/>
                  </a:lnTo>
                  <a:lnTo>
                    <a:pt x="37" y="1789"/>
                  </a:lnTo>
                  <a:lnTo>
                    <a:pt x="28" y="1779"/>
                  </a:lnTo>
                  <a:lnTo>
                    <a:pt x="21" y="1771"/>
                  </a:lnTo>
                  <a:lnTo>
                    <a:pt x="15" y="1761"/>
                  </a:lnTo>
                  <a:lnTo>
                    <a:pt x="10" y="1751"/>
                  </a:lnTo>
                  <a:lnTo>
                    <a:pt x="6" y="1741"/>
                  </a:lnTo>
                  <a:lnTo>
                    <a:pt x="3" y="1729"/>
                  </a:lnTo>
                  <a:lnTo>
                    <a:pt x="1" y="1717"/>
                  </a:lnTo>
                  <a:lnTo>
                    <a:pt x="0" y="1704"/>
                  </a:lnTo>
                  <a:lnTo>
                    <a:pt x="0" y="1691"/>
                  </a:lnTo>
                  <a:lnTo>
                    <a:pt x="1" y="1678"/>
                  </a:lnTo>
                  <a:lnTo>
                    <a:pt x="4" y="1664"/>
                  </a:lnTo>
                  <a:lnTo>
                    <a:pt x="7" y="1648"/>
                  </a:lnTo>
                  <a:lnTo>
                    <a:pt x="190" y="995"/>
                  </a:lnTo>
                  <a:lnTo>
                    <a:pt x="192" y="990"/>
                  </a:lnTo>
                  <a:lnTo>
                    <a:pt x="194" y="985"/>
                  </a:lnTo>
                  <a:lnTo>
                    <a:pt x="197" y="980"/>
                  </a:lnTo>
                  <a:lnTo>
                    <a:pt x="200" y="976"/>
                  </a:lnTo>
                  <a:lnTo>
                    <a:pt x="203" y="972"/>
                  </a:lnTo>
                  <a:lnTo>
                    <a:pt x="207" y="969"/>
                  </a:lnTo>
                  <a:lnTo>
                    <a:pt x="212" y="965"/>
                  </a:lnTo>
                  <a:lnTo>
                    <a:pt x="216" y="963"/>
                  </a:lnTo>
                  <a:lnTo>
                    <a:pt x="221" y="961"/>
                  </a:lnTo>
                  <a:lnTo>
                    <a:pt x="226" y="959"/>
                  </a:lnTo>
                  <a:lnTo>
                    <a:pt x="230" y="958"/>
                  </a:lnTo>
                  <a:lnTo>
                    <a:pt x="235" y="958"/>
                  </a:lnTo>
                  <a:lnTo>
                    <a:pt x="240" y="958"/>
                  </a:lnTo>
                  <a:lnTo>
                    <a:pt x="245" y="959"/>
                  </a:lnTo>
                  <a:lnTo>
                    <a:pt x="250" y="960"/>
                  </a:lnTo>
                  <a:lnTo>
                    <a:pt x="255" y="963"/>
                  </a:lnTo>
                  <a:close/>
                  <a:moveTo>
                    <a:pt x="560" y="2966"/>
                  </a:moveTo>
                  <a:lnTo>
                    <a:pt x="1474" y="2066"/>
                  </a:lnTo>
                  <a:lnTo>
                    <a:pt x="1478" y="2062"/>
                  </a:lnTo>
                  <a:lnTo>
                    <a:pt x="1482" y="2059"/>
                  </a:lnTo>
                  <a:lnTo>
                    <a:pt x="1487" y="2057"/>
                  </a:lnTo>
                  <a:lnTo>
                    <a:pt x="1491" y="2055"/>
                  </a:lnTo>
                  <a:lnTo>
                    <a:pt x="1496" y="2054"/>
                  </a:lnTo>
                  <a:lnTo>
                    <a:pt x="1501" y="2053"/>
                  </a:lnTo>
                  <a:lnTo>
                    <a:pt x="1506" y="2054"/>
                  </a:lnTo>
                  <a:lnTo>
                    <a:pt x="1511" y="2054"/>
                  </a:lnTo>
                  <a:lnTo>
                    <a:pt x="1516" y="2055"/>
                  </a:lnTo>
                  <a:lnTo>
                    <a:pt x="1521" y="2057"/>
                  </a:lnTo>
                  <a:lnTo>
                    <a:pt x="1526" y="2059"/>
                  </a:lnTo>
                  <a:lnTo>
                    <a:pt x="1531" y="2062"/>
                  </a:lnTo>
                  <a:lnTo>
                    <a:pt x="1535" y="2065"/>
                  </a:lnTo>
                  <a:lnTo>
                    <a:pt x="1539" y="2069"/>
                  </a:lnTo>
                  <a:lnTo>
                    <a:pt x="1543" y="2073"/>
                  </a:lnTo>
                  <a:lnTo>
                    <a:pt x="1546" y="2077"/>
                  </a:lnTo>
                  <a:lnTo>
                    <a:pt x="1914" y="2647"/>
                  </a:lnTo>
                  <a:lnTo>
                    <a:pt x="1922" y="2660"/>
                  </a:lnTo>
                  <a:lnTo>
                    <a:pt x="1928" y="2673"/>
                  </a:lnTo>
                  <a:lnTo>
                    <a:pt x="1933" y="2685"/>
                  </a:lnTo>
                  <a:lnTo>
                    <a:pt x="1937" y="2699"/>
                  </a:lnTo>
                  <a:lnTo>
                    <a:pt x="1940" y="2711"/>
                  </a:lnTo>
                  <a:lnTo>
                    <a:pt x="1941" y="2723"/>
                  </a:lnTo>
                  <a:lnTo>
                    <a:pt x="1942" y="2734"/>
                  </a:lnTo>
                  <a:lnTo>
                    <a:pt x="1941" y="2745"/>
                  </a:lnTo>
                  <a:lnTo>
                    <a:pt x="1939" y="2758"/>
                  </a:lnTo>
                  <a:lnTo>
                    <a:pt x="1936" y="2768"/>
                  </a:lnTo>
                  <a:lnTo>
                    <a:pt x="1933" y="2779"/>
                  </a:lnTo>
                  <a:lnTo>
                    <a:pt x="1928" y="2789"/>
                  </a:lnTo>
                  <a:lnTo>
                    <a:pt x="1922" y="2799"/>
                  </a:lnTo>
                  <a:lnTo>
                    <a:pt x="1915" y="2808"/>
                  </a:lnTo>
                  <a:lnTo>
                    <a:pt x="1908" y="2818"/>
                  </a:lnTo>
                  <a:lnTo>
                    <a:pt x="1900" y="2827"/>
                  </a:lnTo>
                  <a:lnTo>
                    <a:pt x="1315" y="3402"/>
                  </a:lnTo>
                  <a:lnTo>
                    <a:pt x="1307" y="3410"/>
                  </a:lnTo>
                  <a:lnTo>
                    <a:pt x="1297" y="3419"/>
                  </a:lnTo>
                  <a:lnTo>
                    <a:pt x="1288" y="3425"/>
                  </a:lnTo>
                  <a:lnTo>
                    <a:pt x="1277" y="3431"/>
                  </a:lnTo>
                  <a:lnTo>
                    <a:pt x="1267" y="3435"/>
                  </a:lnTo>
                  <a:lnTo>
                    <a:pt x="1256" y="3439"/>
                  </a:lnTo>
                  <a:lnTo>
                    <a:pt x="1245" y="3442"/>
                  </a:lnTo>
                  <a:lnTo>
                    <a:pt x="1234" y="3443"/>
                  </a:lnTo>
                  <a:lnTo>
                    <a:pt x="1222" y="3444"/>
                  </a:lnTo>
                  <a:lnTo>
                    <a:pt x="1211" y="3443"/>
                  </a:lnTo>
                  <a:lnTo>
                    <a:pt x="1199" y="3442"/>
                  </a:lnTo>
                  <a:lnTo>
                    <a:pt x="1187" y="3439"/>
                  </a:lnTo>
                  <a:lnTo>
                    <a:pt x="1174" y="3435"/>
                  </a:lnTo>
                  <a:lnTo>
                    <a:pt x="1161" y="3430"/>
                  </a:lnTo>
                  <a:lnTo>
                    <a:pt x="1148" y="3423"/>
                  </a:lnTo>
                  <a:lnTo>
                    <a:pt x="1136" y="3415"/>
                  </a:lnTo>
                  <a:lnTo>
                    <a:pt x="572" y="3038"/>
                  </a:lnTo>
                  <a:lnTo>
                    <a:pt x="567" y="3035"/>
                  </a:lnTo>
                  <a:lnTo>
                    <a:pt x="563" y="3031"/>
                  </a:lnTo>
                  <a:lnTo>
                    <a:pt x="559" y="3027"/>
                  </a:lnTo>
                  <a:lnTo>
                    <a:pt x="556" y="3023"/>
                  </a:lnTo>
                  <a:lnTo>
                    <a:pt x="553" y="3018"/>
                  </a:lnTo>
                  <a:lnTo>
                    <a:pt x="551" y="3014"/>
                  </a:lnTo>
                  <a:lnTo>
                    <a:pt x="549" y="3009"/>
                  </a:lnTo>
                  <a:lnTo>
                    <a:pt x="548" y="3004"/>
                  </a:lnTo>
                  <a:lnTo>
                    <a:pt x="548" y="2999"/>
                  </a:lnTo>
                  <a:lnTo>
                    <a:pt x="548" y="2994"/>
                  </a:lnTo>
                  <a:lnTo>
                    <a:pt x="548" y="2988"/>
                  </a:lnTo>
                  <a:lnTo>
                    <a:pt x="549" y="2983"/>
                  </a:lnTo>
                  <a:lnTo>
                    <a:pt x="551" y="2978"/>
                  </a:lnTo>
                  <a:lnTo>
                    <a:pt x="553" y="2974"/>
                  </a:lnTo>
                  <a:lnTo>
                    <a:pt x="556" y="2970"/>
                  </a:lnTo>
                  <a:lnTo>
                    <a:pt x="560" y="2966"/>
                  </a:lnTo>
                  <a:close/>
                  <a:moveTo>
                    <a:pt x="2570" y="3292"/>
                  </a:moveTo>
                  <a:lnTo>
                    <a:pt x="1990" y="2150"/>
                  </a:lnTo>
                  <a:lnTo>
                    <a:pt x="1987" y="2144"/>
                  </a:lnTo>
                  <a:lnTo>
                    <a:pt x="1986" y="2139"/>
                  </a:lnTo>
                  <a:lnTo>
                    <a:pt x="1985" y="2134"/>
                  </a:lnTo>
                  <a:lnTo>
                    <a:pt x="1985" y="2128"/>
                  </a:lnTo>
                  <a:lnTo>
                    <a:pt x="1986" y="2124"/>
                  </a:lnTo>
                  <a:lnTo>
                    <a:pt x="1987" y="2119"/>
                  </a:lnTo>
                  <a:lnTo>
                    <a:pt x="1988" y="2114"/>
                  </a:lnTo>
                  <a:lnTo>
                    <a:pt x="1990" y="2110"/>
                  </a:lnTo>
                  <a:lnTo>
                    <a:pt x="1993" y="2105"/>
                  </a:lnTo>
                  <a:lnTo>
                    <a:pt x="1996" y="2101"/>
                  </a:lnTo>
                  <a:lnTo>
                    <a:pt x="2000" y="2098"/>
                  </a:lnTo>
                  <a:lnTo>
                    <a:pt x="2003" y="2094"/>
                  </a:lnTo>
                  <a:lnTo>
                    <a:pt x="2009" y="2091"/>
                  </a:lnTo>
                  <a:lnTo>
                    <a:pt x="2013" y="2088"/>
                  </a:lnTo>
                  <a:lnTo>
                    <a:pt x="2018" y="2086"/>
                  </a:lnTo>
                  <a:lnTo>
                    <a:pt x="2024" y="2084"/>
                  </a:lnTo>
                  <a:lnTo>
                    <a:pt x="2678" y="1906"/>
                  </a:lnTo>
                  <a:lnTo>
                    <a:pt x="2693" y="1902"/>
                  </a:lnTo>
                  <a:lnTo>
                    <a:pt x="2707" y="1899"/>
                  </a:lnTo>
                  <a:lnTo>
                    <a:pt x="2720" y="1898"/>
                  </a:lnTo>
                  <a:lnTo>
                    <a:pt x="2734" y="1898"/>
                  </a:lnTo>
                  <a:lnTo>
                    <a:pt x="2746" y="1900"/>
                  </a:lnTo>
                  <a:lnTo>
                    <a:pt x="2758" y="1902"/>
                  </a:lnTo>
                  <a:lnTo>
                    <a:pt x="2769" y="1906"/>
                  </a:lnTo>
                  <a:lnTo>
                    <a:pt x="2780" y="1910"/>
                  </a:lnTo>
                  <a:lnTo>
                    <a:pt x="2791" y="1915"/>
                  </a:lnTo>
                  <a:lnTo>
                    <a:pt x="2800" y="1921"/>
                  </a:lnTo>
                  <a:lnTo>
                    <a:pt x="2809" y="1928"/>
                  </a:lnTo>
                  <a:lnTo>
                    <a:pt x="2817" y="1936"/>
                  </a:lnTo>
                  <a:lnTo>
                    <a:pt x="2825" y="1944"/>
                  </a:lnTo>
                  <a:lnTo>
                    <a:pt x="2832" y="1953"/>
                  </a:lnTo>
                  <a:lnTo>
                    <a:pt x="2838" y="1963"/>
                  </a:lnTo>
                  <a:lnTo>
                    <a:pt x="2845" y="1974"/>
                  </a:lnTo>
                  <a:lnTo>
                    <a:pt x="3216" y="2706"/>
                  </a:lnTo>
                  <a:lnTo>
                    <a:pt x="3221" y="2717"/>
                  </a:lnTo>
                  <a:lnTo>
                    <a:pt x="3225" y="2727"/>
                  </a:lnTo>
                  <a:lnTo>
                    <a:pt x="3229" y="2739"/>
                  </a:lnTo>
                  <a:lnTo>
                    <a:pt x="3231" y="2751"/>
                  </a:lnTo>
                  <a:lnTo>
                    <a:pt x="3232" y="2762"/>
                  </a:lnTo>
                  <a:lnTo>
                    <a:pt x="3233" y="2773"/>
                  </a:lnTo>
                  <a:lnTo>
                    <a:pt x="3232" y="2784"/>
                  </a:lnTo>
                  <a:lnTo>
                    <a:pt x="3230" y="2795"/>
                  </a:lnTo>
                  <a:lnTo>
                    <a:pt x="3227" y="2806"/>
                  </a:lnTo>
                  <a:lnTo>
                    <a:pt x="3223" y="2818"/>
                  </a:lnTo>
                  <a:lnTo>
                    <a:pt x="3218" y="2829"/>
                  </a:lnTo>
                  <a:lnTo>
                    <a:pt x="3212" y="2839"/>
                  </a:lnTo>
                  <a:lnTo>
                    <a:pt x="3204" y="2850"/>
                  </a:lnTo>
                  <a:lnTo>
                    <a:pt x="3194" y="2860"/>
                  </a:lnTo>
                  <a:lnTo>
                    <a:pt x="3184" y="2871"/>
                  </a:lnTo>
                  <a:lnTo>
                    <a:pt x="3173" y="2881"/>
                  </a:lnTo>
                  <a:lnTo>
                    <a:pt x="2643" y="3304"/>
                  </a:lnTo>
                  <a:lnTo>
                    <a:pt x="2638" y="3307"/>
                  </a:lnTo>
                  <a:lnTo>
                    <a:pt x="2633" y="3310"/>
                  </a:lnTo>
                  <a:lnTo>
                    <a:pt x="2629" y="3312"/>
                  </a:lnTo>
                  <a:lnTo>
                    <a:pt x="2624" y="3314"/>
                  </a:lnTo>
                  <a:lnTo>
                    <a:pt x="2619" y="3315"/>
                  </a:lnTo>
                  <a:lnTo>
                    <a:pt x="2613" y="3316"/>
                  </a:lnTo>
                  <a:lnTo>
                    <a:pt x="2608" y="3316"/>
                  </a:lnTo>
                  <a:lnTo>
                    <a:pt x="2603" y="3315"/>
                  </a:lnTo>
                  <a:lnTo>
                    <a:pt x="2598" y="3314"/>
                  </a:lnTo>
                  <a:lnTo>
                    <a:pt x="2593" y="3313"/>
                  </a:lnTo>
                  <a:lnTo>
                    <a:pt x="2588" y="3311"/>
                  </a:lnTo>
                  <a:lnTo>
                    <a:pt x="2584" y="3308"/>
                  </a:lnTo>
                  <a:lnTo>
                    <a:pt x="2580" y="3305"/>
                  </a:lnTo>
                  <a:lnTo>
                    <a:pt x="2576" y="3302"/>
                  </a:lnTo>
                  <a:lnTo>
                    <a:pt x="2573" y="3297"/>
                  </a:lnTo>
                  <a:lnTo>
                    <a:pt x="2570" y="3292"/>
                  </a:lnTo>
                  <a:close/>
                  <a:moveTo>
                    <a:pt x="3494" y="1498"/>
                  </a:moveTo>
                  <a:lnTo>
                    <a:pt x="2227" y="1688"/>
                  </a:lnTo>
                  <a:lnTo>
                    <a:pt x="2222" y="1688"/>
                  </a:lnTo>
                  <a:lnTo>
                    <a:pt x="2216" y="1688"/>
                  </a:lnTo>
                  <a:lnTo>
                    <a:pt x="2211" y="1687"/>
                  </a:lnTo>
                  <a:lnTo>
                    <a:pt x="2206" y="1686"/>
                  </a:lnTo>
                  <a:lnTo>
                    <a:pt x="2202" y="1684"/>
                  </a:lnTo>
                  <a:lnTo>
                    <a:pt x="2198" y="1681"/>
                  </a:lnTo>
                  <a:lnTo>
                    <a:pt x="2194" y="1678"/>
                  </a:lnTo>
                  <a:lnTo>
                    <a:pt x="2190" y="1675"/>
                  </a:lnTo>
                  <a:lnTo>
                    <a:pt x="2187" y="1671"/>
                  </a:lnTo>
                  <a:lnTo>
                    <a:pt x="2183" y="1667"/>
                  </a:lnTo>
                  <a:lnTo>
                    <a:pt x="2181" y="1661"/>
                  </a:lnTo>
                  <a:lnTo>
                    <a:pt x="2179" y="1657"/>
                  </a:lnTo>
                  <a:lnTo>
                    <a:pt x="2177" y="1652"/>
                  </a:lnTo>
                  <a:lnTo>
                    <a:pt x="2176" y="1646"/>
                  </a:lnTo>
                  <a:lnTo>
                    <a:pt x="2176" y="1641"/>
                  </a:lnTo>
                  <a:lnTo>
                    <a:pt x="2176" y="1635"/>
                  </a:lnTo>
                  <a:lnTo>
                    <a:pt x="2213" y="959"/>
                  </a:lnTo>
                  <a:lnTo>
                    <a:pt x="2214" y="944"/>
                  </a:lnTo>
                  <a:lnTo>
                    <a:pt x="2217" y="929"/>
                  </a:lnTo>
                  <a:lnTo>
                    <a:pt x="2220" y="915"/>
                  </a:lnTo>
                  <a:lnTo>
                    <a:pt x="2224" y="903"/>
                  </a:lnTo>
                  <a:lnTo>
                    <a:pt x="2229" y="892"/>
                  </a:lnTo>
                  <a:lnTo>
                    <a:pt x="2235" y="881"/>
                  </a:lnTo>
                  <a:lnTo>
                    <a:pt x="2241" y="871"/>
                  </a:lnTo>
                  <a:lnTo>
                    <a:pt x="2250" y="862"/>
                  </a:lnTo>
                  <a:lnTo>
                    <a:pt x="2257" y="854"/>
                  </a:lnTo>
                  <a:lnTo>
                    <a:pt x="2266" y="847"/>
                  </a:lnTo>
                  <a:lnTo>
                    <a:pt x="2275" y="841"/>
                  </a:lnTo>
                  <a:lnTo>
                    <a:pt x="2285" y="836"/>
                  </a:lnTo>
                  <a:lnTo>
                    <a:pt x="2296" y="831"/>
                  </a:lnTo>
                  <a:lnTo>
                    <a:pt x="2307" y="827"/>
                  </a:lnTo>
                  <a:lnTo>
                    <a:pt x="2319" y="824"/>
                  </a:lnTo>
                  <a:lnTo>
                    <a:pt x="2331" y="822"/>
                  </a:lnTo>
                  <a:lnTo>
                    <a:pt x="3142" y="700"/>
                  </a:lnTo>
                  <a:lnTo>
                    <a:pt x="3154" y="699"/>
                  </a:lnTo>
                  <a:lnTo>
                    <a:pt x="3166" y="699"/>
                  </a:lnTo>
                  <a:lnTo>
                    <a:pt x="3177" y="699"/>
                  </a:lnTo>
                  <a:lnTo>
                    <a:pt x="3189" y="700"/>
                  </a:lnTo>
                  <a:lnTo>
                    <a:pt x="3200" y="702"/>
                  </a:lnTo>
                  <a:lnTo>
                    <a:pt x="3211" y="706"/>
                  </a:lnTo>
                  <a:lnTo>
                    <a:pt x="3222" y="710"/>
                  </a:lnTo>
                  <a:lnTo>
                    <a:pt x="3232" y="715"/>
                  </a:lnTo>
                  <a:lnTo>
                    <a:pt x="3241" y="721"/>
                  </a:lnTo>
                  <a:lnTo>
                    <a:pt x="3250" y="728"/>
                  </a:lnTo>
                  <a:lnTo>
                    <a:pt x="3259" y="737"/>
                  </a:lnTo>
                  <a:lnTo>
                    <a:pt x="3268" y="746"/>
                  </a:lnTo>
                  <a:lnTo>
                    <a:pt x="3275" y="758"/>
                  </a:lnTo>
                  <a:lnTo>
                    <a:pt x="3282" y="769"/>
                  </a:lnTo>
                  <a:lnTo>
                    <a:pt x="3289" y="782"/>
                  </a:lnTo>
                  <a:lnTo>
                    <a:pt x="3294" y="796"/>
                  </a:lnTo>
                  <a:lnTo>
                    <a:pt x="3529" y="1433"/>
                  </a:lnTo>
                  <a:lnTo>
                    <a:pt x="3530" y="1438"/>
                  </a:lnTo>
                  <a:lnTo>
                    <a:pt x="3531" y="1443"/>
                  </a:lnTo>
                  <a:lnTo>
                    <a:pt x="3532" y="1449"/>
                  </a:lnTo>
                  <a:lnTo>
                    <a:pt x="3532" y="1454"/>
                  </a:lnTo>
                  <a:lnTo>
                    <a:pt x="3531" y="1459"/>
                  </a:lnTo>
                  <a:lnTo>
                    <a:pt x="3530" y="1464"/>
                  </a:lnTo>
                  <a:lnTo>
                    <a:pt x="3529" y="1469"/>
                  </a:lnTo>
                  <a:lnTo>
                    <a:pt x="3527" y="1474"/>
                  </a:lnTo>
                  <a:lnTo>
                    <a:pt x="3525" y="1478"/>
                  </a:lnTo>
                  <a:lnTo>
                    <a:pt x="3522" y="1483"/>
                  </a:lnTo>
                  <a:lnTo>
                    <a:pt x="3518" y="1487"/>
                  </a:lnTo>
                  <a:lnTo>
                    <a:pt x="3515" y="1490"/>
                  </a:lnTo>
                  <a:lnTo>
                    <a:pt x="3510" y="1493"/>
                  </a:lnTo>
                  <a:lnTo>
                    <a:pt x="3506" y="1495"/>
                  </a:lnTo>
                  <a:lnTo>
                    <a:pt x="3501" y="1497"/>
                  </a:lnTo>
                  <a:lnTo>
                    <a:pt x="3494" y="1498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51566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Вертикальный заголовок и текст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3"/>
          <p:cNvSpPr>
            <a:spLocks noChangeAspect="1" noChangeArrowheads="1" noTextEdit="1"/>
          </p:cNvSpPr>
          <p:nvPr userDrawn="1"/>
        </p:nvSpPr>
        <p:spPr bwMode="auto">
          <a:xfrm>
            <a:off x="15" y="393700"/>
            <a:ext cx="9906000" cy="646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Freeform 8"/>
          <p:cNvSpPr>
            <a:spLocks/>
          </p:cNvSpPr>
          <p:nvPr userDrawn="1"/>
        </p:nvSpPr>
        <p:spPr bwMode="auto">
          <a:xfrm>
            <a:off x="9102933" y="3473452"/>
            <a:ext cx="803143" cy="1114425"/>
          </a:xfrm>
          <a:custGeom>
            <a:avLst/>
            <a:gdLst>
              <a:gd name="T0" fmla="*/ 0 w 1401"/>
              <a:gd name="T1" fmla="*/ 2106 h 2106"/>
              <a:gd name="T2" fmla="*/ 81 w 1401"/>
              <a:gd name="T3" fmla="*/ 638 h 2106"/>
              <a:gd name="T4" fmla="*/ 82 w 1401"/>
              <a:gd name="T5" fmla="*/ 609 h 2106"/>
              <a:gd name="T6" fmla="*/ 86 w 1401"/>
              <a:gd name="T7" fmla="*/ 581 h 2106"/>
              <a:gd name="T8" fmla="*/ 90 w 1401"/>
              <a:gd name="T9" fmla="*/ 555 h 2106"/>
              <a:gd name="T10" fmla="*/ 94 w 1401"/>
              <a:gd name="T11" fmla="*/ 529 h 2106"/>
              <a:gd name="T12" fmla="*/ 100 w 1401"/>
              <a:gd name="T13" fmla="*/ 504 h 2106"/>
              <a:gd name="T14" fmla="*/ 106 w 1401"/>
              <a:gd name="T15" fmla="*/ 480 h 2106"/>
              <a:gd name="T16" fmla="*/ 114 w 1401"/>
              <a:gd name="T17" fmla="*/ 456 h 2106"/>
              <a:gd name="T18" fmla="*/ 122 w 1401"/>
              <a:gd name="T19" fmla="*/ 433 h 2106"/>
              <a:gd name="T20" fmla="*/ 131 w 1401"/>
              <a:gd name="T21" fmla="*/ 412 h 2106"/>
              <a:gd name="T22" fmla="*/ 141 w 1401"/>
              <a:gd name="T23" fmla="*/ 391 h 2106"/>
              <a:gd name="T24" fmla="*/ 151 w 1401"/>
              <a:gd name="T25" fmla="*/ 371 h 2106"/>
              <a:gd name="T26" fmla="*/ 162 w 1401"/>
              <a:gd name="T27" fmla="*/ 351 h 2106"/>
              <a:gd name="T28" fmla="*/ 174 w 1401"/>
              <a:gd name="T29" fmla="*/ 333 h 2106"/>
              <a:gd name="T30" fmla="*/ 187 w 1401"/>
              <a:gd name="T31" fmla="*/ 316 h 2106"/>
              <a:gd name="T32" fmla="*/ 200 w 1401"/>
              <a:gd name="T33" fmla="*/ 299 h 2106"/>
              <a:gd name="T34" fmla="*/ 214 w 1401"/>
              <a:gd name="T35" fmla="*/ 283 h 2106"/>
              <a:gd name="T36" fmla="*/ 229 w 1401"/>
              <a:gd name="T37" fmla="*/ 268 h 2106"/>
              <a:gd name="T38" fmla="*/ 244 w 1401"/>
              <a:gd name="T39" fmla="*/ 253 h 2106"/>
              <a:gd name="T40" fmla="*/ 259 w 1401"/>
              <a:gd name="T41" fmla="*/ 240 h 2106"/>
              <a:gd name="T42" fmla="*/ 277 w 1401"/>
              <a:gd name="T43" fmla="*/ 227 h 2106"/>
              <a:gd name="T44" fmla="*/ 294 w 1401"/>
              <a:gd name="T45" fmla="*/ 215 h 2106"/>
              <a:gd name="T46" fmla="*/ 311 w 1401"/>
              <a:gd name="T47" fmla="*/ 203 h 2106"/>
              <a:gd name="T48" fmla="*/ 330 w 1401"/>
              <a:gd name="T49" fmla="*/ 194 h 2106"/>
              <a:gd name="T50" fmla="*/ 348 w 1401"/>
              <a:gd name="T51" fmla="*/ 184 h 2106"/>
              <a:gd name="T52" fmla="*/ 367 w 1401"/>
              <a:gd name="T53" fmla="*/ 174 h 2106"/>
              <a:gd name="T54" fmla="*/ 387 w 1401"/>
              <a:gd name="T55" fmla="*/ 167 h 2106"/>
              <a:gd name="T56" fmla="*/ 407 w 1401"/>
              <a:gd name="T57" fmla="*/ 159 h 2106"/>
              <a:gd name="T58" fmla="*/ 428 w 1401"/>
              <a:gd name="T59" fmla="*/ 153 h 2106"/>
              <a:gd name="T60" fmla="*/ 450 w 1401"/>
              <a:gd name="T61" fmla="*/ 146 h 2106"/>
              <a:gd name="T62" fmla="*/ 471 w 1401"/>
              <a:gd name="T63" fmla="*/ 141 h 2106"/>
              <a:gd name="T64" fmla="*/ 493 w 1401"/>
              <a:gd name="T65" fmla="*/ 136 h 2106"/>
              <a:gd name="T66" fmla="*/ 515 w 1401"/>
              <a:gd name="T67" fmla="*/ 133 h 2106"/>
              <a:gd name="T68" fmla="*/ 1401 w 1401"/>
              <a:gd name="T69" fmla="*/ 0 h 2106"/>
              <a:gd name="T70" fmla="*/ 1401 w 1401"/>
              <a:gd name="T71" fmla="*/ 348 h 2106"/>
              <a:gd name="T72" fmla="*/ 837 w 1401"/>
              <a:gd name="T73" fmla="*/ 525 h 2106"/>
              <a:gd name="T74" fmla="*/ 813 w 1401"/>
              <a:gd name="T75" fmla="*/ 534 h 2106"/>
              <a:gd name="T76" fmla="*/ 789 w 1401"/>
              <a:gd name="T77" fmla="*/ 543 h 2106"/>
              <a:gd name="T78" fmla="*/ 765 w 1401"/>
              <a:gd name="T79" fmla="*/ 554 h 2106"/>
              <a:gd name="T80" fmla="*/ 740 w 1401"/>
              <a:gd name="T81" fmla="*/ 566 h 2106"/>
              <a:gd name="T82" fmla="*/ 717 w 1401"/>
              <a:gd name="T83" fmla="*/ 580 h 2106"/>
              <a:gd name="T84" fmla="*/ 695 w 1401"/>
              <a:gd name="T85" fmla="*/ 594 h 2106"/>
              <a:gd name="T86" fmla="*/ 672 w 1401"/>
              <a:gd name="T87" fmla="*/ 609 h 2106"/>
              <a:gd name="T88" fmla="*/ 650 w 1401"/>
              <a:gd name="T89" fmla="*/ 627 h 2106"/>
              <a:gd name="T90" fmla="*/ 631 w 1401"/>
              <a:gd name="T91" fmla="*/ 644 h 2106"/>
              <a:gd name="T92" fmla="*/ 612 w 1401"/>
              <a:gd name="T93" fmla="*/ 662 h 2106"/>
              <a:gd name="T94" fmla="*/ 593 w 1401"/>
              <a:gd name="T95" fmla="*/ 682 h 2106"/>
              <a:gd name="T96" fmla="*/ 576 w 1401"/>
              <a:gd name="T97" fmla="*/ 702 h 2106"/>
              <a:gd name="T98" fmla="*/ 561 w 1401"/>
              <a:gd name="T99" fmla="*/ 724 h 2106"/>
              <a:gd name="T100" fmla="*/ 547 w 1401"/>
              <a:gd name="T101" fmla="*/ 745 h 2106"/>
              <a:gd name="T102" fmla="*/ 535 w 1401"/>
              <a:gd name="T103" fmla="*/ 768 h 2106"/>
              <a:gd name="T104" fmla="*/ 524 w 1401"/>
              <a:gd name="T105" fmla="*/ 792 h 2106"/>
              <a:gd name="T106" fmla="*/ 0 w 1401"/>
              <a:gd name="T107" fmla="*/ 2106 h 2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401" h="2106">
                <a:moveTo>
                  <a:pt x="0" y="2106"/>
                </a:moveTo>
                <a:lnTo>
                  <a:pt x="81" y="638"/>
                </a:lnTo>
                <a:lnTo>
                  <a:pt x="82" y="609"/>
                </a:lnTo>
                <a:lnTo>
                  <a:pt x="86" y="581"/>
                </a:lnTo>
                <a:lnTo>
                  <a:pt x="90" y="555"/>
                </a:lnTo>
                <a:lnTo>
                  <a:pt x="94" y="529"/>
                </a:lnTo>
                <a:lnTo>
                  <a:pt x="100" y="504"/>
                </a:lnTo>
                <a:lnTo>
                  <a:pt x="106" y="480"/>
                </a:lnTo>
                <a:lnTo>
                  <a:pt x="114" y="456"/>
                </a:lnTo>
                <a:lnTo>
                  <a:pt x="122" y="433"/>
                </a:lnTo>
                <a:lnTo>
                  <a:pt x="131" y="412"/>
                </a:lnTo>
                <a:lnTo>
                  <a:pt x="141" y="391"/>
                </a:lnTo>
                <a:lnTo>
                  <a:pt x="151" y="371"/>
                </a:lnTo>
                <a:lnTo>
                  <a:pt x="162" y="351"/>
                </a:lnTo>
                <a:lnTo>
                  <a:pt x="174" y="333"/>
                </a:lnTo>
                <a:lnTo>
                  <a:pt x="187" y="316"/>
                </a:lnTo>
                <a:lnTo>
                  <a:pt x="200" y="299"/>
                </a:lnTo>
                <a:lnTo>
                  <a:pt x="214" y="283"/>
                </a:lnTo>
                <a:lnTo>
                  <a:pt x="229" y="268"/>
                </a:lnTo>
                <a:lnTo>
                  <a:pt x="244" y="253"/>
                </a:lnTo>
                <a:lnTo>
                  <a:pt x="259" y="240"/>
                </a:lnTo>
                <a:lnTo>
                  <a:pt x="277" y="227"/>
                </a:lnTo>
                <a:lnTo>
                  <a:pt x="294" y="215"/>
                </a:lnTo>
                <a:lnTo>
                  <a:pt x="311" y="203"/>
                </a:lnTo>
                <a:lnTo>
                  <a:pt x="330" y="194"/>
                </a:lnTo>
                <a:lnTo>
                  <a:pt x="348" y="184"/>
                </a:lnTo>
                <a:lnTo>
                  <a:pt x="367" y="174"/>
                </a:lnTo>
                <a:lnTo>
                  <a:pt x="387" y="167"/>
                </a:lnTo>
                <a:lnTo>
                  <a:pt x="407" y="159"/>
                </a:lnTo>
                <a:lnTo>
                  <a:pt x="428" y="153"/>
                </a:lnTo>
                <a:lnTo>
                  <a:pt x="450" y="146"/>
                </a:lnTo>
                <a:lnTo>
                  <a:pt x="471" y="141"/>
                </a:lnTo>
                <a:lnTo>
                  <a:pt x="493" y="136"/>
                </a:lnTo>
                <a:lnTo>
                  <a:pt x="515" y="133"/>
                </a:lnTo>
                <a:lnTo>
                  <a:pt x="1401" y="0"/>
                </a:lnTo>
                <a:lnTo>
                  <a:pt x="1401" y="348"/>
                </a:lnTo>
                <a:lnTo>
                  <a:pt x="837" y="525"/>
                </a:lnTo>
                <a:lnTo>
                  <a:pt x="813" y="534"/>
                </a:lnTo>
                <a:lnTo>
                  <a:pt x="789" y="543"/>
                </a:lnTo>
                <a:lnTo>
                  <a:pt x="765" y="554"/>
                </a:lnTo>
                <a:lnTo>
                  <a:pt x="740" y="566"/>
                </a:lnTo>
                <a:lnTo>
                  <a:pt x="717" y="580"/>
                </a:lnTo>
                <a:lnTo>
                  <a:pt x="695" y="594"/>
                </a:lnTo>
                <a:lnTo>
                  <a:pt x="672" y="609"/>
                </a:lnTo>
                <a:lnTo>
                  <a:pt x="650" y="627"/>
                </a:lnTo>
                <a:lnTo>
                  <a:pt x="631" y="644"/>
                </a:lnTo>
                <a:lnTo>
                  <a:pt x="612" y="662"/>
                </a:lnTo>
                <a:lnTo>
                  <a:pt x="593" y="682"/>
                </a:lnTo>
                <a:lnTo>
                  <a:pt x="576" y="702"/>
                </a:lnTo>
                <a:lnTo>
                  <a:pt x="561" y="724"/>
                </a:lnTo>
                <a:lnTo>
                  <a:pt x="547" y="745"/>
                </a:lnTo>
                <a:lnTo>
                  <a:pt x="535" y="768"/>
                </a:lnTo>
                <a:lnTo>
                  <a:pt x="524" y="792"/>
                </a:lnTo>
                <a:lnTo>
                  <a:pt x="0" y="2106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0" name="Freeform 9"/>
          <p:cNvSpPr>
            <a:spLocks/>
          </p:cNvSpPr>
          <p:nvPr userDrawn="1"/>
        </p:nvSpPr>
        <p:spPr bwMode="auto">
          <a:xfrm>
            <a:off x="8666046" y="5721350"/>
            <a:ext cx="1239970" cy="1136650"/>
          </a:xfrm>
          <a:custGeom>
            <a:avLst/>
            <a:gdLst>
              <a:gd name="T0" fmla="*/ 705 w 2162"/>
              <a:gd name="T1" fmla="*/ 2147 h 2147"/>
              <a:gd name="T2" fmla="*/ 17 w 2162"/>
              <a:gd name="T3" fmla="*/ 792 h 2147"/>
              <a:gd name="T4" fmla="*/ 13 w 2162"/>
              <a:gd name="T5" fmla="*/ 782 h 2147"/>
              <a:gd name="T6" fmla="*/ 8 w 2162"/>
              <a:gd name="T7" fmla="*/ 773 h 2147"/>
              <a:gd name="T8" fmla="*/ 5 w 2162"/>
              <a:gd name="T9" fmla="*/ 764 h 2147"/>
              <a:gd name="T10" fmla="*/ 3 w 2162"/>
              <a:gd name="T11" fmla="*/ 754 h 2147"/>
              <a:gd name="T12" fmla="*/ 1 w 2162"/>
              <a:gd name="T13" fmla="*/ 744 h 2147"/>
              <a:gd name="T14" fmla="*/ 0 w 2162"/>
              <a:gd name="T15" fmla="*/ 735 h 2147"/>
              <a:gd name="T16" fmla="*/ 0 w 2162"/>
              <a:gd name="T17" fmla="*/ 726 h 2147"/>
              <a:gd name="T18" fmla="*/ 0 w 2162"/>
              <a:gd name="T19" fmla="*/ 716 h 2147"/>
              <a:gd name="T20" fmla="*/ 0 w 2162"/>
              <a:gd name="T21" fmla="*/ 707 h 2147"/>
              <a:gd name="T22" fmla="*/ 1 w 2162"/>
              <a:gd name="T23" fmla="*/ 698 h 2147"/>
              <a:gd name="T24" fmla="*/ 3 w 2162"/>
              <a:gd name="T25" fmla="*/ 688 h 2147"/>
              <a:gd name="T26" fmla="*/ 5 w 2162"/>
              <a:gd name="T27" fmla="*/ 680 h 2147"/>
              <a:gd name="T28" fmla="*/ 12 w 2162"/>
              <a:gd name="T29" fmla="*/ 662 h 2147"/>
              <a:gd name="T30" fmla="*/ 19 w 2162"/>
              <a:gd name="T31" fmla="*/ 645 h 2147"/>
              <a:gd name="T32" fmla="*/ 29 w 2162"/>
              <a:gd name="T33" fmla="*/ 629 h 2147"/>
              <a:gd name="T34" fmla="*/ 41 w 2162"/>
              <a:gd name="T35" fmla="*/ 614 h 2147"/>
              <a:gd name="T36" fmla="*/ 54 w 2162"/>
              <a:gd name="T37" fmla="*/ 600 h 2147"/>
              <a:gd name="T38" fmla="*/ 69 w 2162"/>
              <a:gd name="T39" fmla="*/ 587 h 2147"/>
              <a:gd name="T40" fmla="*/ 85 w 2162"/>
              <a:gd name="T41" fmla="*/ 576 h 2147"/>
              <a:gd name="T42" fmla="*/ 102 w 2162"/>
              <a:gd name="T43" fmla="*/ 565 h 2147"/>
              <a:gd name="T44" fmla="*/ 121 w 2162"/>
              <a:gd name="T45" fmla="*/ 558 h 2147"/>
              <a:gd name="T46" fmla="*/ 141 w 2162"/>
              <a:gd name="T47" fmla="*/ 551 h 2147"/>
              <a:gd name="T48" fmla="*/ 2162 w 2162"/>
              <a:gd name="T49" fmla="*/ 0 h 2147"/>
              <a:gd name="T50" fmla="*/ 2162 w 2162"/>
              <a:gd name="T51" fmla="*/ 2147 h 2147"/>
              <a:gd name="T52" fmla="*/ 705 w 2162"/>
              <a:gd name="T53" fmla="*/ 2147 h 2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2162" h="2147">
                <a:moveTo>
                  <a:pt x="705" y="2147"/>
                </a:moveTo>
                <a:lnTo>
                  <a:pt x="17" y="792"/>
                </a:lnTo>
                <a:lnTo>
                  <a:pt x="13" y="782"/>
                </a:lnTo>
                <a:lnTo>
                  <a:pt x="8" y="773"/>
                </a:lnTo>
                <a:lnTo>
                  <a:pt x="5" y="764"/>
                </a:lnTo>
                <a:lnTo>
                  <a:pt x="3" y="754"/>
                </a:lnTo>
                <a:lnTo>
                  <a:pt x="1" y="744"/>
                </a:lnTo>
                <a:lnTo>
                  <a:pt x="0" y="735"/>
                </a:lnTo>
                <a:lnTo>
                  <a:pt x="0" y="726"/>
                </a:lnTo>
                <a:lnTo>
                  <a:pt x="0" y="716"/>
                </a:lnTo>
                <a:lnTo>
                  <a:pt x="0" y="707"/>
                </a:lnTo>
                <a:lnTo>
                  <a:pt x="1" y="698"/>
                </a:lnTo>
                <a:lnTo>
                  <a:pt x="3" y="688"/>
                </a:lnTo>
                <a:lnTo>
                  <a:pt x="5" y="680"/>
                </a:lnTo>
                <a:lnTo>
                  <a:pt x="12" y="662"/>
                </a:lnTo>
                <a:lnTo>
                  <a:pt x="19" y="645"/>
                </a:lnTo>
                <a:lnTo>
                  <a:pt x="29" y="629"/>
                </a:lnTo>
                <a:lnTo>
                  <a:pt x="41" y="614"/>
                </a:lnTo>
                <a:lnTo>
                  <a:pt x="54" y="600"/>
                </a:lnTo>
                <a:lnTo>
                  <a:pt x="69" y="587"/>
                </a:lnTo>
                <a:lnTo>
                  <a:pt x="85" y="576"/>
                </a:lnTo>
                <a:lnTo>
                  <a:pt x="102" y="565"/>
                </a:lnTo>
                <a:lnTo>
                  <a:pt x="121" y="558"/>
                </a:lnTo>
                <a:lnTo>
                  <a:pt x="141" y="551"/>
                </a:lnTo>
                <a:lnTo>
                  <a:pt x="2162" y="0"/>
                </a:lnTo>
                <a:lnTo>
                  <a:pt x="2162" y="2147"/>
                </a:lnTo>
                <a:lnTo>
                  <a:pt x="705" y="2147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2" name="Freeform 11"/>
          <p:cNvSpPr>
            <a:spLocks/>
          </p:cNvSpPr>
          <p:nvPr userDrawn="1"/>
        </p:nvSpPr>
        <p:spPr bwMode="auto">
          <a:xfrm>
            <a:off x="6614319" y="5953294"/>
            <a:ext cx="1721512" cy="904875"/>
          </a:xfrm>
          <a:custGeom>
            <a:avLst/>
            <a:gdLst>
              <a:gd name="T0" fmla="*/ 0 w 3003"/>
              <a:gd name="T1" fmla="*/ 1709 h 1709"/>
              <a:gd name="T2" fmla="*/ 1688 w 3003"/>
              <a:gd name="T3" fmla="*/ 45 h 1709"/>
              <a:gd name="T4" fmla="*/ 1695 w 3003"/>
              <a:gd name="T5" fmla="*/ 39 h 1709"/>
              <a:gd name="T6" fmla="*/ 1704 w 3003"/>
              <a:gd name="T7" fmla="*/ 32 h 1709"/>
              <a:gd name="T8" fmla="*/ 1711 w 3003"/>
              <a:gd name="T9" fmla="*/ 26 h 1709"/>
              <a:gd name="T10" fmla="*/ 1720 w 3003"/>
              <a:gd name="T11" fmla="*/ 20 h 1709"/>
              <a:gd name="T12" fmla="*/ 1729 w 3003"/>
              <a:gd name="T13" fmla="*/ 16 h 1709"/>
              <a:gd name="T14" fmla="*/ 1737 w 3003"/>
              <a:gd name="T15" fmla="*/ 12 h 1709"/>
              <a:gd name="T16" fmla="*/ 1746 w 3003"/>
              <a:gd name="T17" fmla="*/ 8 h 1709"/>
              <a:gd name="T18" fmla="*/ 1755 w 3003"/>
              <a:gd name="T19" fmla="*/ 6 h 1709"/>
              <a:gd name="T20" fmla="*/ 1764 w 3003"/>
              <a:gd name="T21" fmla="*/ 3 h 1709"/>
              <a:gd name="T22" fmla="*/ 1773 w 3003"/>
              <a:gd name="T23" fmla="*/ 2 h 1709"/>
              <a:gd name="T24" fmla="*/ 1783 w 3003"/>
              <a:gd name="T25" fmla="*/ 1 h 1709"/>
              <a:gd name="T26" fmla="*/ 1791 w 3003"/>
              <a:gd name="T27" fmla="*/ 0 h 1709"/>
              <a:gd name="T28" fmla="*/ 1811 w 3003"/>
              <a:gd name="T29" fmla="*/ 0 h 1709"/>
              <a:gd name="T30" fmla="*/ 1829 w 3003"/>
              <a:gd name="T31" fmla="*/ 3 h 1709"/>
              <a:gd name="T32" fmla="*/ 1847 w 3003"/>
              <a:gd name="T33" fmla="*/ 7 h 1709"/>
              <a:gd name="T34" fmla="*/ 1865 w 3003"/>
              <a:gd name="T35" fmla="*/ 14 h 1709"/>
              <a:gd name="T36" fmla="*/ 1882 w 3003"/>
              <a:gd name="T37" fmla="*/ 22 h 1709"/>
              <a:gd name="T38" fmla="*/ 1899 w 3003"/>
              <a:gd name="T39" fmla="*/ 32 h 1709"/>
              <a:gd name="T40" fmla="*/ 1914 w 3003"/>
              <a:gd name="T41" fmla="*/ 44 h 1709"/>
              <a:gd name="T42" fmla="*/ 1930 w 3003"/>
              <a:gd name="T43" fmla="*/ 58 h 1709"/>
              <a:gd name="T44" fmla="*/ 1944 w 3003"/>
              <a:gd name="T45" fmla="*/ 73 h 1709"/>
              <a:gd name="T46" fmla="*/ 1955 w 3003"/>
              <a:gd name="T47" fmla="*/ 90 h 1709"/>
              <a:gd name="T48" fmla="*/ 3003 w 3003"/>
              <a:gd name="T49" fmla="*/ 1709 h 1709"/>
              <a:gd name="T50" fmla="*/ 0 w 3003"/>
              <a:gd name="T51" fmla="*/ 1709 h 17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003" h="1709">
                <a:moveTo>
                  <a:pt x="0" y="1709"/>
                </a:moveTo>
                <a:lnTo>
                  <a:pt x="1688" y="45"/>
                </a:lnTo>
                <a:lnTo>
                  <a:pt x="1695" y="39"/>
                </a:lnTo>
                <a:lnTo>
                  <a:pt x="1704" y="32"/>
                </a:lnTo>
                <a:lnTo>
                  <a:pt x="1711" y="26"/>
                </a:lnTo>
                <a:lnTo>
                  <a:pt x="1720" y="20"/>
                </a:lnTo>
                <a:lnTo>
                  <a:pt x="1729" y="16"/>
                </a:lnTo>
                <a:lnTo>
                  <a:pt x="1737" y="12"/>
                </a:lnTo>
                <a:lnTo>
                  <a:pt x="1746" y="8"/>
                </a:lnTo>
                <a:lnTo>
                  <a:pt x="1755" y="6"/>
                </a:lnTo>
                <a:lnTo>
                  <a:pt x="1764" y="3"/>
                </a:lnTo>
                <a:lnTo>
                  <a:pt x="1773" y="2"/>
                </a:lnTo>
                <a:lnTo>
                  <a:pt x="1783" y="1"/>
                </a:lnTo>
                <a:lnTo>
                  <a:pt x="1791" y="0"/>
                </a:lnTo>
                <a:lnTo>
                  <a:pt x="1811" y="0"/>
                </a:lnTo>
                <a:lnTo>
                  <a:pt x="1829" y="3"/>
                </a:lnTo>
                <a:lnTo>
                  <a:pt x="1847" y="7"/>
                </a:lnTo>
                <a:lnTo>
                  <a:pt x="1865" y="14"/>
                </a:lnTo>
                <a:lnTo>
                  <a:pt x="1882" y="22"/>
                </a:lnTo>
                <a:lnTo>
                  <a:pt x="1899" y="32"/>
                </a:lnTo>
                <a:lnTo>
                  <a:pt x="1914" y="44"/>
                </a:lnTo>
                <a:lnTo>
                  <a:pt x="1930" y="58"/>
                </a:lnTo>
                <a:lnTo>
                  <a:pt x="1944" y="73"/>
                </a:lnTo>
                <a:lnTo>
                  <a:pt x="1955" y="90"/>
                </a:lnTo>
                <a:lnTo>
                  <a:pt x="3003" y="1709"/>
                </a:lnTo>
                <a:lnTo>
                  <a:pt x="0" y="1709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4" name="Freeform 13"/>
          <p:cNvSpPr>
            <a:spLocks/>
          </p:cNvSpPr>
          <p:nvPr userDrawn="1"/>
        </p:nvSpPr>
        <p:spPr bwMode="auto">
          <a:xfrm>
            <a:off x="4459475" y="3810008"/>
            <a:ext cx="3004477" cy="2447925"/>
          </a:xfrm>
          <a:custGeom>
            <a:avLst/>
            <a:gdLst>
              <a:gd name="T0" fmla="*/ 5156 w 5241"/>
              <a:gd name="T1" fmla="*/ 2193 h 4627"/>
              <a:gd name="T2" fmla="*/ 5173 w 5241"/>
              <a:gd name="T3" fmla="*/ 2204 h 4627"/>
              <a:gd name="T4" fmla="*/ 5190 w 5241"/>
              <a:gd name="T5" fmla="*/ 2216 h 4627"/>
              <a:gd name="T6" fmla="*/ 5203 w 5241"/>
              <a:gd name="T7" fmla="*/ 2230 h 4627"/>
              <a:gd name="T8" fmla="*/ 5214 w 5241"/>
              <a:gd name="T9" fmla="*/ 2244 h 4627"/>
              <a:gd name="T10" fmla="*/ 5224 w 5241"/>
              <a:gd name="T11" fmla="*/ 2260 h 4627"/>
              <a:gd name="T12" fmla="*/ 5232 w 5241"/>
              <a:gd name="T13" fmla="*/ 2278 h 4627"/>
              <a:gd name="T14" fmla="*/ 5240 w 5241"/>
              <a:gd name="T15" fmla="*/ 2314 h 4627"/>
              <a:gd name="T16" fmla="*/ 5241 w 5241"/>
              <a:gd name="T17" fmla="*/ 2352 h 4627"/>
              <a:gd name="T18" fmla="*/ 5234 w 5241"/>
              <a:gd name="T19" fmla="*/ 2390 h 4627"/>
              <a:gd name="T20" fmla="*/ 5219 w 5241"/>
              <a:gd name="T21" fmla="*/ 2427 h 4627"/>
              <a:gd name="T22" fmla="*/ 5196 w 5241"/>
              <a:gd name="T23" fmla="*/ 2461 h 4627"/>
              <a:gd name="T24" fmla="*/ 3600 w 5241"/>
              <a:gd name="T25" fmla="*/ 4431 h 4627"/>
              <a:gd name="T26" fmla="*/ 3563 w 5241"/>
              <a:gd name="T27" fmla="*/ 4471 h 4627"/>
              <a:gd name="T28" fmla="*/ 3524 w 5241"/>
              <a:gd name="T29" fmla="*/ 4506 h 4627"/>
              <a:gd name="T30" fmla="*/ 3485 w 5241"/>
              <a:gd name="T31" fmla="*/ 4537 h 4627"/>
              <a:gd name="T32" fmla="*/ 3445 w 5241"/>
              <a:gd name="T33" fmla="*/ 4562 h 4627"/>
              <a:gd name="T34" fmla="*/ 3405 w 5241"/>
              <a:gd name="T35" fmla="*/ 4584 h 4627"/>
              <a:gd name="T36" fmla="*/ 3364 w 5241"/>
              <a:gd name="T37" fmla="*/ 4601 h 4627"/>
              <a:gd name="T38" fmla="*/ 3323 w 5241"/>
              <a:gd name="T39" fmla="*/ 4614 h 4627"/>
              <a:gd name="T40" fmla="*/ 3281 w 5241"/>
              <a:gd name="T41" fmla="*/ 4623 h 4627"/>
              <a:gd name="T42" fmla="*/ 3240 w 5241"/>
              <a:gd name="T43" fmla="*/ 4627 h 4627"/>
              <a:gd name="T44" fmla="*/ 3198 w 5241"/>
              <a:gd name="T45" fmla="*/ 4627 h 4627"/>
              <a:gd name="T46" fmla="*/ 3157 w 5241"/>
              <a:gd name="T47" fmla="*/ 4624 h 4627"/>
              <a:gd name="T48" fmla="*/ 3115 w 5241"/>
              <a:gd name="T49" fmla="*/ 4616 h 4627"/>
              <a:gd name="T50" fmla="*/ 3073 w 5241"/>
              <a:gd name="T51" fmla="*/ 4606 h 4627"/>
              <a:gd name="T52" fmla="*/ 3032 w 5241"/>
              <a:gd name="T53" fmla="*/ 4592 h 4627"/>
              <a:gd name="T54" fmla="*/ 2991 w 5241"/>
              <a:gd name="T55" fmla="*/ 4574 h 4627"/>
              <a:gd name="T56" fmla="*/ 277 w 5241"/>
              <a:gd name="T57" fmla="*/ 3172 h 4627"/>
              <a:gd name="T58" fmla="*/ 237 w 5241"/>
              <a:gd name="T59" fmla="*/ 3150 h 4627"/>
              <a:gd name="T60" fmla="*/ 200 w 5241"/>
              <a:gd name="T61" fmla="*/ 3125 h 4627"/>
              <a:gd name="T62" fmla="*/ 166 w 5241"/>
              <a:gd name="T63" fmla="*/ 3099 h 4627"/>
              <a:gd name="T64" fmla="*/ 134 w 5241"/>
              <a:gd name="T65" fmla="*/ 3070 h 4627"/>
              <a:gd name="T66" fmla="*/ 106 w 5241"/>
              <a:gd name="T67" fmla="*/ 3039 h 4627"/>
              <a:gd name="T68" fmla="*/ 81 w 5241"/>
              <a:gd name="T69" fmla="*/ 3006 h 4627"/>
              <a:gd name="T70" fmla="*/ 58 w 5241"/>
              <a:gd name="T71" fmla="*/ 2971 h 4627"/>
              <a:gd name="T72" fmla="*/ 40 w 5241"/>
              <a:gd name="T73" fmla="*/ 2933 h 4627"/>
              <a:gd name="T74" fmla="*/ 24 w 5241"/>
              <a:gd name="T75" fmla="*/ 2893 h 4627"/>
              <a:gd name="T76" fmla="*/ 13 w 5241"/>
              <a:gd name="T77" fmla="*/ 2851 h 4627"/>
              <a:gd name="T78" fmla="*/ 4 w 5241"/>
              <a:gd name="T79" fmla="*/ 2807 h 4627"/>
              <a:gd name="T80" fmla="*/ 1 w 5241"/>
              <a:gd name="T81" fmla="*/ 2761 h 4627"/>
              <a:gd name="T82" fmla="*/ 1 w 5241"/>
              <a:gd name="T83" fmla="*/ 2713 h 4627"/>
              <a:gd name="T84" fmla="*/ 6 w 5241"/>
              <a:gd name="T85" fmla="*/ 2662 h 4627"/>
              <a:gd name="T86" fmla="*/ 14 w 5241"/>
              <a:gd name="T87" fmla="*/ 2609 h 4627"/>
              <a:gd name="T88" fmla="*/ 28 w 5241"/>
              <a:gd name="T89" fmla="*/ 2554 h 4627"/>
              <a:gd name="T90" fmla="*/ 711 w 5241"/>
              <a:gd name="T91" fmla="*/ 121 h 4627"/>
              <a:gd name="T92" fmla="*/ 729 w 5241"/>
              <a:gd name="T93" fmla="*/ 84 h 4627"/>
              <a:gd name="T94" fmla="*/ 753 w 5241"/>
              <a:gd name="T95" fmla="*/ 54 h 4627"/>
              <a:gd name="T96" fmla="*/ 782 w 5241"/>
              <a:gd name="T97" fmla="*/ 29 h 4627"/>
              <a:gd name="T98" fmla="*/ 816 w 5241"/>
              <a:gd name="T99" fmla="*/ 11 h 4627"/>
              <a:gd name="T100" fmla="*/ 843 w 5241"/>
              <a:gd name="T101" fmla="*/ 3 h 4627"/>
              <a:gd name="T102" fmla="*/ 861 w 5241"/>
              <a:gd name="T103" fmla="*/ 1 h 4627"/>
              <a:gd name="T104" fmla="*/ 879 w 5241"/>
              <a:gd name="T105" fmla="*/ 0 h 4627"/>
              <a:gd name="T106" fmla="*/ 899 w 5241"/>
              <a:gd name="T107" fmla="*/ 2 h 4627"/>
              <a:gd name="T108" fmla="*/ 917 w 5241"/>
              <a:gd name="T109" fmla="*/ 7 h 4627"/>
              <a:gd name="T110" fmla="*/ 937 w 5241"/>
              <a:gd name="T111" fmla="*/ 13 h 46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241" h="4627">
                <a:moveTo>
                  <a:pt x="946" y="19"/>
                </a:moveTo>
                <a:lnTo>
                  <a:pt x="5156" y="2193"/>
                </a:lnTo>
                <a:lnTo>
                  <a:pt x="5165" y="2199"/>
                </a:lnTo>
                <a:lnTo>
                  <a:pt x="5173" y="2204"/>
                </a:lnTo>
                <a:lnTo>
                  <a:pt x="5182" y="2210"/>
                </a:lnTo>
                <a:lnTo>
                  <a:pt x="5190" y="2216"/>
                </a:lnTo>
                <a:lnTo>
                  <a:pt x="5196" y="2223"/>
                </a:lnTo>
                <a:lnTo>
                  <a:pt x="5203" y="2230"/>
                </a:lnTo>
                <a:lnTo>
                  <a:pt x="5209" y="2237"/>
                </a:lnTo>
                <a:lnTo>
                  <a:pt x="5214" y="2244"/>
                </a:lnTo>
                <a:lnTo>
                  <a:pt x="5220" y="2253"/>
                </a:lnTo>
                <a:lnTo>
                  <a:pt x="5224" y="2260"/>
                </a:lnTo>
                <a:lnTo>
                  <a:pt x="5228" y="2269"/>
                </a:lnTo>
                <a:lnTo>
                  <a:pt x="5232" y="2278"/>
                </a:lnTo>
                <a:lnTo>
                  <a:pt x="5237" y="2296"/>
                </a:lnTo>
                <a:lnTo>
                  <a:pt x="5240" y="2314"/>
                </a:lnTo>
                <a:lnTo>
                  <a:pt x="5241" y="2333"/>
                </a:lnTo>
                <a:lnTo>
                  <a:pt x="5241" y="2352"/>
                </a:lnTo>
                <a:lnTo>
                  <a:pt x="5238" y="2370"/>
                </a:lnTo>
                <a:lnTo>
                  <a:pt x="5234" y="2390"/>
                </a:lnTo>
                <a:lnTo>
                  <a:pt x="5227" y="2408"/>
                </a:lnTo>
                <a:lnTo>
                  <a:pt x="5219" y="2427"/>
                </a:lnTo>
                <a:lnTo>
                  <a:pt x="5209" y="2445"/>
                </a:lnTo>
                <a:lnTo>
                  <a:pt x="5196" y="2461"/>
                </a:lnTo>
                <a:lnTo>
                  <a:pt x="3619" y="4409"/>
                </a:lnTo>
                <a:lnTo>
                  <a:pt x="3600" y="4431"/>
                </a:lnTo>
                <a:lnTo>
                  <a:pt x="3581" y="4451"/>
                </a:lnTo>
                <a:lnTo>
                  <a:pt x="3563" y="4471"/>
                </a:lnTo>
                <a:lnTo>
                  <a:pt x="3544" y="4489"/>
                </a:lnTo>
                <a:lnTo>
                  <a:pt x="3524" y="4506"/>
                </a:lnTo>
                <a:lnTo>
                  <a:pt x="3505" y="4523"/>
                </a:lnTo>
                <a:lnTo>
                  <a:pt x="3485" y="4537"/>
                </a:lnTo>
                <a:lnTo>
                  <a:pt x="3466" y="4551"/>
                </a:lnTo>
                <a:lnTo>
                  <a:pt x="3445" y="4562"/>
                </a:lnTo>
                <a:lnTo>
                  <a:pt x="3426" y="4574"/>
                </a:lnTo>
                <a:lnTo>
                  <a:pt x="3405" y="4584"/>
                </a:lnTo>
                <a:lnTo>
                  <a:pt x="3385" y="4594"/>
                </a:lnTo>
                <a:lnTo>
                  <a:pt x="3364" y="4601"/>
                </a:lnTo>
                <a:lnTo>
                  <a:pt x="3344" y="4608"/>
                </a:lnTo>
                <a:lnTo>
                  <a:pt x="3323" y="4614"/>
                </a:lnTo>
                <a:lnTo>
                  <a:pt x="3303" y="4619"/>
                </a:lnTo>
                <a:lnTo>
                  <a:pt x="3281" y="4623"/>
                </a:lnTo>
                <a:lnTo>
                  <a:pt x="3261" y="4625"/>
                </a:lnTo>
                <a:lnTo>
                  <a:pt x="3240" y="4627"/>
                </a:lnTo>
                <a:lnTo>
                  <a:pt x="3220" y="4627"/>
                </a:lnTo>
                <a:lnTo>
                  <a:pt x="3198" y="4627"/>
                </a:lnTo>
                <a:lnTo>
                  <a:pt x="3178" y="4626"/>
                </a:lnTo>
                <a:lnTo>
                  <a:pt x="3157" y="4624"/>
                </a:lnTo>
                <a:lnTo>
                  <a:pt x="3135" y="4621"/>
                </a:lnTo>
                <a:lnTo>
                  <a:pt x="3115" y="4616"/>
                </a:lnTo>
                <a:lnTo>
                  <a:pt x="3094" y="4612"/>
                </a:lnTo>
                <a:lnTo>
                  <a:pt x="3073" y="4606"/>
                </a:lnTo>
                <a:lnTo>
                  <a:pt x="3052" y="4599"/>
                </a:lnTo>
                <a:lnTo>
                  <a:pt x="3032" y="4592"/>
                </a:lnTo>
                <a:lnTo>
                  <a:pt x="3011" y="4583"/>
                </a:lnTo>
                <a:lnTo>
                  <a:pt x="2991" y="4574"/>
                </a:lnTo>
                <a:lnTo>
                  <a:pt x="2970" y="4564"/>
                </a:lnTo>
                <a:lnTo>
                  <a:pt x="277" y="3172"/>
                </a:lnTo>
                <a:lnTo>
                  <a:pt x="256" y="3161"/>
                </a:lnTo>
                <a:lnTo>
                  <a:pt x="237" y="3150"/>
                </a:lnTo>
                <a:lnTo>
                  <a:pt x="218" y="3138"/>
                </a:lnTo>
                <a:lnTo>
                  <a:pt x="200" y="3125"/>
                </a:lnTo>
                <a:lnTo>
                  <a:pt x="183" y="3112"/>
                </a:lnTo>
                <a:lnTo>
                  <a:pt x="166" y="3099"/>
                </a:lnTo>
                <a:lnTo>
                  <a:pt x="150" y="3085"/>
                </a:lnTo>
                <a:lnTo>
                  <a:pt x="134" y="3070"/>
                </a:lnTo>
                <a:lnTo>
                  <a:pt x="120" y="3055"/>
                </a:lnTo>
                <a:lnTo>
                  <a:pt x="106" y="3039"/>
                </a:lnTo>
                <a:lnTo>
                  <a:pt x="93" y="3023"/>
                </a:lnTo>
                <a:lnTo>
                  <a:pt x="81" y="3006"/>
                </a:lnTo>
                <a:lnTo>
                  <a:pt x="69" y="2989"/>
                </a:lnTo>
                <a:lnTo>
                  <a:pt x="58" y="2971"/>
                </a:lnTo>
                <a:lnTo>
                  <a:pt x="49" y="2952"/>
                </a:lnTo>
                <a:lnTo>
                  <a:pt x="40" y="2933"/>
                </a:lnTo>
                <a:lnTo>
                  <a:pt x="31" y="2914"/>
                </a:lnTo>
                <a:lnTo>
                  <a:pt x="24" y="2893"/>
                </a:lnTo>
                <a:lnTo>
                  <a:pt x="17" y="2873"/>
                </a:lnTo>
                <a:lnTo>
                  <a:pt x="13" y="2851"/>
                </a:lnTo>
                <a:lnTo>
                  <a:pt x="8" y="2829"/>
                </a:lnTo>
                <a:lnTo>
                  <a:pt x="4" y="2807"/>
                </a:lnTo>
                <a:lnTo>
                  <a:pt x="2" y="2784"/>
                </a:lnTo>
                <a:lnTo>
                  <a:pt x="1" y="2761"/>
                </a:lnTo>
                <a:lnTo>
                  <a:pt x="0" y="2737"/>
                </a:lnTo>
                <a:lnTo>
                  <a:pt x="1" y="2713"/>
                </a:lnTo>
                <a:lnTo>
                  <a:pt x="2" y="2687"/>
                </a:lnTo>
                <a:lnTo>
                  <a:pt x="6" y="2662"/>
                </a:lnTo>
                <a:lnTo>
                  <a:pt x="10" y="2635"/>
                </a:lnTo>
                <a:lnTo>
                  <a:pt x="14" y="2609"/>
                </a:lnTo>
                <a:lnTo>
                  <a:pt x="21" y="2582"/>
                </a:lnTo>
                <a:lnTo>
                  <a:pt x="28" y="2554"/>
                </a:lnTo>
                <a:lnTo>
                  <a:pt x="704" y="141"/>
                </a:lnTo>
                <a:lnTo>
                  <a:pt x="711" y="121"/>
                </a:lnTo>
                <a:lnTo>
                  <a:pt x="718" y="102"/>
                </a:lnTo>
                <a:lnTo>
                  <a:pt x="729" y="84"/>
                </a:lnTo>
                <a:lnTo>
                  <a:pt x="740" y="68"/>
                </a:lnTo>
                <a:lnTo>
                  <a:pt x="753" y="54"/>
                </a:lnTo>
                <a:lnTo>
                  <a:pt x="767" y="40"/>
                </a:lnTo>
                <a:lnTo>
                  <a:pt x="782" y="29"/>
                </a:lnTo>
                <a:lnTo>
                  <a:pt x="798" y="20"/>
                </a:lnTo>
                <a:lnTo>
                  <a:pt x="816" y="11"/>
                </a:lnTo>
                <a:lnTo>
                  <a:pt x="833" y="6"/>
                </a:lnTo>
                <a:lnTo>
                  <a:pt x="843" y="3"/>
                </a:lnTo>
                <a:lnTo>
                  <a:pt x="851" y="2"/>
                </a:lnTo>
                <a:lnTo>
                  <a:pt x="861" y="1"/>
                </a:lnTo>
                <a:lnTo>
                  <a:pt x="871" y="0"/>
                </a:lnTo>
                <a:lnTo>
                  <a:pt x="879" y="0"/>
                </a:lnTo>
                <a:lnTo>
                  <a:pt x="889" y="1"/>
                </a:lnTo>
                <a:lnTo>
                  <a:pt x="899" y="2"/>
                </a:lnTo>
                <a:lnTo>
                  <a:pt x="908" y="5"/>
                </a:lnTo>
                <a:lnTo>
                  <a:pt x="917" y="7"/>
                </a:lnTo>
                <a:lnTo>
                  <a:pt x="927" y="10"/>
                </a:lnTo>
                <a:lnTo>
                  <a:pt x="937" y="13"/>
                </a:lnTo>
                <a:lnTo>
                  <a:pt x="946" y="19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Freeform 5"/>
          <p:cNvSpPr>
            <a:spLocks/>
          </p:cNvSpPr>
          <p:nvPr userDrawn="1"/>
        </p:nvSpPr>
        <p:spPr bwMode="auto">
          <a:xfrm>
            <a:off x="6720953" y="1936754"/>
            <a:ext cx="2130822" cy="2646363"/>
          </a:xfrm>
          <a:custGeom>
            <a:avLst/>
            <a:gdLst>
              <a:gd name="T0" fmla="*/ 2936 w 3717"/>
              <a:gd name="T1" fmla="*/ 4866 h 5000"/>
              <a:gd name="T2" fmla="*/ 2932 w 3717"/>
              <a:gd name="T3" fmla="*/ 4886 h 5000"/>
              <a:gd name="T4" fmla="*/ 2924 w 3717"/>
              <a:gd name="T5" fmla="*/ 4905 h 5000"/>
              <a:gd name="T6" fmla="*/ 2915 w 3717"/>
              <a:gd name="T7" fmla="*/ 4922 h 5000"/>
              <a:gd name="T8" fmla="*/ 2905 w 3717"/>
              <a:gd name="T9" fmla="*/ 4938 h 5000"/>
              <a:gd name="T10" fmla="*/ 2893 w 3717"/>
              <a:gd name="T11" fmla="*/ 4952 h 5000"/>
              <a:gd name="T12" fmla="*/ 2879 w 3717"/>
              <a:gd name="T13" fmla="*/ 4964 h 5000"/>
              <a:gd name="T14" fmla="*/ 2847 w 3717"/>
              <a:gd name="T15" fmla="*/ 4983 h 5000"/>
              <a:gd name="T16" fmla="*/ 2811 w 3717"/>
              <a:gd name="T17" fmla="*/ 4996 h 5000"/>
              <a:gd name="T18" fmla="*/ 2773 w 3717"/>
              <a:gd name="T19" fmla="*/ 5000 h 5000"/>
              <a:gd name="T20" fmla="*/ 2733 w 3717"/>
              <a:gd name="T21" fmla="*/ 4998 h 5000"/>
              <a:gd name="T22" fmla="*/ 2693 w 3717"/>
              <a:gd name="T23" fmla="*/ 4987 h 5000"/>
              <a:gd name="T24" fmla="*/ 329 w 3717"/>
              <a:gd name="T25" fmla="*/ 4073 h 5000"/>
              <a:gd name="T26" fmla="*/ 279 w 3717"/>
              <a:gd name="T27" fmla="*/ 4049 h 5000"/>
              <a:gd name="T28" fmla="*/ 233 w 3717"/>
              <a:gd name="T29" fmla="*/ 4024 h 5000"/>
              <a:gd name="T30" fmla="*/ 192 w 3717"/>
              <a:gd name="T31" fmla="*/ 3996 h 5000"/>
              <a:gd name="T32" fmla="*/ 155 w 3717"/>
              <a:gd name="T33" fmla="*/ 3966 h 5000"/>
              <a:gd name="T34" fmla="*/ 122 w 3717"/>
              <a:gd name="T35" fmla="*/ 3934 h 5000"/>
              <a:gd name="T36" fmla="*/ 93 w 3717"/>
              <a:gd name="T37" fmla="*/ 3900 h 5000"/>
              <a:gd name="T38" fmla="*/ 70 w 3717"/>
              <a:gd name="T39" fmla="*/ 3865 h 5000"/>
              <a:gd name="T40" fmla="*/ 48 w 3717"/>
              <a:gd name="T41" fmla="*/ 3829 h 5000"/>
              <a:gd name="T42" fmla="*/ 32 w 3717"/>
              <a:gd name="T43" fmla="*/ 3790 h 5000"/>
              <a:gd name="T44" fmla="*/ 18 w 3717"/>
              <a:gd name="T45" fmla="*/ 3750 h 5000"/>
              <a:gd name="T46" fmla="*/ 8 w 3717"/>
              <a:gd name="T47" fmla="*/ 3710 h 5000"/>
              <a:gd name="T48" fmla="*/ 3 w 3717"/>
              <a:gd name="T49" fmla="*/ 3668 h 5000"/>
              <a:gd name="T50" fmla="*/ 0 w 3717"/>
              <a:gd name="T51" fmla="*/ 3625 h 5000"/>
              <a:gd name="T52" fmla="*/ 0 w 3717"/>
              <a:gd name="T53" fmla="*/ 3581 h 5000"/>
              <a:gd name="T54" fmla="*/ 5 w 3717"/>
              <a:gd name="T55" fmla="*/ 3537 h 5000"/>
              <a:gd name="T56" fmla="*/ 507 w 3717"/>
              <a:gd name="T57" fmla="*/ 523 h 5000"/>
              <a:gd name="T58" fmla="*/ 516 w 3717"/>
              <a:gd name="T59" fmla="*/ 479 h 5000"/>
              <a:gd name="T60" fmla="*/ 527 w 3717"/>
              <a:gd name="T61" fmla="*/ 437 h 5000"/>
              <a:gd name="T62" fmla="*/ 541 w 3717"/>
              <a:gd name="T63" fmla="*/ 396 h 5000"/>
              <a:gd name="T64" fmla="*/ 560 w 3717"/>
              <a:gd name="T65" fmla="*/ 357 h 5000"/>
              <a:gd name="T66" fmla="*/ 580 w 3717"/>
              <a:gd name="T67" fmla="*/ 320 h 5000"/>
              <a:gd name="T68" fmla="*/ 604 w 3717"/>
              <a:gd name="T69" fmla="*/ 286 h 5000"/>
              <a:gd name="T70" fmla="*/ 631 w 3717"/>
              <a:gd name="T71" fmla="*/ 254 h 5000"/>
              <a:gd name="T72" fmla="*/ 661 w 3717"/>
              <a:gd name="T73" fmla="*/ 224 h 5000"/>
              <a:gd name="T74" fmla="*/ 694 w 3717"/>
              <a:gd name="T75" fmla="*/ 198 h 5000"/>
              <a:gd name="T76" fmla="*/ 730 w 3717"/>
              <a:gd name="T77" fmla="*/ 173 h 5000"/>
              <a:gd name="T78" fmla="*/ 770 w 3717"/>
              <a:gd name="T79" fmla="*/ 153 h 5000"/>
              <a:gd name="T80" fmla="*/ 814 w 3717"/>
              <a:gd name="T81" fmla="*/ 135 h 5000"/>
              <a:gd name="T82" fmla="*/ 859 w 3717"/>
              <a:gd name="T83" fmla="*/ 121 h 5000"/>
              <a:gd name="T84" fmla="*/ 909 w 3717"/>
              <a:gd name="T85" fmla="*/ 109 h 5000"/>
              <a:gd name="T86" fmla="*/ 962 w 3717"/>
              <a:gd name="T87" fmla="*/ 101 h 5000"/>
              <a:gd name="T88" fmla="*/ 1019 w 3717"/>
              <a:gd name="T89" fmla="*/ 97 h 5000"/>
              <a:gd name="T90" fmla="*/ 3544 w 3717"/>
              <a:gd name="T91" fmla="*/ 0 h 5000"/>
              <a:gd name="T92" fmla="*/ 3584 w 3717"/>
              <a:gd name="T93" fmla="*/ 6 h 5000"/>
              <a:gd name="T94" fmla="*/ 3622 w 3717"/>
              <a:gd name="T95" fmla="*/ 20 h 5000"/>
              <a:gd name="T96" fmla="*/ 3654 w 3717"/>
              <a:gd name="T97" fmla="*/ 41 h 5000"/>
              <a:gd name="T98" fmla="*/ 3680 w 3717"/>
              <a:gd name="T99" fmla="*/ 67 h 5000"/>
              <a:gd name="T100" fmla="*/ 3696 w 3717"/>
              <a:gd name="T101" fmla="*/ 89 h 5000"/>
              <a:gd name="T102" fmla="*/ 3705 w 3717"/>
              <a:gd name="T103" fmla="*/ 106 h 5000"/>
              <a:gd name="T104" fmla="*/ 3710 w 3717"/>
              <a:gd name="T105" fmla="*/ 124 h 5000"/>
              <a:gd name="T106" fmla="*/ 3715 w 3717"/>
              <a:gd name="T107" fmla="*/ 142 h 5000"/>
              <a:gd name="T108" fmla="*/ 3717 w 3717"/>
              <a:gd name="T109" fmla="*/ 162 h 5000"/>
              <a:gd name="T110" fmla="*/ 3716 w 3717"/>
              <a:gd name="T111" fmla="*/ 182 h 5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717" h="5000">
                <a:moveTo>
                  <a:pt x="3715" y="192"/>
                </a:moveTo>
                <a:lnTo>
                  <a:pt x="2936" y="4866"/>
                </a:lnTo>
                <a:lnTo>
                  <a:pt x="2934" y="4876"/>
                </a:lnTo>
                <a:lnTo>
                  <a:pt x="2932" y="4886"/>
                </a:lnTo>
                <a:lnTo>
                  <a:pt x="2928" y="4895"/>
                </a:lnTo>
                <a:lnTo>
                  <a:pt x="2924" y="4905"/>
                </a:lnTo>
                <a:lnTo>
                  <a:pt x="2921" y="4914"/>
                </a:lnTo>
                <a:lnTo>
                  <a:pt x="2915" y="4922"/>
                </a:lnTo>
                <a:lnTo>
                  <a:pt x="2911" y="4930"/>
                </a:lnTo>
                <a:lnTo>
                  <a:pt x="2905" y="4938"/>
                </a:lnTo>
                <a:lnTo>
                  <a:pt x="2899" y="4945"/>
                </a:lnTo>
                <a:lnTo>
                  <a:pt x="2893" y="4952"/>
                </a:lnTo>
                <a:lnTo>
                  <a:pt x="2886" y="4958"/>
                </a:lnTo>
                <a:lnTo>
                  <a:pt x="2879" y="4964"/>
                </a:lnTo>
                <a:lnTo>
                  <a:pt x="2863" y="4974"/>
                </a:lnTo>
                <a:lnTo>
                  <a:pt x="2847" y="4983"/>
                </a:lnTo>
                <a:lnTo>
                  <a:pt x="2829" y="4991"/>
                </a:lnTo>
                <a:lnTo>
                  <a:pt x="2811" y="4996"/>
                </a:lnTo>
                <a:lnTo>
                  <a:pt x="2792" y="4999"/>
                </a:lnTo>
                <a:lnTo>
                  <a:pt x="2773" y="5000"/>
                </a:lnTo>
                <a:lnTo>
                  <a:pt x="2752" y="5000"/>
                </a:lnTo>
                <a:lnTo>
                  <a:pt x="2733" y="4998"/>
                </a:lnTo>
                <a:lnTo>
                  <a:pt x="2713" y="4994"/>
                </a:lnTo>
                <a:lnTo>
                  <a:pt x="2693" y="4987"/>
                </a:lnTo>
                <a:lnTo>
                  <a:pt x="355" y="4083"/>
                </a:lnTo>
                <a:lnTo>
                  <a:pt x="329" y="4073"/>
                </a:lnTo>
                <a:lnTo>
                  <a:pt x="303" y="4061"/>
                </a:lnTo>
                <a:lnTo>
                  <a:pt x="279" y="4049"/>
                </a:lnTo>
                <a:lnTo>
                  <a:pt x="255" y="4037"/>
                </a:lnTo>
                <a:lnTo>
                  <a:pt x="233" y="4024"/>
                </a:lnTo>
                <a:lnTo>
                  <a:pt x="212" y="4010"/>
                </a:lnTo>
                <a:lnTo>
                  <a:pt x="192" y="3996"/>
                </a:lnTo>
                <a:lnTo>
                  <a:pt x="173" y="3981"/>
                </a:lnTo>
                <a:lnTo>
                  <a:pt x="155" y="3966"/>
                </a:lnTo>
                <a:lnTo>
                  <a:pt x="139" y="3951"/>
                </a:lnTo>
                <a:lnTo>
                  <a:pt x="122" y="3934"/>
                </a:lnTo>
                <a:lnTo>
                  <a:pt x="107" y="3917"/>
                </a:lnTo>
                <a:lnTo>
                  <a:pt x="93" y="3900"/>
                </a:lnTo>
                <a:lnTo>
                  <a:pt x="81" y="3883"/>
                </a:lnTo>
                <a:lnTo>
                  <a:pt x="70" y="3865"/>
                </a:lnTo>
                <a:lnTo>
                  <a:pt x="58" y="3847"/>
                </a:lnTo>
                <a:lnTo>
                  <a:pt x="48" y="3829"/>
                </a:lnTo>
                <a:lnTo>
                  <a:pt x="39" y="3809"/>
                </a:lnTo>
                <a:lnTo>
                  <a:pt x="32" y="3790"/>
                </a:lnTo>
                <a:lnTo>
                  <a:pt x="24" y="3770"/>
                </a:lnTo>
                <a:lnTo>
                  <a:pt x="18" y="3750"/>
                </a:lnTo>
                <a:lnTo>
                  <a:pt x="12" y="3730"/>
                </a:lnTo>
                <a:lnTo>
                  <a:pt x="8" y="3710"/>
                </a:lnTo>
                <a:lnTo>
                  <a:pt x="5" y="3688"/>
                </a:lnTo>
                <a:lnTo>
                  <a:pt x="3" y="3668"/>
                </a:lnTo>
                <a:lnTo>
                  <a:pt x="0" y="3646"/>
                </a:lnTo>
                <a:lnTo>
                  <a:pt x="0" y="3625"/>
                </a:lnTo>
                <a:lnTo>
                  <a:pt x="0" y="3603"/>
                </a:lnTo>
                <a:lnTo>
                  <a:pt x="0" y="3581"/>
                </a:lnTo>
                <a:lnTo>
                  <a:pt x="3" y="3559"/>
                </a:lnTo>
                <a:lnTo>
                  <a:pt x="5" y="3537"/>
                </a:lnTo>
                <a:lnTo>
                  <a:pt x="8" y="3514"/>
                </a:lnTo>
                <a:lnTo>
                  <a:pt x="507" y="523"/>
                </a:lnTo>
                <a:lnTo>
                  <a:pt x="510" y="501"/>
                </a:lnTo>
                <a:lnTo>
                  <a:pt x="516" y="479"/>
                </a:lnTo>
                <a:lnTo>
                  <a:pt x="521" y="457"/>
                </a:lnTo>
                <a:lnTo>
                  <a:pt x="527" y="437"/>
                </a:lnTo>
                <a:lnTo>
                  <a:pt x="534" y="416"/>
                </a:lnTo>
                <a:lnTo>
                  <a:pt x="541" y="396"/>
                </a:lnTo>
                <a:lnTo>
                  <a:pt x="550" y="376"/>
                </a:lnTo>
                <a:lnTo>
                  <a:pt x="560" y="357"/>
                </a:lnTo>
                <a:lnTo>
                  <a:pt x="570" y="339"/>
                </a:lnTo>
                <a:lnTo>
                  <a:pt x="580" y="320"/>
                </a:lnTo>
                <a:lnTo>
                  <a:pt x="592" y="303"/>
                </a:lnTo>
                <a:lnTo>
                  <a:pt x="604" y="286"/>
                </a:lnTo>
                <a:lnTo>
                  <a:pt x="617" y="270"/>
                </a:lnTo>
                <a:lnTo>
                  <a:pt x="631" y="254"/>
                </a:lnTo>
                <a:lnTo>
                  <a:pt x="646" y="239"/>
                </a:lnTo>
                <a:lnTo>
                  <a:pt x="661" y="224"/>
                </a:lnTo>
                <a:lnTo>
                  <a:pt x="678" y="211"/>
                </a:lnTo>
                <a:lnTo>
                  <a:pt x="694" y="198"/>
                </a:lnTo>
                <a:lnTo>
                  <a:pt x="712" y="185"/>
                </a:lnTo>
                <a:lnTo>
                  <a:pt x="730" y="173"/>
                </a:lnTo>
                <a:lnTo>
                  <a:pt x="750" y="163"/>
                </a:lnTo>
                <a:lnTo>
                  <a:pt x="770" y="153"/>
                </a:lnTo>
                <a:lnTo>
                  <a:pt x="791" y="143"/>
                </a:lnTo>
                <a:lnTo>
                  <a:pt x="814" y="135"/>
                </a:lnTo>
                <a:lnTo>
                  <a:pt x="836" y="127"/>
                </a:lnTo>
                <a:lnTo>
                  <a:pt x="859" y="121"/>
                </a:lnTo>
                <a:lnTo>
                  <a:pt x="884" y="114"/>
                </a:lnTo>
                <a:lnTo>
                  <a:pt x="909" y="109"/>
                </a:lnTo>
                <a:lnTo>
                  <a:pt x="936" y="104"/>
                </a:lnTo>
                <a:lnTo>
                  <a:pt x="962" y="101"/>
                </a:lnTo>
                <a:lnTo>
                  <a:pt x="990" y="99"/>
                </a:lnTo>
                <a:lnTo>
                  <a:pt x="1019" y="97"/>
                </a:lnTo>
                <a:lnTo>
                  <a:pt x="3523" y="0"/>
                </a:lnTo>
                <a:lnTo>
                  <a:pt x="3544" y="0"/>
                </a:lnTo>
                <a:lnTo>
                  <a:pt x="3564" y="2"/>
                </a:lnTo>
                <a:lnTo>
                  <a:pt x="3584" y="6"/>
                </a:lnTo>
                <a:lnTo>
                  <a:pt x="3603" y="13"/>
                </a:lnTo>
                <a:lnTo>
                  <a:pt x="3622" y="20"/>
                </a:lnTo>
                <a:lnTo>
                  <a:pt x="3638" y="30"/>
                </a:lnTo>
                <a:lnTo>
                  <a:pt x="3654" y="41"/>
                </a:lnTo>
                <a:lnTo>
                  <a:pt x="3668" y="53"/>
                </a:lnTo>
                <a:lnTo>
                  <a:pt x="3680" y="67"/>
                </a:lnTo>
                <a:lnTo>
                  <a:pt x="3692" y="82"/>
                </a:lnTo>
                <a:lnTo>
                  <a:pt x="3696" y="89"/>
                </a:lnTo>
                <a:lnTo>
                  <a:pt x="3700" y="98"/>
                </a:lnTo>
                <a:lnTo>
                  <a:pt x="3705" y="106"/>
                </a:lnTo>
                <a:lnTo>
                  <a:pt x="3708" y="115"/>
                </a:lnTo>
                <a:lnTo>
                  <a:pt x="3710" y="124"/>
                </a:lnTo>
                <a:lnTo>
                  <a:pt x="3713" y="132"/>
                </a:lnTo>
                <a:lnTo>
                  <a:pt x="3715" y="142"/>
                </a:lnTo>
                <a:lnTo>
                  <a:pt x="3716" y="152"/>
                </a:lnTo>
                <a:lnTo>
                  <a:pt x="3717" y="162"/>
                </a:lnTo>
                <a:lnTo>
                  <a:pt x="3717" y="171"/>
                </a:lnTo>
                <a:lnTo>
                  <a:pt x="3716" y="182"/>
                </a:lnTo>
                <a:lnTo>
                  <a:pt x="3715" y="192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Freeform 7"/>
          <p:cNvSpPr>
            <a:spLocks/>
          </p:cNvSpPr>
          <p:nvPr userDrawn="1"/>
        </p:nvSpPr>
        <p:spPr bwMode="auto">
          <a:xfrm>
            <a:off x="9070272" y="3473450"/>
            <a:ext cx="835819" cy="1765300"/>
          </a:xfrm>
          <a:custGeom>
            <a:avLst/>
            <a:gdLst>
              <a:gd name="T0" fmla="*/ 1458 w 1458"/>
              <a:gd name="T1" fmla="*/ 3144 h 3336"/>
              <a:gd name="T2" fmla="*/ 190 w 1458"/>
              <a:gd name="T3" fmla="*/ 3335 h 3336"/>
              <a:gd name="T4" fmla="*/ 180 w 1458"/>
              <a:gd name="T5" fmla="*/ 3336 h 3336"/>
              <a:gd name="T6" fmla="*/ 170 w 1458"/>
              <a:gd name="T7" fmla="*/ 3336 h 3336"/>
              <a:gd name="T8" fmla="*/ 160 w 1458"/>
              <a:gd name="T9" fmla="*/ 3336 h 3336"/>
              <a:gd name="T10" fmla="*/ 150 w 1458"/>
              <a:gd name="T11" fmla="*/ 3336 h 3336"/>
              <a:gd name="T12" fmla="*/ 140 w 1458"/>
              <a:gd name="T13" fmla="*/ 3334 h 3336"/>
              <a:gd name="T14" fmla="*/ 131 w 1458"/>
              <a:gd name="T15" fmla="*/ 3333 h 3336"/>
              <a:gd name="T16" fmla="*/ 122 w 1458"/>
              <a:gd name="T17" fmla="*/ 3329 h 3336"/>
              <a:gd name="T18" fmla="*/ 112 w 1458"/>
              <a:gd name="T19" fmla="*/ 3327 h 3336"/>
              <a:gd name="T20" fmla="*/ 104 w 1458"/>
              <a:gd name="T21" fmla="*/ 3323 h 3336"/>
              <a:gd name="T22" fmla="*/ 96 w 1458"/>
              <a:gd name="T23" fmla="*/ 3320 h 3336"/>
              <a:gd name="T24" fmla="*/ 87 w 1458"/>
              <a:gd name="T25" fmla="*/ 3315 h 3336"/>
              <a:gd name="T26" fmla="*/ 80 w 1458"/>
              <a:gd name="T27" fmla="*/ 3310 h 3336"/>
              <a:gd name="T28" fmla="*/ 65 w 1458"/>
              <a:gd name="T29" fmla="*/ 3299 h 3336"/>
              <a:gd name="T30" fmla="*/ 52 w 1458"/>
              <a:gd name="T31" fmla="*/ 3286 h 3336"/>
              <a:gd name="T32" fmla="*/ 39 w 1458"/>
              <a:gd name="T33" fmla="*/ 3271 h 3336"/>
              <a:gd name="T34" fmla="*/ 28 w 1458"/>
              <a:gd name="T35" fmla="*/ 3256 h 3336"/>
              <a:gd name="T36" fmla="*/ 19 w 1458"/>
              <a:gd name="T37" fmla="*/ 3239 h 3336"/>
              <a:gd name="T38" fmla="*/ 12 w 1458"/>
              <a:gd name="T39" fmla="*/ 3220 h 3336"/>
              <a:gd name="T40" fmla="*/ 6 w 1458"/>
              <a:gd name="T41" fmla="*/ 3202 h 3336"/>
              <a:gd name="T42" fmla="*/ 2 w 1458"/>
              <a:gd name="T43" fmla="*/ 3181 h 3336"/>
              <a:gd name="T44" fmla="*/ 0 w 1458"/>
              <a:gd name="T45" fmla="*/ 3162 h 3336"/>
              <a:gd name="T46" fmla="*/ 0 w 1458"/>
              <a:gd name="T47" fmla="*/ 3140 h 3336"/>
              <a:gd name="T48" fmla="*/ 138 w 1458"/>
              <a:gd name="T49" fmla="*/ 638 h 3336"/>
              <a:gd name="T50" fmla="*/ 139 w 1458"/>
              <a:gd name="T51" fmla="*/ 609 h 3336"/>
              <a:gd name="T52" fmla="*/ 143 w 1458"/>
              <a:gd name="T53" fmla="*/ 582 h 3336"/>
              <a:gd name="T54" fmla="*/ 147 w 1458"/>
              <a:gd name="T55" fmla="*/ 555 h 3336"/>
              <a:gd name="T56" fmla="*/ 151 w 1458"/>
              <a:gd name="T57" fmla="*/ 529 h 3336"/>
              <a:gd name="T58" fmla="*/ 157 w 1458"/>
              <a:gd name="T59" fmla="*/ 504 h 3336"/>
              <a:gd name="T60" fmla="*/ 163 w 1458"/>
              <a:gd name="T61" fmla="*/ 480 h 3336"/>
              <a:gd name="T62" fmla="*/ 171 w 1458"/>
              <a:gd name="T63" fmla="*/ 456 h 3336"/>
              <a:gd name="T64" fmla="*/ 179 w 1458"/>
              <a:gd name="T65" fmla="*/ 433 h 3336"/>
              <a:gd name="T66" fmla="*/ 188 w 1458"/>
              <a:gd name="T67" fmla="*/ 412 h 3336"/>
              <a:gd name="T68" fmla="*/ 198 w 1458"/>
              <a:gd name="T69" fmla="*/ 391 h 3336"/>
              <a:gd name="T70" fmla="*/ 208 w 1458"/>
              <a:gd name="T71" fmla="*/ 371 h 3336"/>
              <a:gd name="T72" fmla="*/ 219 w 1458"/>
              <a:gd name="T73" fmla="*/ 351 h 3336"/>
              <a:gd name="T74" fmla="*/ 231 w 1458"/>
              <a:gd name="T75" fmla="*/ 333 h 3336"/>
              <a:gd name="T76" fmla="*/ 244 w 1458"/>
              <a:gd name="T77" fmla="*/ 316 h 3336"/>
              <a:gd name="T78" fmla="*/ 257 w 1458"/>
              <a:gd name="T79" fmla="*/ 299 h 3336"/>
              <a:gd name="T80" fmla="*/ 271 w 1458"/>
              <a:gd name="T81" fmla="*/ 283 h 3336"/>
              <a:gd name="T82" fmla="*/ 286 w 1458"/>
              <a:gd name="T83" fmla="*/ 268 h 3336"/>
              <a:gd name="T84" fmla="*/ 301 w 1458"/>
              <a:gd name="T85" fmla="*/ 253 h 3336"/>
              <a:gd name="T86" fmla="*/ 318 w 1458"/>
              <a:gd name="T87" fmla="*/ 240 h 3336"/>
              <a:gd name="T88" fmla="*/ 334 w 1458"/>
              <a:gd name="T89" fmla="*/ 227 h 3336"/>
              <a:gd name="T90" fmla="*/ 351 w 1458"/>
              <a:gd name="T91" fmla="*/ 215 h 3336"/>
              <a:gd name="T92" fmla="*/ 368 w 1458"/>
              <a:gd name="T93" fmla="*/ 203 h 3336"/>
              <a:gd name="T94" fmla="*/ 387 w 1458"/>
              <a:gd name="T95" fmla="*/ 194 h 3336"/>
              <a:gd name="T96" fmla="*/ 405 w 1458"/>
              <a:gd name="T97" fmla="*/ 184 h 3336"/>
              <a:gd name="T98" fmla="*/ 424 w 1458"/>
              <a:gd name="T99" fmla="*/ 174 h 3336"/>
              <a:gd name="T100" fmla="*/ 444 w 1458"/>
              <a:gd name="T101" fmla="*/ 167 h 3336"/>
              <a:gd name="T102" fmla="*/ 464 w 1458"/>
              <a:gd name="T103" fmla="*/ 159 h 3336"/>
              <a:gd name="T104" fmla="*/ 485 w 1458"/>
              <a:gd name="T105" fmla="*/ 153 h 3336"/>
              <a:gd name="T106" fmla="*/ 507 w 1458"/>
              <a:gd name="T107" fmla="*/ 146 h 3336"/>
              <a:gd name="T108" fmla="*/ 528 w 1458"/>
              <a:gd name="T109" fmla="*/ 141 h 3336"/>
              <a:gd name="T110" fmla="*/ 550 w 1458"/>
              <a:gd name="T111" fmla="*/ 136 h 3336"/>
              <a:gd name="T112" fmla="*/ 572 w 1458"/>
              <a:gd name="T113" fmla="*/ 133 h 3336"/>
              <a:gd name="T114" fmla="*/ 1458 w 1458"/>
              <a:gd name="T115" fmla="*/ 0 h 3336"/>
              <a:gd name="T116" fmla="*/ 1458 w 1458"/>
              <a:gd name="T117" fmla="*/ 3144 h 33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458" h="3336">
                <a:moveTo>
                  <a:pt x="1458" y="3144"/>
                </a:moveTo>
                <a:lnTo>
                  <a:pt x="190" y="3335"/>
                </a:lnTo>
                <a:lnTo>
                  <a:pt x="180" y="3336"/>
                </a:lnTo>
                <a:lnTo>
                  <a:pt x="170" y="3336"/>
                </a:lnTo>
                <a:lnTo>
                  <a:pt x="160" y="3336"/>
                </a:lnTo>
                <a:lnTo>
                  <a:pt x="150" y="3336"/>
                </a:lnTo>
                <a:lnTo>
                  <a:pt x="140" y="3334"/>
                </a:lnTo>
                <a:lnTo>
                  <a:pt x="131" y="3333"/>
                </a:lnTo>
                <a:lnTo>
                  <a:pt x="122" y="3329"/>
                </a:lnTo>
                <a:lnTo>
                  <a:pt x="112" y="3327"/>
                </a:lnTo>
                <a:lnTo>
                  <a:pt x="104" y="3323"/>
                </a:lnTo>
                <a:lnTo>
                  <a:pt x="96" y="3320"/>
                </a:lnTo>
                <a:lnTo>
                  <a:pt x="87" y="3315"/>
                </a:lnTo>
                <a:lnTo>
                  <a:pt x="80" y="3310"/>
                </a:lnTo>
                <a:lnTo>
                  <a:pt x="65" y="3299"/>
                </a:lnTo>
                <a:lnTo>
                  <a:pt x="52" y="3286"/>
                </a:lnTo>
                <a:lnTo>
                  <a:pt x="39" y="3271"/>
                </a:lnTo>
                <a:lnTo>
                  <a:pt x="28" y="3256"/>
                </a:lnTo>
                <a:lnTo>
                  <a:pt x="19" y="3239"/>
                </a:lnTo>
                <a:lnTo>
                  <a:pt x="12" y="3220"/>
                </a:lnTo>
                <a:lnTo>
                  <a:pt x="6" y="3202"/>
                </a:lnTo>
                <a:lnTo>
                  <a:pt x="2" y="3181"/>
                </a:lnTo>
                <a:lnTo>
                  <a:pt x="0" y="3162"/>
                </a:lnTo>
                <a:lnTo>
                  <a:pt x="0" y="3140"/>
                </a:lnTo>
                <a:lnTo>
                  <a:pt x="138" y="638"/>
                </a:lnTo>
                <a:lnTo>
                  <a:pt x="139" y="609"/>
                </a:lnTo>
                <a:lnTo>
                  <a:pt x="143" y="582"/>
                </a:lnTo>
                <a:lnTo>
                  <a:pt x="147" y="555"/>
                </a:lnTo>
                <a:lnTo>
                  <a:pt x="151" y="529"/>
                </a:lnTo>
                <a:lnTo>
                  <a:pt x="157" y="504"/>
                </a:lnTo>
                <a:lnTo>
                  <a:pt x="163" y="480"/>
                </a:lnTo>
                <a:lnTo>
                  <a:pt x="171" y="456"/>
                </a:lnTo>
                <a:lnTo>
                  <a:pt x="179" y="433"/>
                </a:lnTo>
                <a:lnTo>
                  <a:pt x="188" y="412"/>
                </a:lnTo>
                <a:lnTo>
                  <a:pt x="198" y="391"/>
                </a:lnTo>
                <a:lnTo>
                  <a:pt x="208" y="371"/>
                </a:lnTo>
                <a:lnTo>
                  <a:pt x="219" y="351"/>
                </a:lnTo>
                <a:lnTo>
                  <a:pt x="231" y="333"/>
                </a:lnTo>
                <a:lnTo>
                  <a:pt x="244" y="316"/>
                </a:lnTo>
                <a:lnTo>
                  <a:pt x="257" y="299"/>
                </a:lnTo>
                <a:lnTo>
                  <a:pt x="271" y="283"/>
                </a:lnTo>
                <a:lnTo>
                  <a:pt x="286" y="268"/>
                </a:lnTo>
                <a:lnTo>
                  <a:pt x="301" y="253"/>
                </a:lnTo>
                <a:lnTo>
                  <a:pt x="318" y="240"/>
                </a:lnTo>
                <a:lnTo>
                  <a:pt x="334" y="227"/>
                </a:lnTo>
                <a:lnTo>
                  <a:pt x="351" y="215"/>
                </a:lnTo>
                <a:lnTo>
                  <a:pt x="368" y="203"/>
                </a:lnTo>
                <a:lnTo>
                  <a:pt x="387" y="194"/>
                </a:lnTo>
                <a:lnTo>
                  <a:pt x="405" y="184"/>
                </a:lnTo>
                <a:lnTo>
                  <a:pt x="424" y="174"/>
                </a:lnTo>
                <a:lnTo>
                  <a:pt x="444" y="167"/>
                </a:lnTo>
                <a:lnTo>
                  <a:pt x="464" y="159"/>
                </a:lnTo>
                <a:lnTo>
                  <a:pt x="485" y="153"/>
                </a:lnTo>
                <a:lnTo>
                  <a:pt x="507" y="146"/>
                </a:lnTo>
                <a:lnTo>
                  <a:pt x="528" y="141"/>
                </a:lnTo>
                <a:lnTo>
                  <a:pt x="550" y="136"/>
                </a:lnTo>
                <a:lnTo>
                  <a:pt x="572" y="133"/>
                </a:lnTo>
                <a:lnTo>
                  <a:pt x="1458" y="0"/>
                </a:lnTo>
                <a:lnTo>
                  <a:pt x="1458" y="3144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1" name="AutoShape 21"/>
          <p:cNvSpPr>
            <a:spLocks noChangeAspect="1" noChangeArrowheads="1" noTextEdit="1"/>
          </p:cNvSpPr>
          <p:nvPr userDrawn="1"/>
        </p:nvSpPr>
        <p:spPr bwMode="auto">
          <a:xfrm>
            <a:off x="540015" y="490538"/>
            <a:ext cx="2247768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25" name="Группа 24"/>
          <p:cNvGrpSpPr/>
          <p:nvPr userDrawn="1"/>
        </p:nvGrpSpPr>
        <p:grpSpPr>
          <a:xfrm>
            <a:off x="531416" y="487363"/>
            <a:ext cx="2332038" cy="455612"/>
            <a:chOff x="490538" y="487363"/>
            <a:chExt cx="2152650" cy="455612"/>
          </a:xfrm>
        </p:grpSpPr>
        <p:sp>
          <p:nvSpPr>
            <p:cNvPr id="26" name="Freeform 5"/>
            <p:cNvSpPr>
              <a:spLocks noEditPoints="1"/>
            </p:cNvSpPr>
            <p:nvPr userDrawn="1"/>
          </p:nvSpPr>
          <p:spPr bwMode="auto">
            <a:xfrm>
              <a:off x="1144588" y="590550"/>
              <a:ext cx="1498600" cy="247650"/>
            </a:xfrm>
            <a:custGeom>
              <a:avLst/>
              <a:gdLst>
                <a:gd name="T0" fmla="*/ 2465 w 11327"/>
                <a:gd name="T1" fmla="*/ 803 h 1868"/>
                <a:gd name="T2" fmla="*/ 2667 w 11327"/>
                <a:gd name="T3" fmla="*/ 466 h 1868"/>
                <a:gd name="T4" fmla="*/ 3049 w 11327"/>
                <a:gd name="T5" fmla="*/ 345 h 1868"/>
                <a:gd name="T6" fmla="*/ 3430 w 11327"/>
                <a:gd name="T7" fmla="*/ 466 h 1868"/>
                <a:gd name="T8" fmla="*/ 3632 w 11327"/>
                <a:gd name="T9" fmla="*/ 803 h 1868"/>
                <a:gd name="T10" fmla="*/ 3574 w 11327"/>
                <a:gd name="T11" fmla="*/ 1233 h 1868"/>
                <a:gd name="T12" fmla="*/ 3284 w 11327"/>
                <a:gd name="T13" fmla="*/ 1483 h 1868"/>
                <a:gd name="T14" fmla="*/ 2870 w 11327"/>
                <a:gd name="T15" fmla="*/ 1500 h 1868"/>
                <a:gd name="T16" fmla="*/ 2553 w 11327"/>
                <a:gd name="T17" fmla="*/ 1281 h 1868"/>
                <a:gd name="T18" fmla="*/ 4046 w 11327"/>
                <a:gd name="T19" fmla="*/ 882 h 1868"/>
                <a:gd name="T20" fmla="*/ 3784 w 11327"/>
                <a:gd name="T21" fmla="*/ 289 h 1868"/>
                <a:gd name="T22" fmla="*/ 3199 w 11327"/>
                <a:gd name="T23" fmla="*/ 10 h 1868"/>
                <a:gd name="T24" fmla="*/ 2536 w 11327"/>
                <a:gd name="T25" fmla="*/ 125 h 1868"/>
                <a:gd name="T26" fmla="*/ 2113 w 11327"/>
                <a:gd name="T27" fmla="*/ 595 h 1868"/>
                <a:gd name="T28" fmla="*/ 2113 w 11327"/>
                <a:gd name="T29" fmla="*/ 1273 h 1868"/>
                <a:gd name="T30" fmla="*/ 2536 w 11327"/>
                <a:gd name="T31" fmla="*/ 1743 h 1868"/>
                <a:gd name="T32" fmla="*/ 3199 w 11327"/>
                <a:gd name="T33" fmla="*/ 1858 h 1868"/>
                <a:gd name="T34" fmla="*/ 3784 w 11327"/>
                <a:gd name="T35" fmla="*/ 1579 h 1868"/>
                <a:gd name="T36" fmla="*/ 4046 w 11327"/>
                <a:gd name="T37" fmla="*/ 985 h 1868"/>
                <a:gd name="T38" fmla="*/ 4444 w 11327"/>
                <a:gd name="T39" fmla="*/ 1443 h 1868"/>
                <a:gd name="T40" fmla="*/ 4540 w 11327"/>
                <a:gd name="T41" fmla="*/ 1808 h 1868"/>
                <a:gd name="T42" fmla="*/ 4811 w 11327"/>
                <a:gd name="T43" fmla="*/ 1650 h 1868"/>
                <a:gd name="T44" fmla="*/ 5796 w 11327"/>
                <a:gd name="T45" fmla="*/ 403 h 1868"/>
                <a:gd name="T46" fmla="*/ 7304 w 11327"/>
                <a:gd name="T47" fmla="*/ 1292 h 1868"/>
                <a:gd name="T48" fmla="*/ 7673 w 11327"/>
                <a:gd name="T49" fmla="*/ 1730 h 1868"/>
                <a:gd name="T50" fmla="*/ 8267 w 11327"/>
                <a:gd name="T51" fmla="*/ 1867 h 1868"/>
                <a:gd name="T52" fmla="*/ 8871 w 11327"/>
                <a:gd name="T53" fmla="*/ 1653 h 1868"/>
                <a:gd name="T54" fmla="*/ 9178 w 11327"/>
                <a:gd name="T55" fmla="*/ 1094 h 1868"/>
                <a:gd name="T56" fmla="*/ 9049 w 11327"/>
                <a:gd name="T57" fmla="*/ 414 h 1868"/>
                <a:gd name="T58" fmla="*/ 8552 w 11327"/>
                <a:gd name="T59" fmla="*/ 48 h 1868"/>
                <a:gd name="T60" fmla="*/ 7924 w 11327"/>
                <a:gd name="T61" fmla="*/ 36 h 1868"/>
                <a:gd name="T62" fmla="*/ 7459 w 11327"/>
                <a:gd name="T63" fmla="*/ 313 h 1868"/>
                <a:gd name="T64" fmla="*/ 6585 w 11327"/>
                <a:gd name="T65" fmla="*/ 42 h 1868"/>
                <a:gd name="T66" fmla="*/ 7740 w 11327"/>
                <a:gd name="T67" fmla="*/ 563 h 1868"/>
                <a:gd name="T68" fmla="*/ 8053 w 11327"/>
                <a:gd name="T69" fmla="*/ 361 h 1868"/>
                <a:gd name="T70" fmla="*/ 8492 w 11327"/>
                <a:gd name="T71" fmla="*/ 396 h 1868"/>
                <a:gd name="T72" fmla="*/ 8744 w 11327"/>
                <a:gd name="T73" fmla="*/ 660 h 1868"/>
                <a:gd name="T74" fmla="*/ 8775 w 11327"/>
                <a:gd name="T75" fmla="*/ 1095 h 1868"/>
                <a:gd name="T76" fmla="*/ 8585 w 11327"/>
                <a:gd name="T77" fmla="*/ 1418 h 1868"/>
                <a:gd name="T78" fmla="*/ 8182 w 11327"/>
                <a:gd name="T79" fmla="*/ 1522 h 1868"/>
                <a:gd name="T80" fmla="*/ 7807 w 11327"/>
                <a:gd name="T81" fmla="*/ 1385 h 1868"/>
                <a:gd name="T82" fmla="*/ 7649 w 11327"/>
                <a:gd name="T83" fmla="*/ 1033 h 1868"/>
                <a:gd name="T84" fmla="*/ 11121 w 11327"/>
                <a:gd name="T85" fmla="*/ 228 h 1868"/>
                <a:gd name="T86" fmla="*/ 10716 w 11327"/>
                <a:gd name="T87" fmla="*/ 30 h 1868"/>
                <a:gd name="T88" fmla="*/ 10126 w 11327"/>
                <a:gd name="T89" fmla="*/ 37 h 1868"/>
                <a:gd name="T90" fmla="*/ 9598 w 11327"/>
                <a:gd name="T91" fmla="*/ 385 h 1868"/>
                <a:gd name="T92" fmla="*/ 9435 w 11327"/>
                <a:gd name="T93" fmla="*/ 1039 h 1868"/>
                <a:gd name="T94" fmla="*/ 9714 w 11327"/>
                <a:gd name="T95" fmla="*/ 1617 h 1868"/>
                <a:gd name="T96" fmla="*/ 10320 w 11327"/>
                <a:gd name="T97" fmla="*/ 1863 h 1868"/>
                <a:gd name="T98" fmla="*/ 10845 w 11327"/>
                <a:gd name="T99" fmla="*/ 1799 h 1868"/>
                <a:gd name="T100" fmla="*/ 11211 w 11327"/>
                <a:gd name="T101" fmla="*/ 1551 h 1868"/>
                <a:gd name="T102" fmla="*/ 10919 w 11327"/>
                <a:gd name="T103" fmla="*/ 1325 h 1868"/>
                <a:gd name="T104" fmla="*/ 10676 w 11327"/>
                <a:gd name="T105" fmla="*/ 1473 h 1868"/>
                <a:gd name="T106" fmla="*/ 10324 w 11327"/>
                <a:gd name="T107" fmla="*/ 1504 h 1868"/>
                <a:gd name="T108" fmla="*/ 9975 w 11327"/>
                <a:gd name="T109" fmla="*/ 1332 h 1868"/>
                <a:gd name="T110" fmla="*/ 9831 w 11327"/>
                <a:gd name="T111" fmla="*/ 966 h 1868"/>
                <a:gd name="T112" fmla="*/ 9938 w 11327"/>
                <a:gd name="T113" fmla="*/ 575 h 1868"/>
                <a:gd name="T114" fmla="*/ 10261 w 11327"/>
                <a:gd name="T115" fmla="*/ 373 h 1868"/>
                <a:gd name="T116" fmla="*/ 10634 w 11327"/>
                <a:gd name="T117" fmla="*/ 382 h 1868"/>
                <a:gd name="T118" fmla="*/ 10890 w 11327"/>
                <a:gd name="T119" fmla="*/ 515 h 1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27" h="1868">
                  <a:moveTo>
                    <a:pt x="0" y="42"/>
                  </a:moveTo>
                  <a:lnTo>
                    <a:pt x="0" y="1822"/>
                  </a:lnTo>
                  <a:lnTo>
                    <a:pt x="399" y="1822"/>
                  </a:lnTo>
                  <a:lnTo>
                    <a:pt x="399" y="400"/>
                  </a:lnTo>
                  <a:lnTo>
                    <a:pt x="1352" y="400"/>
                  </a:lnTo>
                  <a:lnTo>
                    <a:pt x="1352" y="1822"/>
                  </a:lnTo>
                  <a:lnTo>
                    <a:pt x="1755" y="1822"/>
                  </a:lnTo>
                  <a:lnTo>
                    <a:pt x="1755" y="42"/>
                  </a:lnTo>
                  <a:lnTo>
                    <a:pt x="0" y="42"/>
                  </a:lnTo>
                  <a:close/>
                  <a:moveTo>
                    <a:pt x="2454" y="933"/>
                  </a:moveTo>
                  <a:lnTo>
                    <a:pt x="2454" y="900"/>
                  </a:lnTo>
                  <a:lnTo>
                    <a:pt x="2457" y="866"/>
                  </a:lnTo>
                  <a:lnTo>
                    <a:pt x="2460" y="835"/>
                  </a:lnTo>
                  <a:lnTo>
                    <a:pt x="2465" y="803"/>
                  </a:lnTo>
                  <a:lnTo>
                    <a:pt x="2472" y="773"/>
                  </a:lnTo>
                  <a:lnTo>
                    <a:pt x="2480" y="743"/>
                  </a:lnTo>
                  <a:lnTo>
                    <a:pt x="2489" y="715"/>
                  </a:lnTo>
                  <a:lnTo>
                    <a:pt x="2499" y="686"/>
                  </a:lnTo>
                  <a:lnTo>
                    <a:pt x="2511" y="660"/>
                  </a:lnTo>
                  <a:lnTo>
                    <a:pt x="2524" y="634"/>
                  </a:lnTo>
                  <a:lnTo>
                    <a:pt x="2538" y="610"/>
                  </a:lnTo>
                  <a:lnTo>
                    <a:pt x="2553" y="586"/>
                  </a:lnTo>
                  <a:lnTo>
                    <a:pt x="2570" y="563"/>
                  </a:lnTo>
                  <a:lnTo>
                    <a:pt x="2588" y="542"/>
                  </a:lnTo>
                  <a:lnTo>
                    <a:pt x="2606" y="521"/>
                  </a:lnTo>
                  <a:lnTo>
                    <a:pt x="2626" y="501"/>
                  </a:lnTo>
                  <a:lnTo>
                    <a:pt x="2646" y="483"/>
                  </a:lnTo>
                  <a:lnTo>
                    <a:pt x="2667" y="466"/>
                  </a:lnTo>
                  <a:lnTo>
                    <a:pt x="2691" y="449"/>
                  </a:lnTo>
                  <a:lnTo>
                    <a:pt x="2713" y="434"/>
                  </a:lnTo>
                  <a:lnTo>
                    <a:pt x="2737" y="420"/>
                  </a:lnTo>
                  <a:lnTo>
                    <a:pt x="2763" y="408"/>
                  </a:lnTo>
                  <a:lnTo>
                    <a:pt x="2788" y="396"/>
                  </a:lnTo>
                  <a:lnTo>
                    <a:pt x="2815" y="385"/>
                  </a:lnTo>
                  <a:lnTo>
                    <a:pt x="2842" y="375"/>
                  </a:lnTo>
                  <a:lnTo>
                    <a:pt x="2870" y="367"/>
                  </a:lnTo>
                  <a:lnTo>
                    <a:pt x="2898" y="361"/>
                  </a:lnTo>
                  <a:lnTo>
                    <a:pt x="2928" y="355"/>
                  </a:lnTo>
                  <a:lnTo>
                    <a:pt x="2957" y="351"/>
                  </a:lnTo>
                  <a:lnTo>
                    <a:pt x="2988" y="347"/>
                  </a:lnTo>
                  <a:lnTo>
                    <a:pt x="3018" y="345"/>
                  </a:lnTo>
                  <a:lnTo>
                    <a:pt x="3049" y="345"/>
                  </a:lnTo>
                  <a:lnTo>
                    <a:pt x="3080" y="345"/>
                  </a:lnTo>
                  <a:lnTo>
                    <a:pt x="3111" y="347"/>
                  </a:lnTo>
                  <a:lnTo>
                    <a:pt x="3141" y="351"/>
                  </a:lnTo>
                  <a:lnTo>
                    <a:pt x="3171" y="355"/>
                  </a:lnTo>
                  <a:lnTo>
                    <a:pt x="3200" y="361"/>
                  </a:lnTo>
                  <a:lnTo>
                    <a:pt x="3229" y="367"/>
                  </a:lnTo>
                  <a:lnTo>
                    <a:pt x="3256" y="375"/>
                  </a:lnTo>
                  <a:lnTo>
                    <a:pt x="3284" y="385"/>
                  </a:lnTo>
                  <a:lnTo>
                    <a:pt x="3310" y="396"/>
                  </a:lnTo>
                  <a:lnTo>
                    <a:pt x="3335" y="408"/>
                  </a:lnTo>
                  <a:lnTo>
                    <a:pt x="3361" y="420"/>
                  </a:lnTo>
                  <a:lnTo>
                    <a:pt x="3384" y="434"/>
                  </a:lnTo>
                  <a:lnTo>
                    <a:pt x="3408" y="449"/>
                  </a:lnTo>
                  <a:lnTo>
                    <a:pt x="3430" y="466"/>
                  </a:lnTo>
                  <a:lnTo>
                    <a:pt x="3452" y="483"/>
                  </a:lnTo>
                  <a:lnTo>
                    <a:pt x="3473" y="501"/>
                  </a:lnTo>
                  <a:lnTo>
                    <a:pt x="3492" y="521"/>
                  </a:lnTo>
                  <a:lnTo>
                    <a:pt x="3510" y="542"/>
                  </a:lnTo>
                  <a:lnTo>
                    <a:pt x="3528" y="563"/>
                  </a:lnTo>
                  <a:lnTo>
                    <a:pt x="3545" y="586"/>
                  </a:lnTo>
                  <a:lnTo>
                    <a:pt x="3560" y="610"/>
                  </a:lnTo>
                  <a:lnTo>
                    <a:pt x="3574" y="634"/>
                  </a:lnTo>
                  <a:lnTo>
                    <a:pt x="3587" y="660"/>
                  </a:lnTo>
                  <a:lnTo>
                    <a:pt x="3599" y="686"/>
                  </a:lnTo>
                  <a:lnTo>
                    <a:pt x="3609" y="715"/>
                  </a:lnTo>
                  <a:lnTo>
                    <a:pt x="3618" y="743"/>
                  </a:lnTo>
                  <a:lnTo>
                    <a:pt x="3626" y="773"/>
                  </a:lnTo>
                  <a:lnTo>
                    <a:pt x="3632" y="803"/>
                  </a:lnTo>
                  <a:lnTo>
                    <a:pt x="3637" y="835"/>
                  </a:lnTo>
                  <a:lnTo>
                    <a:pt x="3642" y="866"/>
                  </a:lnTo>
                  <a:lnTo>
                    <a:pt x="3644" y="900"/>
                  </a:lnTo>
                  <a:lnTo>
                    <a:pt x="3645" y="933"/>
                  </a:lnTo>
                  <a:lnTo>
                    <a:pt x="3644" y="968"/>
                  </a:lnTo>
                  <a:lnTo>
                    <a:pt x="3642" y="1001"/>
                  </a:lnTo>
                  <a:lnTo>
                    <a:pt x="3637" y="1033"/>
                  </a:lnTo>
                  <a:lnTo>
                    <a:pt x="3632" y="1065"/>
                  </a:lnTo>
                  <a:lnTo>
                    <a:pt x="3626" y="1095"/>
                  </a:lnTo>
                  <a:lnTo>
                    <a:pt x="3618" y="1125"/>
                  </a:lnTo>
                  <a:lnTo>
                    <a:pt x="3609" y="1153"/>
                  </a:lnTo>
                  <a:lnTo>
                    <a:pt x="3599" y="1181"/>
                  </a:lnTo>
                  <a:lnTo>
                    <a:pt x="3587" y="1207"/>
                  </a:lnTo>
                  <a:lnTo>
                    <a:pt x="3574" y="1233"/>
                  </a:lnTo>
                  <a:lnTo>
                    <a:pt x="3560" y="1258"/>
                  </a:lnTo>
                  <a:lnTo>
                    <a:pt x="3545" y="1281"/>
                  </a:lnTo>
                  <a:lnTo>
                    <a:pt x="3528" y="1305"/>
                  </a:lnTo>
                  <a:lnTo>
                    <a:pt x="3510" y="1326"/>
                  </a:lnTo>
                  <a:lnTo>
                    <a:pt x="3492" y="1346"/>
                  </a:lnTo>
                  <a:lnTo>
                    <a:pt x="3473" y="1366"/>
                  </a:lnTo>
                  <a:lnTo>
                    <a:pt x="3452" y="1385"/>
                  </a:lnTo>
                  <a:lnTo>
                    <a:pt x="3430" y="1402"/>
                  </a:lnTo>
                  <a:lnTo>
                    <a:pt x="3408" y="1418"/>
                  </a:lnTo>
                  <a:lnTo>
                    <a:pt x="3384" y="1434"/>
                  </a:lnTo>
                  <a:lnTo>
                    <a:pt x="3361" y="1447"/>
                  </a:lnTo>
                  <a:lnTo>
                    <a:pt x="3335" y="1460"/>
                  </a:lnTo>
                  <a:lnTo>
                    <a:pt x="3310" y="1472"/>
                  </a:lnTo>
                  <a:lnTo>
                    <a:pt x="3284" y="1483"/>
                  </a:lnTo>
                  <a:lnTo>
                    <a:pt x="3256" y="1492"/>
                  </a:lnTo>
                  <a:lnTo>
                    <a:pt x="3229" y="1500"/>
                  </a:lnTo>
                  <a:lnTo>
                    <a:pt x="3200" y="1507"/>
                  </a:lnTo>
                  <a:lnTo>
                    <a:pt x="3171" y="1513"/>
                  </a:lnTo>
                  <a:lnTo>
                    <a:pt x="3141" y="1517"/>
                  </a:lnTo>
                  <a:lnTo>
                    <a:pt x="3111" y="1520"/>
                  </a:lnTo>
                  <a:lnTo>
                    <a:pt x="3080" y="1522"/>
                  </a:lnTo>
                  <a:lnTo>
                    <a:pt x="3049" y="1523"/>
                  </a:lnTo>
                  <a:lnTo>
                    <a:pt x="3018" y="1522"/>
                  </a:lnTo>
                  <a:lnTo>
                    <a:pt x="2988" y="1520"/>
                  </a:lnTo>
                  <a:lnTo>
                    <a:pt x="2957" y="1517"/>
                  </a:lnTo>
                  <a:lnTo>
                    <a:pt x="2928" y="1513"/>
                  </a:lnTo>
                  <a:lnTo>
                    <a:pt x="2898" y="1507"/>
                  </a:lnTo>
                  <a:lnTo>
                    <a:pt x="2870" y="1500"/>
                  </a:lnTo>
                  <a:lnTo>
                    <a:pt x="2842" y="1492"/>
                  </a:lnTo>
                  <a:lnTo>
                    <a:pt x="2815" y="1483"/>
                  </a:lnTo>
                  <a:lnTo>
                    <a:pt x="2788" y="1472"/>
                  </a:lnTo>
                  <a:lnTo>
                    <a:pt x="2763" y="1460"/>
                  </a:lnTo>
                  <a:lnTo>
                    <a:pt x="2737" y="1447"/>
                  </a:lnTo>
                  <a:lnTo>
                    <a:pt x="2713" y="1434"/>
                  </a:lnTo>
                  <a:lnTo>
                    <a:pt x="2691" y="1418"/>
                  </a:lnTo>
                  <a:lnTo>
                    <a:pt x="2667" y="1402"/>
                  </a:lnTo>
                  <a:lnTo>
                    <a:pt x="2646" y="1385"/>
                  </a:lnTo>
                  <a:lnTo>
                    <a:pt x="2626" y="1366"/>
                  </a:lnTo>
                  <a:lnTo>
                    <a:pt x="2606" y="1346"/>
                  </a:lnTo>
                  <a:lnTo>
                    <a:pt x="2588" y="1326"/>
                  </a:lnTo>
                  <a:lnTo>
                    <a:pt x="2570" y="1305"/>
                  </a:lnTo>
                  <a:lnTo>
                    <a:pt x="2553" y="1281"/>
                  </a:lnTo>
                  <a:lnTo>
                    <a:pt x="2538" y="1258"/>
                  </a:lnTo>
                  <a:lnTo>
                    <a:pt x="2524" y="1233"/>
                  </a:lnTo>
                  <a:lnTo>
                    <a:pt x="2511" y="1207"/>
                  </a:lnTo>
                  <a:lnTo>
                    <a:pt x="2499" y="1181"/>
                  </a:lnTo>
                  <a:lnTo>
                    <a:pt x="2489" y="1153"/>
                  </a:lnTo>
                  <a:lnTo>
                    <a:pt x="2480" y="1125"/>
                  </a:lnTo>
                  <a:lnTo>
                    <a:pt x="2472" y="1095"/>
                  </a:lnTo>
                  <a:lnTo>
                    <a:pt x="2465" y="1065"/>
                  </a:lnTo>
                  <a:lnTo>
                    <a:pt x="2460" y="1033"/>
                  </a:lnTo>
                  <a:lnTo>
                    <a:pt x="2457" y="1001"/>
                  </a:lnTo>
                  <a:lnTo>
                    <a:pt x="2454" y="968"/>
                  </a:lnTo>
                  <a:lnTo>
                    <a:pt x="2454" y="933"/>
                  </a:lnTo>
                  <a:close/>
                  <a:moveTo>
                    <a:pt x="4047" y="933"/>
                  </a:moveTo>
                  <a:lnTo>
                    <a:pt x="4046" y="882"/>
                  </a:lnTo>
                  <a:lnTo>
                    <a:pt x="4042" y="831"/>
                  </a:lnTo>
                  <a:lnTo>
                    <a:pt x="4035" y="781"/>
                  </a:lnTo>
                  <a:lnTo>
                    <a:pt x="4026" y="733"/>
                  </a:lnTo>
                  <a:lnTo>
                    <a:pt x="4015" y="685"/>
                  </a:lnTo>
                  <a:lnTo>
                    <a:pt x="4002" y="640"/>
                  </a:lnTo>
                  <a:lnTo>
                    <a:pt x="3985" y="595"/>
                  </a:lnTo>
                  <a:lnTo>
                    <a:pt x="3967" y="551"/>
                  </a:lnTo>
                  <a:lnTo>
                    <a:pt x="3947" y="509"/>
                  </a:lnTo>
                  <a:lnTo>
                    <a:pt x="3924" y="469"/>
                  </a:lnTo>
                  <a:lnTo>
                    <a:pt x="3900" y="430"/>
                  </a:lnTo>
                  <a:lnTo>
                    <a:pt x="3874" y="392"/>
                  </a:lnTo>
                  <a:lnTo>
                    <a:pt x="3846" y="356"/>
                  </a:lnTo>
                  <a:lnTo>
                    <a:pt x="3815" y="321"/>
                  </a:lnTo>
                  <a:lnTo>
                    <a:pt x="3784" y="289"/>
                  </a:lnTo>
                  <a:lnTo>
                    <a:pt x="3751" y="257"/>
                  </a:lnTo>
                  <a:lnTo>
                    <a:pt x="3716" y="227"/>
                  </a:lnTo>
                  <a:lnTo>
                    <a:pt x="3679" y="199"/>
                  </a:lnTo>
                  <a:lnTo>
                    <a:pt x="3642" y="173"/>
                  </a:lnTo>
                  <a:lnTo>
                    <a:pt x="3603" y="147"/>
                  </a:lnTo>
                  <a:lnTo>
                    <a:pt x="3562" y="125"/>
                  </a:lnTo>
                  <a:lnTo>
                    <a:pt x="3521" y="104"/>
                  </a:lnTo>
                  <a:lnTo>
                    <a:pt x="3477" y="84"/>
                  </a:lnTo>
                  <a:lnTo>
                    <a:pt x="3433" y="67"/>
                  </a:lnTo>
                  <a:lnTo>
                    <a:pt x="3388" y="52"/>
                  </a:lnTo>
                  <a:lnTo>
                    <a:pt x="3342" y="39"/>
                  </a:lnTo>
                  <a:lnTo>
                    <a:pt x="3295" y="26"/>
                  </a:lnTo>
                  <a:lnTo>
                    <a:pt x="3247" y="17"/>
                  </a:lnTo>
                  <a:lnTo>
                    <a:pt x="3199" y="10"/>
                  </a:lnTo>
                  <a:lnTo>
                    <a:pt x="3149" y="4"/>
                  </a:lnTo>
                  <a:lnTo>
                    <a:pt x="3099" y="1"/>
                  </a:lnTo>
                  <a:lnTo>
                    <a:pt x="3049" y="0"/>
                  </a:lnTo>
                  <a:lnTo>
                    <a:pt x="2999" y="1"/>
                  </a:lnTo>
                  <a:lnTo>
                    <a:pt x="2949" y="4"/>
                  </a:lnTo>
                  <a:lnTo>
                    <a:pt x="2899" y="10"/>
                  </a:lnTo>
                  <a:lnTo>
                    <a:pt x="2851" y="17"/>
                  </a:lnTo>
                  <a:lnTo>
                    <a:pt x="2804" y="26"/>
                  </a:lnTo>
                  <a:lnTo>
                    <a:pt x="2756" y="39"/>
                  </a:lnTo>
                  <a:lnTo>
                    <a:pt x="2710" y="52"/>
                  </a:lnTo>
                  <a:lnTo>
                    <a:pt x="2665" y="67"/>
                  </a:lnTo>
                  <a:lnTo>
                    <a:pt x="2620" y="84"/>
                  </a:lnTo>
                  <a:lnTo>
                    <a:pt x="2578" y="104"/>
                  </a:lnTo>
                  <a:lnTo>
                    <a:pt x="2536" y="125"/>
                  </a:lnTo>
                  <a:lnTo>
                    <a:pt x="2495" y="147"/>
                  </a:lnTo>
                  <a:lnTo>
                    <a:pt x="2457" y="173"/>
                  </a:lnTo>
                  <a:lnTo>
                    <a:pt x="2418" y="199"/>
                  </a:lnTo>
                  <a:lnTo>
                    <a:pt x="2382" y="227"/>
                  </a:lnTo>
                  <a:lnTo>
                    <a:pt x="2347" y="257"/>
                  </a:lnTo>
                  <a:lnTo>
                    <a:pt x="2313" y="289"/>
                  </a:lnTo>
                  <a:lnTo>
                    <a:pt x="2282" y="321"/>
                  </a:lnTo>
                  <a:lnTo>
                    <a:pt x="2252" y="356"/>
                  </a:lnTo>
                  <a:lnTo>
                    <a:pt x="2224" y="392"/>
                  </a:lnTo>
                  <a:lnTo>
                    <a:pt x="2197" y="430"/>
                  </a:lnTo>
                  <a:lnTo>
                    <a:pt x="2173" y="469"/>
                  </a:lnTo>
                  <a:lnTo>
                    <a:pt x="2152" y="509"/>
                  </a:lnTo>
                  <a:lnTo>
                    <a:pt x="2131" y="551"/>
                  </a:lnTo>
                  <a:lnTo>
                    <a:pt x="2113" y="595"/>
                  </a:lnTo>
                  <a:lnTo>
                    <a:pt x="2097" y="640"/>
                  </a:lnTo>
                  <a:lnTo>
                    <a:pt x="2083" y="685"/>
                  </a:lnTo>
                  <a:lnTo>
                    <a:pt x="2071" y="733"/>
                  </a:lnTo>
                  <a:lnTo>
                    <a:pt x="2063" y="781"/>
                  </a:lnTo>
                  <a:lnTo>
                    <a:pt x="2056" y="831"/>
                  </a:lnTo>
                  <a:lnTo>
                    <a:pt x="2052" y="882"/>
                  </a:lnTo>
                  <a:lnTo>
                    <a:pt x="2051" y="933"/>
                  </a:lnTo>
                  <a:lnTo>
                    <a:pt x="2052" y="985"/>
                  </a:lnTo>
                  <a:lnTo>
                    <a:pt x="2056" y="1036"/>
                  </a:lnTo>
                  <a:lnTo>
                    <a:pt x="2063" y="1086"/>
                  </a:lnTo>
                  <a:lnTo>
                    <a:pt x="2071" y="1135"/>
                  </a:lnTo>
                  <a:lnTo>
                    <a:pt x="2083" y="1182"/>
                  </a:lnTo>
                  <a:lnTo>
                    <a:pt x="2097" y="1228"/>
                  </a:lnTo>
                  <a:lnTo>
                    <a:pt x="2113" y="1273"/>
                  </a:lnTo>
                  <a:lnTo>
                    <a:pt x="2131" y="1316"/>
                  </a:lnTo>
                  <a:lnTo>
                    <a:pt x="2152" y="1357"/>
                  </a:lnTo>
                  <a:lnTo>
                    <a:pt x="2173" y="1398"/>
                  </a:lnTo>
                  <a:lnTo>
                    <a:pt x="2197" y="1438"/>
                  </a:lnTo>
                  <a:lnTo>
                    <a:pt x="2224" y="1475"/>
                  </a:lnTo>
                  <a:lnTo>
                    <a:pt x="2252" y="1512"/>
                  </a:lnTo>
                  <a:lnTo>
                    <a:pt x="2282" y="1547"/>
                  </a:lnTo>
                  <a:lnTo>
                    <a:pt x="2313" y="1579"/>
                  </a:lnTo>
                  <a:lnTo>
                    <a:pt x="2347" y="1611"/>
                  </a:lnTo>
                  <a:lnTo>
                    <a:pt x="2382" y="1640"/>
                  </a:lnTo>
                  <a:lnTo>
                    <a:pt x="2418" y="1669"/>
                  </a:lnTo>
                  <a:lnTo>
                    <a:pt x="2457" y="1695"/>
                  </a:lnTo>
                  <a:lnTo>
                    <a:pt x="2495" y="1719"/>
                  </a:lnTo>
                  <a:lnTo>
                    <a:pt x="2536" y="1743"/>
                  </a:lnTo>
                  <a:lnTo>
                    <a:pt x="2578" y="1764"/>
                  </a:lnTo>
                  <a:lnTo>
                    <a:pt x="2620" y="1782"/>
                  </a:lnTo>
                  <a:lnTo>
                    <a:pt x="2665" y="1801"/>
                  </a:lnTo>
                  <a:lnTo>
                    <a:pt x="2710" y="1816"/>
                  </a:lnTo>
                  <a:lnTo>
                    <a:pt x="2756" y="1829"/>
                  </a:lnTo>
                  <a:lnTo>
                    <a:pt x="2804" y="1840"/>
                  </a:lnTo>
                  <a:lnTo>
                    <a:pt x="2851" y="1851"/>
                  </a:lnTo>
                  <a:lnTo>
                    <a:pt x="2899" y="1858"/>
                  </a:lnTo>
                  <a:lnTo>
                    <a:pt x="2949" y="1863"/>
                  </a:lnTo>
                  <a:lnTo>
                    <a:pt x="2999" y="1866"/>
                  </a:lnTo>
                  <a:lnTo>
                    <a:pt x="3049" y="1868"/>
                  </a:lnTo>
                  <a:lnTo>
                    <a:pt x="3099" y="1866"/>
                  </a:lnTo>
                  <a:lnTo>
                    <a:pt x="3149" y="1863"/>
                  </a:lnTo>
                  <a:lnTo>
                    <a:pt x="3199" y="1858"/>
                  </a:lnTo>
                  <a:lnTo>
                    <a:pt x="3247" y="1851"/>
                  </a:lnTo>
                  <a:lnTo>
                    <a:pt x="3295" y="1840"/>
                  </a:lnTo>
                  <a:lnTo>
                    <a:pt x="3342" y="1829"/>
                  </a:lnTo>
                  <a:lnTo>
                    <a:pt x="3388" y="1816"/>
                  </a:lnTo>
                  <a:lnTo>
                    <a:pt x="3433" y="1801"/>
                  </a:lnTo>
                  <a:lnTo>
                    <a:pt x="3477" y="1782"/>
                  </a:lnTo>
                  <a:lnTo>
                    <a:pt x="3521" y="1764"/>
                  </a:lnTo>
                  <a:lnTo>
                    <a:pt x="3562" y="1743"/>
                  </a:lnTo>
                  <a:lnTo>
                    <a:pt x="3603" y="1719"/>
                  </a:lnTo>
                  <a:lnTo>
                    <a:pt x="3642" y="1695"/>
                  </a:lnTo>
                  <a:lnTo>
                    <a:pt x="3679" y="1669"/>
                  </a:lnTo>
                  <a:lnTo>
                    <a:pt x="3716" y="1640"/>
                  </a:lnTo>
                  <a:lnTo>
                    <a:pt x="3751" y="1611"/>
                  </a:lnTo>
                  <a:lnTo>
                    <a:pt x="3784" y="1579"/>
                  </a:lnTo>
                  <a:lnTo>
                    <a:pt x="3815" y="1547"/>
                  </a:lnTo>
                  <a:lnTo>
                    <a:pt x="3846" y="1512"/>
                  </a:lnTo>
                  <a:lnTo>
                    <a:pt x="3874" y="1475"/>
                  </a:lnTo>
                  <a:lnTo>
                    <a:pt x="3900" y="1438"/>
                  </a:lnTo>
                  <a:lnTo>
                    <a:pt x="3924" y="1398"/>
                  </a:lnTo>
                  <a:lnTo>
                    <a:pt x="3947" y="1357"/>
                  </a:lnTo>
                  <a:lnTo>
                    <a:pt x="3967" y="1316"/>
                  </a:lnTo>
                  <a:lnTo>
                    <a:pt x="3985" y="1273"/>
                  </a:lnTo>
                  <a:lnTo>
                    <a:pt x="4002" y="1228"/>
                  </a:lnTo>
                  <a:lnTo>
                    <a:pt x="4015" y="1182"/>
                  </a:lnTo>
                  <a:lnTo>
                    <a:pt x="4026" y="1135"/>
                  </a:lnTo>
                  <a:lnTo>
                    <a:pt x="4035" y="1086"/>
                  </a:lnTo>
                  <a:lnTo>
                    <a:pt x="4042" y="1036"/>
                  </a:lnTo>
                  <a:lnTo>
                    <a:pt x="4046" y="985"/>
                  </a:lnTo>
                  <a:lnTo>
                    <a:pt x="4047" y="933"/>
                  </a:lnTo>
                  <a:close/>
                  <a:moveTo>
                    <a:pt x="4779" y="42"/>
                  </a:moveTo>
                  <a:lnTo>
                    <a:pt x="4540" y="1317"/>
                  </a:lnTo>
                  <a:lnTo>
                    <a:pt x="4535" y="1334"/>
                  </a:lnTo>
                  <a:lnTo>
                    <a:pt x="4530" y="1350"/>
                  </a:lnTo>
                  <a:lnTo>
                    <a:pt x="4524" y="1366"/>
                  </a:lnTo>
                  <a:lnTo>
                    <a:pt x="4517" y="1379"/>
                  </a:lnTo>
                  <a:lnTo>
                    <a:pt x="4510" y="1392"/>
                  </a:lnTo>
                  <a:lnTo>
                    <a:pt x="4501" y="1403"/>
                  </a:lnTo>
                  <a:lnTo>
                    <a:pt x="4491" y="1413"/>
                  </a:lnTo>
                  <a:lnTo>
                    <a:pt x="4481" y="1423"/>
                  </a:lnTo>
                  <a:lnTo>
                    <a:pt x="4469" y="1431"/>
                  </a:lnTo>
                  <a:lnTo>
                    <a:pt x="4457" y="1437"/>
                  </a:lnTo>
                  <a:lnTo>
                    <a:pt x="4444" y="1443"/>
                  </a:lnTo>
                  <a:lnTo>
                    <a:pt x="4430" y="1447"/>
                  </a:lnTo>
                  <a:lnTo>
                    <a:pt x="4415" y="1451"/>
                  </a:lnTo>
                  <a:lnTo>
                    <a:pt x="4399" y="1453"/>
                  </a:lnTo>
                  <a:lnTo>
                    <a:pt x="4383" y="1455"/>
                  </a:lnTo>
                  <a:lnTo>
                    <a:pt x="4366" y="1455"/>
                  </a:lnTo>
                  <a:lnTo>
                    <a:pt x="4172" y="1455"/>
                  </a:lnTo>
                  <a:lnTo>
                    <a:pt x="4172" y="1822"/>
                  </a:lnTo>
                  <a:lnTo>
                    <a:pt x="4385" y="1822"/>
                  </a:lnTo>
                  <a:lnTo>
                    <a:pt x="4412" y="1822"/>
                  </a:lnTo>
                  <a:lnTo>
                    <a:pt x="4439" y="1821"/>
                  </a:lnTo>
                  <a:lnTo>
                    <a:pt x="4465" y="1819"/>
                  </a:lnTo>
                  <a:lnTo>
                    <a:pt x="4491" y="1816"/>
                  </a:lnTo>
                  <a:lnTo>
                    <a:pt x="4515" y="1812"/>
                  </a:lnTo>
                  <a:lnTo>
                    <a:pt x="4540" y="1808"/>
                  </a:lnTo>
                  <a:lnTo>
                    <a:pt x="4563" y="1802"/>
                  </a:lnTo>
                  <a:lnTo>
                    <a:pt x="4586" y="1796"/>
                  </a:lnTo>
                  <a:lnTo>
                    <a:pt x="4609" y="1789"/>
                  </a:lnTo>
                  <a:lnTo>
                    <a:pt x="4630" y="1780"/>
                  </a:lnTo>
                  <a:lnTo>
                    <a:pt x="4651" y="1771"/>
                  </a:lnTo>
                  <a:lnTo>
                    <a:pt x="4672" y="1762"/>
                  </a:lnTo>
                  <a:lnTo>
                    <a:pt x="4692" y="1751"/>
                  </a:lnTo>
                  <a:lnTo>
                    <a:pt x="4710" y="1740"/>
                  </a:lnTo>
                  <a:lnTo>
                    <a:pt x="4730" y="1728"/>
                  </a:lnTo>
                  <a:lnTo>
                    <a:pt x="4747" y="1713"/>
                  </a:lnTo>
                  <a:lnTo>
                    <a:pt x="4764" y="1699"/>
                  </a:lnTo>
                  <a:lnTo>
                    <a:pt x="4781" y="1684"/>
                  </a:lnTo>
                  <a:lnTo>
                    <a:pt x="4796" y="1668"/>
                  </a:lnTo>
                  <a:lnTo>
                    <a:pt x="4811" y="1650"/>
                  </a:lnTo>
                  <a:lnTo>
                    <a:pt x="4825" y="1633"/>
                  </a:lnTo>
                  <a:lnTo>
                    <a:pt x="4839" y="1614"/>
                  </a:lnTo>
                  <a:lnTo>
                    <a:pt x="4852" y="1593"/>
                  </a:lnTo>
                  <a:lnTo>
                    <a:pt x="4864" y="1572"/>
                  </a:lnTo>
                  <a:lnTo>
                    <a:pt x="4875" y="1551"/>
                  </a:lnTo>
                  <a:lnTo>
                    <a:pt x="4885" y="1527"/>
                  </a:lnTo>
                  <a:lnTo>
                    <a:pt x="4895" y="1504"/>
                  </a:lnTo>
                  <a:lnTo>
                    <a:pt x="4905" y="1478"/>
                  </a:lnTo>
                  <a:lnTo>
                    <a:pt x="4913" y="1452"/>
                  </a:lnTo>
                  <a:lnTo>
                    <a:pt x="4920" y="1426"/>
                  </a:lnTo>
                  <a:lnTo>
                    <a:pt x="4927" y="1397"/>
                  </a:lnTo>
                  <a:lnTo>
                    <a:pt x="4932" y="1369"/>
                  </a:lnTo>
                  <a:lnTo>
                    <a:pt x="5113" y="403"/>
                  </a:lnTo>
                  <a:lnTo>
                    <a:pt x="5796" y="403"/>
                  </a:lnTo>
                  <a:lnTo>
                    <a:pt x="5796" y="1822"/>
                  </a:lnTo>
                  <a:lnTo>
                    <a:pt x="6198" y="1822"/>
                  </a:lnTo>
                  <a:lnTo>
                    <a:pt x="6198" y="42"/>
                  </a:lnTo>
                  <a:lnTo>
                    <a:pt x="4779" y="42"/>
                  </a:lnTo>
                  <a:close/>
                  <a:moveTo>
                    <a:pt x="6585" y="42"/>
                  </a:moveTo>
                  <a:lnTo>
                    <a:pt x="6585" y="1822"/>
                  </a:lnTo>
                  <a:lnTo>
                    <a:pt x="6980" y="1822"/>
                  </a:lnTo>
                  <a:lnTo>
                    <a:pt x="6980" y="1069"/>
                  </a:lnTo>
                  <a:lnTo>
                    <a:pt x="7251" y="1069"/>
                  </a:lnTo>
                  <a:lnTo>
                    <a:pt x="7258" y="1116"/>
                  </a:lnTo>
                  <a:lnTo>
                    <a:pt x="7266" y="1162"/>
                  </a:lnTo>
                  <a:lnTo>
                    <a:pt x="7277" y="1207"/>
                  </a:lnTo>
                  <a:lnTo>
                    <a:pt x="7290" y="1251"/>
                  </a:lnTo>
                  <a:lnTo>
                    <a:pt x="7304" y="1292"/>
                  </a:lnTo>
                  <a:lnTo>
                    <a:pt x="7320" y="1333"/>
                  </a:lnTo>
                  <a:lnTo>
                    <a:pt x="7338" y="1372"/>
                  </a:lnTo>
                  <a:lnTo>
                    <a:pt x="7358" y="1409"/>
                  </a:lnTo>
                  <a:lnTo>
                    <a:pt x="7379" y="1446"/>
                  </a:lnTo>
                  <a:lnTo>
                    <a:pt x="7402" y="1482"/>
                  </a:lnTo>
                  <a:lnTo>
                    <a:pt x="7427" y="1514"/>
                  </a:lnTo>
                  <a:lnTo>
                    <a:pt x="7452" y="1547"/>
                  </a:lnTo>
                  <a:lnTo>
                    <a:pt x="7480" y="1577"/>
                  </a:lnTo>
                  <a:lnTo>
                    <a:pt x="7509" y="1607"/>
                  </a:lnTo>
                  <a:lnTo>
                    <a:pt x="7540" y="1634"/>
                  </a:lnTo>
                  <a:lnTo>
                    <a:pt x="7571" y="1660"/>
                  </a:lnTo>
                  <a:lnTo>
                    <a:pt x="7604" y="1685"/>
                  </a:lnTo>
                  <a:lnTo>
                    <a:pt x="7637" y="1708"/>
                  </a:lnTo>
                  <a:lnTo>
                    <a:pt x="7673" y="1730"/>
                  </a:lnTo>
                  <a:lnTo>
                    <a:pt x="7710" y="1750"/>
                  </a:lnTo>
                  <a:lnTo>
                    <a:pt x="7747" y="1768"/>
                  </a:lnTo>
                  <a:lnTo>
                    <a:pt x="7786" y="1786"/>
                  </a:lnTo>
                  <a:lnTo>
                    <a:pt x="7824" y="1801"/>
                  </a:lnTo>
                  <a:lnTo>
                    <a:pt x="7865" y="1815"/>
                  </a:lnTo>
                  <a:lnTo>
                    <a:pt x="7907" y="1827"/>
                  </a:lnTo>
                  <a:lnTo>
                    <a:pt x="7949" y="1837"/>
                  </a:lnTo>
                  <a:lnTo>
                    <a:pt x="7991" y="1847"/>
                  </a:lnTo>
                  <a:lnTo>
                    <a:pt x="8035" y="1854"/>
                  </a:lnTo>
                  <a:lnTo>
                    <a:pt x="8080" y="1860"/>
                  </a:lnTo>
                  <a:lnTo>
                    <a:pt x="8124" y="1864"/>
                  </a:lnTo>
                  <a:lnTo>
                    <a:pt x="8170" y="1867"/>
                  </a:lnTo>
                  <a:lnTo>
                    <a:pt x="8217" y="1868"/>
                  </a:lnTo>
                  <a:lnTo>
                    <a:pt x="8267" y="1867"/>
                  </a:lnTo>
                  <a:lnTo>
                    <a:pt x="8317" y="1864"/>
                  </a:lnTo>
                  <a:lnTo>
                    <a:pt x="8364" y="1859"/>
                  </a:lnTo>
                  <a:lnTo>
                    <a:pt x="8413" y="1852"/>
                  </a:lnTo>
                  <a:lnTo>
                    <a:pt x="8460" y="1842"/>
                  </a:lnTo>
                  <a:lnTo>
                    <a:pt x="8506" y="1832"/>
                  </a:lnTo>
                  <a:lnTo>
                    <a:pt x="8552" y="1820"/>
                  </a:lnTo>
                  <a:lnTo>
                    <a:pt x="8595" y="1805"/>
                  </a:lnTo>
                  <a:lnTo>
                    <a:pt x="8639" y="1789"/>
                  </a:lnTo>
                  <a:lnTo>
                    <a:pt x="8681" y="1771"/>
                  </a:lnTo>
                  <a:lnTo>
                    <a:pt x="8721" y="1751"/>
                  </a:lnTo>
                  <a:lnTo>
                    <a:pt x="8761" y="1729"/>
                  </a:lnTo>
                  <a:lnTo>
                    <a:pt x="8799" y="1705"/>
                  </a:lnTo>
                  <a:lnTo>
                    <a:pt x="8835" y="1680"/>
                  </a:lnTo>
                  <a:lnTo>
                    <a:pt x="8871" y="1653"/>
                  </a:lnTo>
                  <a:lnTo>
                    <a:pt x="8905" y="1624"/>
                  </a:lnTo>
                  <a:lnTo>
                    <a:pt x="8937" y="1593"/>
                  </a:lnTo>
                  <a:lnTo>
                    <a:pt x="8968" y="1561"/>
                  </a:lnTo>
                  <a:lnTo>
                    <a:pt x="8996" y="1526"/>
                  </a:lnTo>
                  <a:lnTo>
                    <a:pt x="9023" y="1491"/>
                  </a:lnTo>
                  <a:lnTo>
                    <a:pt x="9049" y="1453"/>
                  </a:lnTo>
                  <a:lnTo>
                    <a:pt x="9072" y="1414"/>
                  </a:lnTo>
                  <a:lnTo>
                    <a:pt x="9094" y="1374"/>
                  </a:lnTo>
                  <a:lnTo>
                    <a:pt x="9113" y="1331"/>
                  </a:lnTo>
                  <a:lnTo>
                    <a:pt x="9130" y="1287"/>
                  </a:lnTo>
                  <a:lnTo>
                    <a:pt x="9146" y="1242"/>
                  </a:lnTo>
                  <a:lnTo>
                    <a:pt x="9159" y="1194"/>
                  </a:lnTo>
                  <a:lnTo>
                    <a:pt x="9169" y="1145"/>
                  </a:lnTo>
                  <a:lnTo>
                    <a:pt x="9178" y="1094"/>
                  </a:lnTo>
                  <a:lnTo>
                    <a:pt x="9184" y="1042"/>
                  </a:lnTo>
                  <a:lnTo>
                    <a:pt x="9188" y="988"/>
                  </a:lnTo>
                  <a:lnTo>
                    <a:pt x="9189" y="933"/>
                  </a:lnTo>
                  <a:lnTo>
                    <a:pt x="9188" y="879"/>
                  </a:lnTo>
                  <a:lnTo>
                    <a:pt x="9184" y="825"/>
                  </a:lnTo>
                  <a:lnTo>
                    <a:pt x="9178" y="773"/>
                  </a:lnTo>
                  <a:lnTo>
                    <a:pt x="9169" y="723"/>
                  </a:lnTo>
                  <a:lnTo>
                    <a:pt x="9159" y="674"/>
                  </a:lnTo>
                  <a:lnTo>
                    <a:pt x="9146" y="626"/>
                  </a:lnTo>
                  <a:lnTo>
                    <a:pt x="9130" y="581"/>
                  </a:lnTo>
                  <a:lnTo>
                    <a:pt x="9113" y="537"/>
                  </a:lnTo>
                  <a:lnTo>
                    <a:pt x="9094" y="494"/>
                  </a:lnTo>
                  <a:lnTo>
                    <a:pt x="9072" y="453"/>
                  </a:lnTo>
                  <a:lnTo>
                    <a:pt x="9049" y="414"/>
                  </a:lnTo>
                  <a:lnTo>
                    <a:pt x="9023" y="376"/>
                  </a:lnTo>
                  <a:lnTo>
                    <a:pt x="8996" y="341"/>
                  </a:lnTo>
                  <a:lnTo>
                    <a:pt x="8968" y="307"/>
                  </a:lnTo>
                  <a:lnTo>
                    <a:pt x="8937" y="275"/>
                  </a:lnTo>
                  <a:lnTo>
                    <a:pt x="8905" y="244"/>
                  </a:lnTo>
                  <a:lnTo>
                    <a:pt x="8871" y="215"/>
                  </a:lnTo>
                  <a:lnTo>
                    <a:pt x="8835" y="187"/>
                  </a:lnTo>
                  <a:lnTo>
                    <a:pt x="8799" y="162"/>
                  </a:lnTo>
                  <a:lnTo>
                    <a:pt x="8761" y="138"/>
                  </a:lnTo>
                  <a:lnTo>
                    <a:pt x="8721" y="117"/>
                  </a:lnTo>
                  <a:lnTo>
                    <a:pt x="8681" y="97"/>
                  </a:lnTo>
                  <a:lnTo>
                    <a:pt x="8639" y="78"/>
                  </a:lnTo>
                  <a:lnTo>
                    <a:pt x="8595" y="62"/>
                  </a:lnTo>
                  <a:lnTo>
                    <a:pt x="8552" y="48"/>
                  </a:lnTo>
                  <a:lnTo>
                    <a:pt x="8506" y="36"/>
                  </a:lnTo>
                  <a:lnTo>
                    <a:pt x="8460" y="24"/>
                  </a:lnTo>
                  <a:lnTo>
                    <a:pt x="8413" y="16"/>
                  </a:lnTo>
                  <a:lnTo>
                    <a:pt x="8364" y="9"/>
                  </a:lnTo>
                  <a:lnTo>
                    <a:pt x="8317" y="4"/>
                  </a:lnTo>
                  <a:lnTo>
                    <a:pt x="8267" y="1"/>
                  </a:lnTo>
                  <a:lnTo>
                    <a:pt x="8217" y="0"/>
                  </a:lnTo>
                  <a:lnTo>
                    <a:pt x="8173" y="1"/>
                  </a:lnTo>
                  <a:lnTo>
                    <a:pt x="8131" y="3"/>
                  </a:lnTo>
                  <a:lnTo>
                    <a:pt x="8088" y="7"/>
                  </a:lnTo>
                  <a:lnTo>
                    <a:pt x="8046" y="12"/>
                  </a:lnTo>
                  <a:lnTo>
                    <a:pt x="8004" y="18"/>
                  </a:lnTo>
                  <a:lnTo>
                    <a:pt x="7964" y="26"/>
                  </a:lnTo>
                  <a:lnTo>
                    <a:pt x="7924" y="36"/>
                  </a:lnTo>
                  <a:lnTo>
                    <a:pt x="7884" y="47"/>
                  </a:lnTo>
                  <a:lnTo>
                    <a:pt x="7846" y="59"/>
                  </a:lnTo>
                  <a:lnTo>
                    <a:pt x="7808" y="73"/>
                  </a:lnTo>
                  <a:lnTo>
                    <a:pt x="7772" y="88"/>
                  </a:lnTo>
                  <a:lnTo>
                    <a:pt x="7736" y="105"/>
                  </a:lnTo>
                  <a:lnTo>
                    <a:pt x="7700" y="122"/>
                  </a:lnTo>
                  <a:lnTo>
                    <a:pt x="7667" y="141"/>
                  </a:lnTo>
                  <a:lnTo>
                    <a:pt x="7633" y="162"/>
                  </a:lnTo>
                  <a:lnTo>
                    <a:pt x="7602" y="184"/>
                  </a:lnTo>
                  <a:lnTo>
                    <a:pt x="7571" y="207"/>
                  </a:lnTo>
                  <a:lnTo>
                    <a:pt x="7542" y="232"/>
                  </a:lnTo>
                  <a:lnTo>
                    <a:pt x="7512" y="257"/>
                  </a:lnTo>
                  <a:lnTo>
                    <a:pt x="7486" y="285"/>
                  </a:lnTo>
                  <a:lnTo>
                    <a:pt x="7459" y="313"/>
                  </a:lnTo>
                  <a:lnTo>
                    <a:pt x="7435" y="343"/>
                  </a:lnTo>
                  <a:lnTo>
                    <a:pt x="7412" y="374"/>
                  </a:lnTo>
                  <a:lnTo>
                    <a:pt x="7389" y="406"/>
                  </a:lnTo>
                  <a:lnTo>
                    <a:pt x="7369" y="439"/>
                  </a:lnTo>
                  <a:lnTo>
                    <a:pt x="7350" y="475"/>
                  </a:lnTo>
                  <a:lnTo>
                    <a:pt x="7331" y="510"/>
                  </a:lnTo>
                  <a:lnTo>
                    <a:pt x="7315" y="548"/>
                  </a:lnTo>
                  <a:lnTo>
                    <a:pt x="7301" y="586"/>
                  </a:lnTo>
                  <a:lnTo>
                    <a:pt x="7287" y="625"/>
                  </a:lnTo>
                  <a:lnTo>
                    <a:pt x="7276" y="666"/>
                  </a:lnTo>
                  <a:lnTo>
                    <a:pt x="7267" y="709"/>
                  </a:lnTo>
                  <a:lnTo>
                    <a:pt x="6980" y="709"/>
                  </a:lnTo>
                  <a:lnTo>
                    <a:pt x="6980" y="42"/>
                  </a:lnTo>
                  <a:lnTo>
                    <a:pt x="6585" y="42"/>
                  </a:lnTo>
                  <a:close/>
                  <a:moveTo>
                    <a:pt x="7643" y="933"/>
                  </a:moveTo>
                  <a:lnTo>
                    <a:pt x="7644" y="900"/>
                  </a:lnTo>
                  <a:lnTo>
                    <a:pt x="7645" y="866"/>
                  </a:lnTo>
                  <a:lnTo>
                    <a:pt x="7649" y="835"/>
                  </a:lnTo>
                  <a:lnTo>
                    <a:pt x="7653" y="803"/>
                  </a:lnTo>
                  <a:lnTo>
                    <a:pt x="7658" y="773"/>
                  </a:lnTo>
                  <a:lnTo>
                    <a:pt x="7664" y="743"/>
                  </a:lnTo>
                  <a:lnTo>
                    <a:pt x="7672" y="715"/>
                  </a:lnTo>
                  <a:lnTo>
                    <a:pt x="7680" y="686"/>
                  </a:lnTo>
                  <a:lnTo>
                    <a:pt x="7690" y="660"/>
                  </a:lnTo>
                  <a:lnTo>
                    <a:pt x="7700" y="634"/>
                  </a:lnTo>
                  <a:lnTo>
                    <a:pt x="7713" y="610"/>
                  </a:lnTo>
                  <a:lnTo>
                    <a:pt x="7726" y="586"/>
                  </a:lnTo>
                  <a:lnTo>
                    <a:pt x="7740" y="563"/>
                  </a:lnTo>
                  <a:lnTo>
                    <a:pt x="7755" y="542"/>
                  </a:lnTo>
                  <a:lnTo>
                    <a:pt x="7772" y="521"/>
                  </a:lnTo>
                  <a:lnTo>
                    <a:pt x="7789" y="501"/>
                  </a:lnTo>
                  <a:lnTo>
                    <a:pt x="7807" y="483"/>
                  </a:lnTo>
                  <a:lnTo>
                    <a:pt x="7828" y="466"/>
                  </a:lnTo>
                  <a:lnTo>
                    <a:pt x="7848" y="449"/>
                  </a:lnTo>
                  <a:lnTo>
                    <a:pt x="7870" y="434"/>
                  </a:lnTo>
                  <a:lnTo>
                    <a:pt x="7893" y="420"/>
                  </a:lnTo>
                  <a:lnTo>
                    <a:pt x="7917" y="408"/>
                  </a:lnTo>
                  <a:lnTo>
                    <a:pt x="7942" y="396"/>
                  </a:lnTo>
                  <a:lnTo>
                    <a:pt x="7968" y="385"/>
                  </a:lnTo>
                  <a:lnTo>
                    <a:pt x="7995" y="375"/>
                  </a:lnTo>
                  <a:lnTo>
                    <a:pt x="8024" y="367"/>
                  </a:lnTo>
                  <a:lnTo>
                    <a:pt x="8053" y="361"/>
                  </a:lnTo>
                  <a:lnTo>
                    <a:pt x="8084" y="355"/>
                  </a:lnTo>
                  <a:lnTo>
                    <a:pt x="8115" y="351"/>
                  </a:lnTo>
                  <a:lnTo>
                    <a:pt x="8148" y="347"/>
                  </a:lnTo>
                  <a:lnTo>
                    <a:pt x="8182" y="345"/>
                  </a:lnTo>
                  <a:lnTo>
                    <a:pt x="8217" y="345"/>
                  </a:lnTo>
                  <a:lnTo>
                    <a:pt x="8252" y="345"/>
                  </a:lnTo>
                  <a:lnTo>
                    <a:pt x="8285" y="347"/>
                  </a:lnTo>
                  <a:lnTo>
                    <a:pt x="8318" y="351"/>
                  </a:lnTo>
                  <a:lnTo>
                    <a:pt x="8349" y="355"/>
                  </a:lnTo>
                  <a:lnTo>
                    <a:pt x="8380" y="361"/>
                  </a:lnTo>
                  <a:lnTo>
                    <a:pt x="8409" y="367"/>
                  </a:lnTo>
                  <a:lnTo>
                    <a:pt x="8438" y="375"/>
                  </a:lnTo>
                  <a:lnTo>
                    <a:pt x="8465" y="385"/>
                  </a:lnTo>
                  <a:lnTo>
                    <a:pt x="8492" y="396"/>
                  </a:lnTo>
                  <a:lnTo>
                    <a:pt x="8517" y="408"/>
                  </a:lnTo>
                  <a:lnTo>
                    <a:pt x="8540" y="420"/>
                  </a:lnTo>
                  <a:lnTo>
                    <a:pt x="8564" y="434"/>
                  </a:lnTo>
                  <a:lnTo>
                    <a:pt x="8585" y="449"/>
                  </a:lnTo>
                  <a:lnTo>
                    <a:pt x="8607" y="466"/>
                  </a:lnTo>
                  <a:lnTo>
                    <a:pt x="8626" y="483"/>
                  </a:lnTo>
                  <a:lnTo>
                    <a:pt x="8644" y="501"/>
                  </a:lnTo>
                  <a:lnTo>
                    <a:pt x="8662" y="521"/>
                  </a:lnTo>
                  <a:lnTo>
                    <a:pt x="8679" y="542"/>
                  </a:lnTo>
                  <a:lnTo>
                    <a:pt x="8694" y="563"/>
                  </a:lnTo>
                  <a:lnTo>
                    <a:pt x="8708" y="586"/>
                  </a:lnTo>
                  <a:lnTo>
                    <a:pt x="8720" y="610"/>
                  </a:lnTo>
                  <a:lnTo>
                    <a:pt x="8733" y="634"/>
                  </a:lnTo>
                  <a:lnTo>
                    <a:pt x="8744" y="660"/>
                  </a:lnTo>
                  <a:lnTo>
                    <a:pt x="8753" y="686"/>
                  </a:lnTo>
                  <a:lnTo>
                    <a:pt x="8762" y="715"/>
                  </a:lnTo>
                  <a:lnTo>
                    <a:pt x="8769" y="743"/>
                  </a:lnTo>
                  <a:lnTo>
                    <a:pt x="8775" y="773"/>
                  </a:lnTo>
                  <a:lnTo>
                    <a:pt x="8780" y="803"/>
                  </a:lnTo>
                  <a:lnTo>
                    <a:pt x="8785" y="835"/>
                  </a:lnTo>
                  <a:lnTo>
                    <a:pt x="8788" y="866"/>
                  </a:lnTo>
                  <a:lnTo>
                    <a:pt x="8790" y="900"/>
                  </a:lnTo>
                  <a:lnTo>
                    <a:pt x="8790" y="933"/>
                  </a:lnTo>
                  <a:lnTo>
                    <a:pt x="8790" y="968"/>
                  </a:lnTo>
                  <a:lnTo>
                    <a:pt x="8788" y="1001"/>
                  </a:lnTo>
                  <a:lnTo>
                    <a:pt x="8785" y="1033"/>
                  </a:lnTo>
                  <a:lnTo>
                    <a:pt x="8780" y="1065"/>
                  </a:lnTo>
                  <a:lnTo>
                    <a:pt x="8775" y="1095"/>
                  </a:lnTo>
                  <a:lnTo>
                    <a:pt x="8769" y="1125"/>
                  </a:lnTo>
                  <a:lnTo>
                    <a:pt x="8762" y="1153"/>
                  </a:lnTo>
                  <a:lnTo>
                    <a:pt x="8753" y="1181"/>
                  </a:lnTo>
                  <a:lnTo>
                    <a:pt x="8744" y="1207"/>
                  </a:lnTo>
                  <a:lnTo>
                    <a:pt x="8733" y="1233"/>
                  </a:lnTo>
                  <a:lnTo>
                    <a:pt x="8720" y="1258"/>
                  </a:lnTo>
                  <a:lnTo>
                    <a:pt x="8708" y="1281"/>
                  </a:lnTo>
                  <a:lnTo>
                    <a:pt x="8694" y="1305"/>
                  </a:lnTo>
                  <a:lnTo>
                    <a:pt x="8679" y="1326"/>
                  </a:lnTo>
                  <a:lnTo>
                    <a:pt x="8662" y="1346"/>
                  </a:lnTo>
                  <a:lnTo>
                    <a:pt x="8644" y="1366"/>
                  </a:lnTo>
                  <a:lnTo>
                    <a:pt x="8626" y="1385"/>
                  </a:lnTo>
                  <a:lnTo>
                    <a:pt x="8607" y="1402"/>
                  </a:lnTo>
                  <a:lnTo>
                    <a:pt x="8585" y="1418"/>
                  </a:lnTo>
                  <a:lnTo>
                    <a:pt x="8564" y="1434"/>
                  </a:lnTo>
                  <a:lnTo>
                    <a:pt x="8540" y="1447"/>
                  </a:lnTo>
                  <a:lnTo>
                    <a:pt x="8517" y="1460"/>
                  </a:lnTo>
                  <a:lnTo>
                    <a:pt x="8492" y="1472"/>
                  </a:lnTo>
                  <a:lnTo>
                    <a:pt x="8465" y="1483"/>
                  </a:lnTo>
                  <a:lnTo>
                    <a:pt x="8438" y="1492"/>
                  </a:lnTo>
                  <a:lnTo>
                    <a:pt x="8409" y="1500"/>
                  </a:lnTo>
                  <a:lnTo>
                    <a:pt x="8380" y="1507"/>
                  </a:lnTo>
                  <a:lnTo>
                    <a:pt x="8349" y="1513"/>
                  </a:lnTo>
                  <a:lnTo>
                    <a:pt x="8318" y="1517"/>
                  </a:lnTo>
                  <a:lnTo>
                    <a:pt x="8285" y="1520"/>
                  </a:lnTo>
                  <a:lnTo>
                    <a:pt x="8252" y="1522"/>
                  </a:lnTo>
                  <a:lnTo>
                    <a:pt x="8217" y="1523"/>
                  </a:lnTo>
                  <a:lnTo>
                    <a:pt x="8182" y="1522"/>
                  </a:lnTo>
                  <a:lnTo>
                    <a:pt x="8148" y="1520"/>
                  </a:lnTo>
                  <a:lnTo>
                    <a:pt x="8115" y="1517"/>
                  </a:lnTo>
                  <a:lnTo>
                    <a:pt x="8084" y="1513"/>
                  </a:lnTo>
                  <a:lnTo>
                    <a:pt x="8053" y="1507"/>
                  </a:lnTo>
                  <a:lnTo>
                    <a:pt x="8024" y="1500"/>
                  </a:lnTo>
                  <a:lnTo>
                    <a:pt x="7995" y="1492"/>
                  </a:lnTo>
                  <a:lnTo>
                    <a:pt x="7968" y="1483"/>
                  </a:lnTo>
                  <a:lnTo>
                    <a:pt x="7942" y="1472"/>
                  </a:lnTo>
                  <a:lnTo>
                    <a:pt x="7917" y="1460"/>
                  </a:lnTo>
                  <a:lnTo>
                    <a:pt x="7893" y="1447"/>
                  </a:lnTo>
                  <a:lnTo>
                    <a:pt x="7870" y="1434"/>
                  </a:lnTo>
                  <a:lnTo>
                    <a:pt x="7848" y="1418"/>
                  </a:lnTo>
                  <a:lnTo>
                    <a:pt x="7828" y="1402"/>
                  </a:lnTo>
                  <a:lnTo>
                    <a:pt x="7807" y="1385"/>
                  </a:lnTo>
                  <a:lnTo>
                    <a:pt x="7789" y="1366"/>
                  </a:lnTo>
                  <a:lnTo>
                    <a:pt x="7772" y="1346"/>
                  </a:lnTo>
                  <a:lnTo>
                    <a:pt x="7755" y="1326"/>
                  </a:lnTo>
                  <a:lnTo>
                    <a:pt x="7740" y="1305"/>
                  </a:lnTo>
                  <a:lnTo>
                    <a:pt x="7726" y="1281"/>
                  </a:lnTo>
                  <a:lnTo>
                    <a:pt x="7713" y="1258"/>
                  </a:lnTo>
                  <a:lnTo>
                    <a:pt x="7700" y="1233"/>
                  </a:lnTo>
                  <a:lnTo>
                    <a:pt x="7690" y="1207"/>
                  </a:lnTo>
                  <a:lnTo>
                    <a:pt x="7680" y="1181"/>
                  </a:lnTo>
                  <a:lnTo>
                    <a:pt x="7672" y="1153"/>
                  </a:lnTo>
                  <a:lnTo>
                    <a:pt x="7664" y="1125"/>
                  </a:lnTo>
                  <a:lnTo>
                    <a:pt x="7658" y="1095"/>
                  </a:lnTo>
                  <a:lnTo>
                    <a:pt x="7653" y="1065"/>
                  </a:lnTo>
                  <a:lnTo>
                    <a:pt x="7649" y="1033"/>
                  </a:lnTo>
                  <a:lnTo>
                    <a:pt x="7645" y="1001"/>
                  </a:lnTo>
                  <a:lnTo>
                    <a:pt x="7644" y="968"/>
                  </a:lnTo>
                  <a:lnTo>
                    <a:pt x="7643" y="933"/>
                  </a:lnTo>
                  <a:close/>
                  <a:moveTo>
                    <a:pt x="11327" y="477"/>
                  </a:moveTo>
                  <a:lnTo>
                    <a:pt x="11310" y="447"/>
                  </a:lnTo>
                  <a:lnTo>
                    <a:pt x="11291" y="420"/>
                  </a:lnTo>
                  <a:lnTo>
                    <a:pt x="11272" y="392"/>
                  </a:lnTo>
                  <a:lnTo>
                    <a:pt x="11253" y="366"/>
                  </a:lnTo>
                  <a:lnTo>
                    <a:pt x="11232" y="341"/>
                  </a:lnTo>
                  <a:lnTo>
                    <a:pt x="11211" y="316"/>
                  </a:lnTo>
                  <a:lnTo>
                    <a:pt x="11190" y="293"/>
                  </a:lnTo>
                  <a:lnTo>
                    <a:pt x="11167" y="270"/>
                  </a:lnTo>
                  <a:lnTo>
                    <a:pt x="11144" y="248"/>
                  </a:lnTo>
                  <a:lnTo>
                    <a:pt x="11121" y="228"/>
                  </a:lnTo>
                  <a:lnTo>
                    <a:pt x="11096" y="207"/>
                  </a:lnTo>
                  <a:lnTo>
                    <a:pt x="11071" y="188"/>
                  </a:lnTo>
                  <a:lnTo>
                    <a:pt x="11045" y="171"/>
                  </a:lnTo>
                  <a:lnTo>
                    <a:pt x="11018" y="154"/>
                  </a:lnTo>
                  <a:lnTo>
                    <a:pt x="10991" y="136"/>
                  </a:lnTo>
                  <a:lnTo>
                    <a:pt x="10963" y="121"/>
                  </a:lnTo>
                  <a:lnTo>
                    <a:pt x="10934" y="107"/>
                  </a:lnTo>
                  <a:lnTo>
                    <a:pt x="10905" y="93"/>
                  </a:lnTo>
                  <a:lnTo>
                    <a:pt x="10875" y="80"/>
                  </a:lnTo>
                  <a:lnTo>
                    <a:pt x="10845" y="68"/>
                  </a:lnTo>
                  <a:lnTo>
                    <a:pt x="10813" y="58"/>
                  </a:lnTo>
                  <a:lnTo>
                    <a:pt x="10782" y="48"/>
                  </a:lnTo>
                  <a:lnTo>
                    <a:pt x="10749" y="39"/>
                  </a:lnTo>
                  <a:lnTo>
                    <a:pt x="10716" y="30"/>
                  </a:lnTo>
                  <a:lnTo>
                    <a:pt x="10682" y="23"/>
                  </a:lnTo>
                  <a:lnTo>
                    <a:pt x="10648" y="17"/>
                  </a:lnTo>
                  <a:lnTo>
                    <a:pt x="10612" y="12"/>
                  </a:lnTo>
                  <a:lnTo>
                    <a:pt x="10576" y="8"/>
                  </a:lnTo>
                  <a:lnTo>
                    <a:pt x="10540" y="4"/>
                  </a:lnTo>
                  <a:lnTo>
                    <a:pt x="10502" y="2"/>
                  </a:lnTo>
                  <a:lnTo>
                    <a:pt x="10465" y="1"/>
                  </a:lnTo>
                  <a:lnTo>
                    <a:pt x="10426" y="0"/>
                  </a:lnTo>
                  <a:lnTo>
                    <a:pt x="10373" y="1"/>
                  </a:lnTo>
                  <a:lnTo>
                    <a:pt x="10322" y="4"/>
                  </a:lnTo>
                  <a:lnTo>
                    <a:pt x="10271" y="9"/>
                  </a:lnTo>
                  <a:lnTo>
                    <a:pt x="10222" y="16"/>
                  </a:lnTo>
                  <a:lnTo>
                    <a:pt x="10174" y="25"/>
                  </a:lnTo>
                  <a:lnTo>
                    <a:pt x="10126" y="37"/>
                  </a:lnTo>
                  <a:lnTo>
                    <a:pt x="10079" y="50"/>
                  </a:lnTo>
                  <a:lnTo>
                    <a:pt x="10033" y="65"/>
                  </a:lnTo>
                  <a:lnTo>
                    <a:pt x="9990" y="81"/>
                  </a:lnTo>
                  <a:lnTo>
                    <a:pt x="9947" y="101"/>
                  </a:lnTo>
                  <a:lnTo>
                    <a:pt x="9905" y="121"/>
                  </a:lnTo>
                  <a:lnTo>
                    <a:pt x="9865" y="143"/>
                  </a:lnTo>
                  <a:lnTo>
                    <a:pt x="9826" y="168"/>
                  </a:lnTo>
                  <a:lnTo>
                    <a:pt x="9788" y="194"/>
                  </a:lnTo>
                  <a:lnTo>
                    <a:pt x="9753" y="222"/>
                  </a:lnTo>
                  <a:lnTo>
                    <a:pt x="9718" y="251"/>
                  </a:lnTo>
                  <a:lnTo>
                    <a:pt x="9686" y="282"/>
                  </a:lnTo>
                  <a:lnTo>
                    <a:pt x="9654" y="314"/>
                  </a:lnTo>
                  <a:lnTo>
                    <a:pt x="9626" y="349"/>
                  </a:lnTo>
                  <a:lnTo>
                    <a:pt x="9598" y="385"/>
                  </a:lnTo>
                  <a:lnTo>
                    <a:pt x="9572" y="423"/>
                  </a:lnTo>
                  <a:lnTo>
                    <a:pt x="9548" y="462"/>
                  </a:lnTo>
                  <a:lnTo>
                    <a:pt x="9527" y="502"/>
                  </a:lnTo>
                  <a:lnTo>
                    <a:pt x="9508" y="545"/>
                  </a:lnTo>
                  <a:lnTo>
                    <a:pt x="9489" y="589"/>
                  </a:lnTo>
                  <a:lnTo>
                    <a:pt x="9474" y="633"/>
                  </a:lnTo>
                  <a:lnTo>
                    <a:pt x="9461" y="680"/>
                  </a:lnTo>
                  <a:lnTo>
                    <a:pt x="9451" y="728"/>
                  </a:lnTo>
                  <a:lnTo>
                    <a:pt x="9441" y="778"/>
                  </a:lnTo>
                  <a:lnTo>
                    <a:pt x="9435" y="829"/>
                  </a:lnTo>
                  <a:lnTo>
                    <a:pt x="9432" y="881"/>
                  </a:lnTo>
                  <a:lnTo>
                    <a:pt x="9430" y="933"/>
                  </a:lnTo>
                  <a:lnTo>
                    <a:pt x="9431" y="987"/>
                  </a:lnTo>
                  <a:lnTo>
                    <a:pt x="9435" y="1039"/>
                  </a:lnTo>
                  <a:lnTo>
                    <a:pt x="9441" y="1090"/>
                  </a:lnTo>
                  <a:lnTo>
                    <a:pt x="9450" y="1139"/>
                  </a:lnTo>
                  <a:lnTo>
                    <a:pt x="9461" y="1188"/>
                  </a:lnTo>
                  <a:lnTo>
                    <a:pt x="9474" y="1234"/>
                  </a:lnTo>
                  <a:lnTo>
                    <a:pt x="9488" y="1279"/>
                  </a:lnTo>
                  <a:lnTo>
                    <a:pt x="9506" y="1323"/>
                  </a:lnTo>
                  <a:lnTo>
                    <a:pt x="9525" y="1365"/>
                  </a:lnTo>
                  <a:lnTo>
                    <a:pt x="9546" y="1405"/>
                  </a:lnTo>
                  <a:lnTo>
                    <a:pt x="9570" y="1445"/>
                  </a:lnTo>
                  <a:lnTo>
                    <a:pt x="9595" y="1483"/>
                  </a:lnTo>
                  <a:lnTo>
                    <a:pt x="9623" y="1518"/>
                  </a:lnTo>
                  <a:lnTo>
                    <a:pt x="9651" y="1553"/>
                  </a:lnTo>
                  <a:lnTo>
                    <a:pt x="9681" y="1585"/>
                  </a:lnTo>
                  <a:lnTo>
                    <a:pt x="9714" y="1617"/>
                  </a:lnTo>
                  <a:lnTo>
                    <a:pt x="9749" y="1646"/>
                  </a:lnTo>
                  <a:lnTo>
                    <a:pt x="9784" y="1674"/>
                  </a:lnTo>
                  <a:lnTo>
                    <a:pt x="9822" y="1700"/>
                  </a:lnTo>
                  <a:lnTo>
                    <a:pt x="9860" y="1724"/>
                  </a:lnTo>
                  <a:lnTo>
                    <a:pt x="9900" y="1746"/>
                  </a:lnTo>
                  <a:lnTo>
                    <a:pt x="9942" y="1767"/>
                  </a:lnTo>
                  <a:lnTo>
                    <a:pt x="9986" y="1786"/>
                  </a:lnTo>
                  <a:lnTo>
                    <a:pt x="10029" y="1803"/>
                  </a:lnTo>
                  <a:lnTo>
                    <a:pt x="10075" y="1818"/>
                  </a:lnTo>
                  <a:lnTo>
                    <a:pt x="10122" y="1830"/>
                  </a:lnTo>
                  <a:lnTo>
                    <a:pt x="10170" y="1841"/>
                  </a:lnTo>
                  <a:lnTo>
                    <a:pt x="10219" y="1851"/>
                  </a:lnTo>
                  <a:lnTo>
                    <a:pt x="10269" y="1858"/>
                  </a:lnTo>
                  <a:lnTo>
                    <a:pt x="10320" y="1863"/>
                  </a:lnTo>
                  <a:lnTo>
                    <a:pt x="10372" y="1867"/>
                  </a:lnTo>
                  <a:lnTo>
                    <a:pt x="10426" y="1868"/>
                  </a:lnTo>
                  <a:lnTo>
                    <a:pt x="10465" y="1867"/>
                  </a:lnTo>
                  <a:lnTo>
                    <a:pt x="10502" y="1866"/>
                  </a:lnTo>
                  <a:lnTo>
                    <a:pt x="10540" y="1863"/>
                  </a:lnTo>
                  <a:lnTo>
                    <a:pt x="10576" y="1860"/>
                  </a:lnTo>
                  <a:lnTo>
                    <a:pt x="10612" y="1856"/>
                  </a:lnTo>
                  <a:lnTo>
                    <a:pt x="10648" y="1851"/>
                  </a:lnTo>
                  <a:lnTo>
                    <a:pt x="10682" y="1845"/>
                  </a:lnTo>
                  <a:lnTo>
                    <a:pt x="10716" y="1837"/>
                  </a:lnTo>
                  <a:lnTo>
                    <a:pt x="10749" y="1829"/>
                  </a:lnTo>
                  <a:lnTo>
                    <a:pt x="10782" y="1820"/>
                  </a:lnTo>
                  <a:lnTo>
                    <a:pt x="10813" y="1810"/>
                  </a:lnTo>
                  <a:lnTo>
                    <a:pt x="10845" y="1799"/>
                  </a:lnTo>
                  <a:lnTo>
                    <a:pt x="10875" y="1788"/>
                  </a:lnTo>
                  <a:lnTo>
                    <a:pt x="10905" y="1774"/>
                  </a:lnTo>
                  <a:lnTo>
                    <a:pt x="10934" y="1761"/>
                  </a:lnTo>
                  <a:lnTo>
                    <a:pt x="10963" y="1746"/>
                  </a:lnTo>
                  <a:lnTo>
                    <a:pt x="10991" y="1731"/>
                  </a:lnTo>
                  <a:lnTo>
                    <a:pt x="11018" y="1714"/>
                  </a:lnTo>
                  <a:lnTo>
                    <a:pt x="11045" y="1697"/>
                  </a:lnTo>
                  <a:lnTo>
                    <a:pt x="11071" y="1679"/>
                  </a:lnTo>
                  <a:lnTo>
                    <a:pt x="11096" y="1659"/>
                  </a:lnTo>
                  <a:lnTo>
                    <a:pt x="11121" y="1640"/>
                  </a:lnTo>
                  <a:lnTo>
                    <a:pt x="11144" y="1619"/>
                  </a:lnTo>
                  <a:lnTo>
                    <a:pt x="11167" y="1597"/>
                  </a:lnTo>
                  <a:lnTo>
                    <a:pt x="11190" y="1574"/>
                  </a:lnTo>
                  <a:lnTo>
                    <a:pt x="11211" y="1551"/>
                  </a:lnTo>
                  <a:lnTo>
                    <a:pt x="11232" y="1526"/>
                  </a:lnTo>
                  <a:lnTo>
                    <a:pt x="11253" y="1501"/>
                  </a:lnTo>
                  <a:lnTo>
                    <a:pt x="11272" y="1474"/>
                  </a:lnTo>
                  <a:lnTo>
                    <a:pt x="11291" y="1448"/>
                  </a:lnTo>
                  <a:lnTo>
                    <a:pt x="11310" y="1419"/>
                  </a:lnTo>
                  <a:lnTo>
                    <a:pt x="11327" y="1391"/>
                  </a:lnTo>
                  <a:lnTo>
                    <a:pt x="11015" y="1211"/>
                  </a:lnTo>
                  <a:lnTo>
                    <a:pt x="11002" y="1228"/>
                  </a:lnTo>
                  <a:lnTo>
                    <a:pt x="10988" y="1246"/>
                  </a:lnTo>
                  <a:lnTo>
                    <a:pt x="10975" y="1263"/>
                  </a:lnTo>
                  <a:lnTo>
                    <a:pt x="10962" y="1279"/>
                  </a:lnTo>
                  <a:lnTo>
                    <a:pt x="10948" y="1294"/>
                  </a:lnTo>
                  <a:lnTo>
                    <a:pt x="10933" y="1310"/>
                  </a:lnTo>
                  <a:lnTo>
                    <a:pt x="10919" y="1325"/>
                  </a:lnTo>
                  <a:lnTo>
                    <a:pt x="10904" y="1339"/>
                  </a:lnTo>
                  <a:lnTo>
                    <a:pt x="10890" y="1352"/>
                  </a:lnTo>
                  <a:lnTo>
                    <a:pt x="10873" y="1366"/>
                  </a:lnTo>
                  <a:lnTo>
                    <a:pt x="10858" y="1378"/>
                  </a:lnTo>
                  <a:lnTo>
                    <a:pt x="10842" y="1390"/>
                  </a:lnTo>
                  <a:lnTo>
                    <a:pt x="10825" y="1402"/>
                  </a:lnTo>
                  <a:lnTo>
                    <a:pt x="10807" y="1412"/>
                  </a:lnTo>
                  <a:lnTo>
                    <a:pt x="10790" y="1423"/>
                  </a:lnTo>
                  <a:lnTo>
                    <a:pt x="10773" y="1433"/>
                  </a:lnTo>
                  <a:lnTo>
                    <a:pt x="10754" y="1442"/>
                  </a:lnTo>
                  <a:lnTo>
                    <a:pt x="10735" y="1451"/>
                  </a:lnTo>
                  <a:lnTo>
                    <a:pt x="10716" y="1459"/>
                  </a:lnTo>
                  <a:lnTo>
                    <a:pt x="10696" y="1466"/>
                  </a:lnTo>
                  <a:lnTo>
                    <a:pt x="10676" y="1473"/>
                  </a:lnTo>
                  <a:lnTo>
                    <a:pt x="10656" y="1479"/>
                  </a:lnTo>
                  <a:lnTo>
                    <a:pt x="10634" y="1486"/>
                  </a:lnTo>
                  <a:lnTo>
                    <a:pt x="10613" y="1491"/>
                  </a:lnTo>
                  <a:lnTo>
                    <a:pt x="10591" y="1495"/>
                  </a:lnTo>
                  <a:lnTo>
                    <a:pt x="10567" y="1499"/>
                  </a:lnTo>
                  <a:lnTo>
                    <a:pt x="10544" y="1502"/>
                  </a:lnTo>
                  <a:lnTo>
                    <a:pt x="10521" y="1505"/>
                  </a:lnTo>
                  <a:lnTo>
                    <a:pt x="10496" y="1507"/>
                  </a:lnTo>
                  <a:lnTo>
                    <a:pt x="10471" y="1509"/>
                  </a:lnTo>
                  <a:lnTo>
                    <a:pt x="10445" y="1510"/>
                  </a:lnTo>
                  <a:lnTo>
                    <a:pt x="10419" y="1510"/>
                  </a:lnTo>
                  <a:lnTo>
                    <a:pt x="10386" y="1509"/>
                  </a:lnTo>
                  <a:lnTo>
                    <a:pt x="10355" y="1507"/>
                  </a:lnTo>
                  <a:lnTo>
                    <a:pt x="10324" y="1504"/>
                  </a:lnTo>
                  <a:lnTo>
                    <a:pt x="10294" y="1500"/>
                  </a:lnTo>
                  <a:lnTo>
                    <a:pt x="10264" y="1494"/>
                  </a:lnTo>
                  <a:lnTo>
                    <a:pt x="10236" y="1487"/>
                  </a:lnTo>
                  <a:lnTo>
                    <a:pt x="10207" y="1478"/>
                  </a:lnTo>
                  <a:lnTo>
                    <a:pt x="10180" y="1468"/>
                  </a:lnTo>
                  <a:lnTo>
                    <a:pt x="10153" y="1458"/>
                  </a:lnTo>
                  <a:lnTo>
                    <a:pt x="10128" y="1446"/>
                  </a:lnTo>
                  <a:lnTo>
                    <a:pt x="10104" y="1433"/>
                  </a:lnTo>
                  <a:lnTo>
                    <a:pt x="10080" y="1418"/>
                  </a:lnTo>
                  <a:lnTo>
                    <a:pt x="10057" y="1403"/>
                  </a:lnTo>
                  <a:lnTo>
                    <a:pt x="10035" y="1387"/>
                  </a:lnTo>
                  <a:lnTo>
                    <a:pt x="10014" y="1370"/>
                  </a:lnTo>
                  <a:lnTo>
                    <a:pt x="9994" y="1351"/>
                  </a:lnTo>
                  <a:lnTo>
                    <a:pt x="9975" y="1332"/>
                  </a:lnTo>
                  <a:lnTo>
                    <a:pt x="9957" y="1312"/>
                  </a:lnTo>
                  <a:lnTo>
                    <a:pt x="9941" y="1289"/>
                  </a:lnTo>
                  <a:lnTo>
                    <a:pt x="9925" y="1268"/>
                  </a:lnTo>
                  <a:lnTo>
                    <a:pt x="9910" y="1245"/>
                  </a:lnTo>
                  <a:lnTo>
                    <a:pt x="9896" y="1220"/>
                  </a:lnTo>
                  <a:lnTo>
                    <a:pt x="9884" y="1195"/>
                  </a:lnTo>
                  <a:lnTo>
                    <a:pt x="9873" y="1169"/>
                  </a:lnTo>
                  <a:lnTo>
                    <a:pt x="9864" y="1143"/>
                  </a:lnTo>
                  <a:lnTo>
                    <a:pt x="9854" y="1114"/>
                  </a:lnTo>
                  <a:lnTo>
                    <a:pt x="9847" y="1087"/>
                  </a:lnTo>
                  <a:lnTo>
                    <a:pt x="9841" y="1057"/>
                  </a:lnTo>
                  <a:lnTo>
                    <a:pt x="9836" y="1028"/>
                  </a:lnTo>
                  <a:lnTo>
                    <a:pt x="9833" y="998"/>
                  </a:lnTo>
                  <a:lnTo>
                    <a:pt x="9831" y="966"/>
                  </a:lnTo>
                  <a:lnTo>
                    <a:pt x="9830" y="933"/>
                  </a:lnTo>
                  <a:lnTo>
                    <a:pt x="9831" y="901"/>
                  </a:lnTo>
                  <a:lnTo>
                    <a:pt x="9833" y="869"/>
                  </a:lnTo>
                  <a:lnTo>
                    <a:pt x="9836" y="839"/>
                  </a:lnTo>
                  <a:lnTo>
                    <a:pt x="9840" y="808"/>
                  </a:lnTo>
                  <a:lnTo>
                    <a:pt x="9846" y="779"/>
                  </a:lnTo>
                  <a:lnTo>
                    <a:pt x="9853" y="750"/>
                  </a:lnTo>
                  <a:lnTo>
                    <a:pt x="9863" y="723"/>
                  </a:lnTo>
                  <a:lnTo>
                    <a:pt x="9872" y="696"/>
                  </a:lnTo>
                  <a:lnTo>
                    <a:pt x="9883" y="670"/>
                  </a:lnTo>
                  <a:lnTo>
                    <a:pt x="9894" y="645"/>
                  </a:lnTo>
                  <a:lnTo>
                    <a:pt x="9907" y="620"/>
                  </a:lnTo>
                  <a:lnTo>
                    <a:pt x="9923" y="597"/>
                  </a:lnTo>
                  <a:lnTo>
                    <a:pt x="9938" y="575"/>
                  </a:lnTo>
                  <a:lnTo>
                    <a:pt x="9954" y="553"/>
                  </a:lnTo>
                  <a:lnTo>
                    <a:pt x="9971" y="533"/>
                  </a:lnTo>
                  <a:lnTo>
                    <a:pt x="9991" y="513"/>
                  </a:lnTo>
                  <a:lnTo>
                    <a:pt x="10010" y="496"/>
                  </a:lnTo>
                  <a:lnTo>
                    <a:pt x="10031" y="479"/>
                  </a:lnTo>
                  <a:lnTo>
                    <a:pt x="10053" y="463"/>
                  </a:lnTo>
                  <a:lnTo>
                    <a:pt x="10075" y="447"/>
                  </a:lnTo>
                  <a:lnTo>
                    <a:pt x="10099" y="433"/>
                  </a:lnTo>
                  <a:lnTo>
                    <a:pt x="10124" y="420"/>
                  </a:lnTo>
                  <a:lnTo>
                    <a:pt x="10149" y="409"/>
                  </a:lnTo>
                  <a:lnTo>
                    <a:pt x="10176" y="399"/>
                  </a:lnTo>
                  <a:lnTo>
                    <a:pt x="10203" y="388"/>
                  </a:lnTo>
                  <a:lnTo>
                    <a:pt x="10232" y="380"/>
                  </a:lnTo>
                  <a:lnTo>
                    <a:pt x="10261" y="373"/>
                  </a:lnTo>
                  <a:lnTo>
                    <a:pt x="10291" y="368"/>
                  </a:lnTo>
                  <a:lnTo>
                    <a:pt x="10322" y="363"/>
                  </a:lnTo>
                  <a:lnTo>
                    <a:pt x="10354" y="360"/>
                  </a:lnTo>
                  <a:lnTo>
                    <a:pt x="10386" y="358"/>
                  </a:lnTo>
                  <a:lnTo>
                    <a:pt x="10419" y="358"/>
                  </a:lnTo>
                  <a:lnTo>
                    <a:pt x="10445" y="358"/>
                  </a:lnTo>
                  <a:lnTo>
                    <a:pt x="10471" y="359"/>
                  </a:lnTo>
                  <a:lnTo>
                    <a:pt x="10496" y="360"/>
                  </a:lnTo>
                  <a:lnTo>
                    <a:pt x="10521" y="362"/>
                  </a:lnTo>
                  <a:lnTo>
                    <a:pt x="10544" y="365"/>
                  </a:lnTo>
                  <a:lnTo>
                    <a:pt x="10567" y="368"/>
                  </a:lnTo>
                  <a:lnTo>
                    <a:pt x="10591" y="372"/>
                  </a:lnTo>
                  <a:lnTo>
                    <a:pt x="10613" y="377"/>
                  </a:lnTo>
                  <a:lnTo>
                    <a:pt x="10634" y="382"/>
                  </a:lnTo>
                  <a:lnTo>
                    <a:pt x="10656" y="388"/>
                  </a:lnTo>
                  <a:lnTo>
                    <a:pt x="10676" y="395"/>
                  </a:lnTo>
                  <a:lnTo>
                    <a:pt x="10696" y="402"/>
                  </a:lnTo>
                  <a:lnTo>
                    <a:pt x="10716" y="409"/>
                  </a:lnTo>
                  <a:lnTo>
                    <a:pt x="10735" y="417"/>
                  </a:lnTo>
                  <a:lnTo>
                    <a:pt x="10754" y="425"/>
                  </a:lnTo>
                  <a:lnTo>
                    <a:pt x="10773" y="435"/>
                  </a:lnTo>
                  <a:lnTo>
                    <a:pt x="10790" y="444"/>
                  </a:lnTo>
                  <a:lnTo>
                    <a:pt x="10807" y="455"/>
                  </a:lnTo>
                  <a:lnTo>
                    <a:pt x="10825" y="466"/>
                  </a:lnTo>
                  <a:lnTo>
                    <a:pt x="10842" y="477"/>
                  </a:lnTo>
                  <a:lnTo>
                    <a:pt x="10858" y="489"/>
                  </a:lnTo>
                  <a:lnTo>
                    <a:pt x="10873" y="502"/>
                  </a:lnTo>
                  <a:lnTo>
                    <a:pt x="10890" y="515"/>
                  </a:lnTo>
                  <a:lnTo>
                    <a:pt x="10904" y="529"/>
                  </a:lnTo>
                  <a:lnTo>
                    <a:pt x="10919" y="543"/>
                  </a:lnTo>
                  <a:lnTo>
                    <a:pt x="10933" y="557"/>
                  </a:lnTo>
                  <a:lnTo>
                    <a:pt x="10948" y="572"/>
                  </a:lnTo>
                  <a:lnTo>
                    <a:pt x="10962" y="589"/>
                  </a:lnTo>
                  <a:lnTo>
                    <a:pt x="10975" y="605"/>
                  </a:lnTo>
                  <a:lnTo>
                    <a:pt x="10988" y="621"/>
                  </a:lnTo>
                  <a:lnTo>
                    <a:pt x="11002" y="639"/>
                  </a:lnTo>
                  <a:lnTo>
                    <a:pt x="11015" y="657"/>
                  </a:lnTo>
                  <a:lnTo>
                    <a:pt x="11327" y="4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7" name="Freeform 6"/>
            <p:cNvSpPr>
              <a:spLocks noEditPoints="1"/>
            </p:cNvSpPr>
            <p:nvPr userDrawn="1"/>
          </p:nvSpPr>
          <p:spPr bwMode="auto">
            <a:xfrm>
              <a:off x="490538" y="487363"/>
              <a:ext cx="466725" cy="455612"/>
            </a:xfrm>
            <a:custGeom>
              <a:avLst/>
              <a:gdLst>
                <a:gd name="T0" fmla="*/ 1853 w 3532"/>
                <a:gd name="T1" fmla="*/ 1336 h 3444"/>
                <a:gd name="T2" fmla="*/ 1828 w 3532"/>
                <a:gd name="T3" fmla="*/ 1351 h 3444"/>
                <a:gd name="T4" fmla="*/ 1795 w 3532"/>
                <a:gd name="T5" fmla="*/ 1349 h 3444"/>
                <a:gd name="T6" fmla="*/ 1104 w 3532"/>
                <a:gd name="T7" fmla="*/ 1069 h 3444"/>
                <a:gd name="T8" fmla="*/ 1071 w 3532"/>
                <a:gd name="T9" fmla="*/ 1010 h 3444"/>
                <a:gd name="T10" fmla="*/ 1204 w 3532"/>
                <a:gd name="T11" fmla="*/ 141 h 3444"/>
                <a:gd name="T12" fmla="*/ 1231 w 3532"/>
                <a:gd name="T13" fmla="*/ 77 h 3444"/>
                <a:gd name="T14" fmla="*/ 1287 w 3532"/>
                <a:gd name="T15" fmla="*/ 37 h 3444"/>
                <a:gd name="T16" fmla="*/ 2026 w 3532"/>
                <a:gd name="T17" fmla="*/ 0 h 3444"/>
                <a:gd name="T18" fmla="*/ 2055 w 3532"/>
                <a:gd name="T19" fmla="*/ 11 h 3444"/>
                <a:gd name="T20" fmla="*/ 2072 w 3532"/>
                <a:gd name="T21" fmla="*/ 37 h 3444"/>
                <a:gd name="T22" fmla="*/ 1399 w 3532"/>
                <a:gd name="T23" fmla="*/ 1554 h 3444"/>
                <a:gd name="T24" fmla="*/ 1417 w 3532"/>
                <a:gd name="T25" fmla="*/ 1578 h 3444"/>
                <a:gd name="T26" fmla="*/ 1414 w 3532"/>
                <a:gd name="T27" fmla="*/ 1610 h 3444"/>
                <a:gd name="T28" fmla="*/ 958 w 3532"/>
                <a:gd name="T29" fmla="*/ 2172 h 3444"/>
                <a:gd name="T30" fmla="*/ 893 w 3532"/>
                <a:gd name="T31" fmla="*/ 2208 h 3444"/>
                <a:gd name="T32" fmla="*/ 826 w 3532"/>
                <a:gd name="T33" fmla="*/ 2201 h 3444"/>
                <a:gd name="T34" fmla="*/ 45 w 3532"/>
                <a:gd name="T35" fmla="*/ 1796 h 3444"/>
                <a:gd name="T36" fmla="*/ 6 w 3532"/>
                <a:gd name="T37" fmla="*/ 1741 h 3444"/>
                <a:gd name="T38" fmla="*/ 4 w 3532"/>
                <a:gd name="T39" fmla="*/ 1664 h 3444"/>
                <a:gd name="T40" fmla="*/ 200 w 3532"/>
                <a:gd name="T41" fmla="*/ 976 h 3444"/>
                <a:gd name="T42" fmla="*/ 226 w 3532"/>
                <a:gd name="T43" fmla="*/ 959 h 3444"/>
                <a:gd name="T44" fmla="*/ 255 w 3532"/>
                <a:gd name="T45" fmla="*/ 963 h 3444"/>
                <a:gd name="T46" fmla="*/ 1491 w 3532"/>
                <a:gd name="T47" fmla="*/ 2055 h 3444"/>
                <a:gd name="T48" fmla="*/ 1521 w 3532"/>
                <a:gd name="T49" fmla="*/ 2057 h 3444"/>
                <a:gd name="T50" fmla="*/ 1546 w 3532"/>
                <a:gd name="T51" fmla="*/ 2077 h 3444"/>
                <a:gd name="T52" fmla="*/ 1940 w 3532"/>
                <a:gd name="T53" fmla="*/ 2711 h 3444"/>
                <a:gd name="T54" fmla="*/ 1933 w 3532"/>
                <a:gd name="T55" fmla="*/ 2779 h 3444"/>
                <a:gd name="T56" fmla="*/ 1315 w 3532"/>
                <a:gd name="T57" fmla="*/ 3402 h 3444"/>
                <a:gd name="T58" fmla="*/ 1256 w 3532"/>
                <a:gd name="T59" fmla="*/ 3439 h 3444"/>
                <a:gd name="T60" fmla="*/ 1187 w 3532"/>
                <a:gd name="T61" fmla="*/ 3439 h 3444"/>
                <a:gd name="T62" fmla="*/ 567 w 3532"/>
                <a:gd name="T63" fmla="*/ 3035 h 3444"/>
                <a:gd name="T64" fmla="*/ 549 w 3532"/>
                <a:gd name="T65" fmla="*/ 3009 h 3444"/>
                <a:gd name="T66" fmla="*/ 551 w 3532"/>
                <a:gd name="T67" fmla="*/ 2978 h 3444"/>
                <a:gd name="T68" fmla="*/ 1987 w 3532"/>
                <a:gd name="T69" fmla="*/ 2144 h 3444"/>
                <a:gd name="T70" fmla="*/ 1988 w 3532"/>
                <a:gd name="T71" fmla="*/ 2114 h 3444"/>
                <a:gd name="T72" fmla="*/ 2009 w 3532"/>
                <a:gd name="T73" fmla="*/ 2091 h 3444"/>
                <a:gd name="T74" fmla="*/ 2707 w 3532"/>
                <a:gd name="T75" fmla="*/ 1899 h 3444"/>
                <a:gd name="T76" fmla="*/ 2780 w 3532"/>
                <a:gd name="T77" fmla="*/ 1910 h 3444"/>
                <a:gd name="T78" fmla="*/ 2832 w 3532"/>
                <a:gd name="T79" fmla="*/ 1953 h 3444"/>
                <a:gd name="T80" fmla="*/ 3229 w 3532"/>
                <a:gd name="T81" fmla="*/ 2739 h 3444"/>
                <a:gd name="T82" fmla="*/ 3227 w 3532"/>
                <a:gd name="T83" fmla="*/ 2806 h 3444"/>
                <a:gd name="T84" fmla="*/ 3184 w 3532"/>
                <a:gd name="T85" fmla="*/ 2871 h 3444"/>
                <a:gd name="T86" fmla="*/ 2624 w 3532"/>
                <a:gd name="T87" fmla="*/ 3314 h 3444"/>
                <a:gd name="T88" fmla="*/ 2593 w 3532"/>
                <a:gd name="T89" fmla="*/ 3313 h 3444"/>
                <a:gd name="T90" fmla="*/ 2570 w 3532"/>
                <a:gd name="T91" fmla="*/ 3292 h 3444"/>
                <a:gd name="T92" fmla="*/ 2206 w 3532"/>
                <a:gd name="T93" fmla="*/ 1686 h 3444"/>
                <a:gd name="T94" fmla="*/ 2183 w 3532"/>
                <a:gd name="T95" fmla="*/ 1667 h 3444"/>
                <a:gd name="T96" fmla="*/ 2176 w 3532"/>
                <a:gd name="T97" fmla="*/ 1635 h 3444"/>
                <a:gd name="T98" fmla="*/ 2229 w 3532"/>
                <a:gd name="T99" fmla="*/ 892 h 3444"/>
                <a:gd name="T100" fmla="*/ 2275 w 3532"/>
                <a:gd name="T101" fmla="*/ 841 h 3444"/>
                <a:gd name="T102" fmla="*/ 3142 w 3532"/>
                <a:gd name="T103" fmla="*/ 700 h 3444"/>
                <a:gd name="T104" fmla="*/ 3211 w 3532"/>
                <a:gd name="T105" fmla="*/ 706 h 3444"/>
                <a:gd name="T106" fmla="*/ 3268 w 3532"/>
                <a:gd name="T107" fmla="*/ 746 h 3444"/>
                <a:gd name="T108" fmla="*/ 3530 w 3532"/>
                <a:gd name="T109" fmla="*/ 1438 h 3444"/>
                <a:gd name="T110" fmla="*/ 3529 w 3532"/>
                <a:gd name="T111" fmla="*/ 1469 h 3444"/>
                <a:gd name="T112" fmla="*/ 3510 w 3532"/>
                <a:gd name="T113" fmla="*/ 1493 h 3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32" h="3444">
                  <a:moveTo>
                    <a:pt x="2072" y="52"/>
                  </a:moveTo>
                  <a:lnTo>
                    <a:pt x="1861" y="1317"/>
                  </a:lnTo>
                  <a:lnTo>
                    <a:pt x="1860" y="1322"/>
                  </a:lnTo>
                  <a:lnTo>
                    <a:pt x="1858" y="1327"/>
                  </a:lnTo>
                  <a:lnTo>
                    <a:pt x="1856" y="1332"/>
                  </a:lnTo>
                  <a:lnTo>
                    <a:pt x="1853" y="1336"/>
                  </a:lnTo>
                  <a:lnTo>
                    <a:pt x="1849" y="1340"/>
                  </a:lnTo>
                  <a:lnTo>
                    <a:pt x="1846" y="1343"/>
                  </a:lnTo>
                  <a:lnTo>
                    <a:pt x="1842" y="1346"/>
                  </a:lnTo>
                  <a:lnTo>
                    <a:pt x="1837" y="1348"/>
                  </a:lnTo>
                  <a:lnTo>
                    <a:pt x="1833" y="1350"/>
                  </a:lnTo>
                  <a:lnTo>
                    <a:pt x="1828" y="1351"/>
                  </a:lnTo>
                  <a:lnTo>
                    <a:pt x="1822" y="1352"/>
                  </a:lnTo>
                  <a:lnTo>
                    <a:pt x="1817" y="1353"/>
                  </a:lnTo>
                  <a:lnTo>
                    <a:pt x="1811" y="1352"/>
                  </a:lnTo>
                  <a:lnTo>
                    <a:pt x="1806" y="1352"/>
                  </a:lnTo>
                  <a:lnTo>
                    <a:pt x="1801" y="1351"/>
                  </a:lnTo>
                  <a:lnTo>
                    <a:pt x="1795" y="1349"/>
                  </a:lnTo>
                  <a:lnTo>
                    <a:pt x="1163" y="1105"/>
                  </a:lnTo>
                  <a:lnTo>
                    <a:pt x="1149" y="1099"/>
                  </a:lnTo>
                  <a:lnTo>
                    <a:pt x="1136" y="1092"/>
                  </a:lnTo>
                  <a:lnTo>
                    <a:pt x="1125" y="1085"/>
                  </a:lnTo>
                  <a:lnTo>
                    <a:pt x="1114" y="1077"/>
                  </a:lnTo>
                  <a:lnTo>
                    <a:pt x="1104" y="1069"/>
                  </a:lnTo>
                  <a:lnTo>
                    <a:pt x="1096" y="1060"/>
                  </a:lnTo>
                  <a:lnTo>
                    <a:pt x="1089" y="1050"/>
                  </a:lnTo>
                  <a:lnTo>
                    <a:pt x="1083" y="1041"/>
                  </a:lnTo>
                  <a:lnTo>
                    <a:pt x="1078" y="1031"/>
                  </a:lnTo>
                  <a:lnTo>
                    <a:pt x="1074" y="1020"/>
                  </a:lnTo>
                  <a:lnTo>
                    <a:pt x="1071" y="1010"/>
                  </a:lnTo>
                  <a:lnTo>
                    <a:pt x="1068" y="999"/>
                  </a:lnTo>
                  <a:lnTo>
                    <a:pt x="1067" y="986"/>
                  </a:lnTo>
                  <a:lnTo>
                    <a:pt x="1067" y="975"/>
                  </a:lnTo>
                  <a:lnTo>
                    <a:pt x="1068" y="963"/>
                  </a:lnTo>
                  <a:lnTo>
                    <a:pt x="1069" y="951"/>
                  </a:lnTo>
                  <a:lnTo>
                    <a:pt x="1204" y="141"/>
                  </a:lnTo>
                  <a:lnTo>
                    <a:pt x="1206" y="130"/>
                  </a:lnTo>
                  <a:lnTo>
                    <a:pt x="1209" y="118"/>
                  </a:lnTo>
                  <a:lnTo>
                    <a:pt x="1213" y="107"/>
                  </a:lnTo>
                  <a:lnTo>
                    <a:pt x="1218" y="97"/>
                  </a:lnTo>
                  <a:lnTo>
                    <a:pt x="1224" y="86"/>
                  </a:lnTo>
                  <a:lnTo>
                    <a:pt x="1231" y="77"/>
                  </a:lnTo>
                  <a:lnTo>
                    <a:pt x="1238" y="69"/>
                  </a:lnTo>
                  <a:lnTo>
                    <a:pt x="1246" y="61"/>
                  </a:lnTo>
                  <a:lnTo>
                    <a:pt x="1255" y="54"/>
                  </a:lnTo>
                  <a:lnTo>
                    <a:pt x="1265" y="47"/>
                  </a:lnTo>
                  <a:lnTo>
                    <a:pt x="1275" y="42"/>
                  </a:lnTo>
                  <a:lnTo>
                    <a:pt x="1287" y="37"/>
                  </a:lnTo>
                  <a:lnTo>
                    <a:pt x="1300" y="33"/>
                  </a:lnTo>
                  <a:lnTo>
                    <a:pt x="1313" y="29"/>
                  </a:lnTo>
                  <a:lnTo>
                    <a:pt x="1327" y="27"/>
                  </a:lnTo>
                  <a:lnTo>
                    <a:pt x="1342" y="26"/>
                  </a:lnTo>
                  <a:lnTo>
                    <a:pt x="2020" y="0"/>
                  </a:lnTo>
                  <a:lnTo>
                    <a:pt x="2026" y="0"/>
                  </a:lnTo>
                  <a:lnTo>
                    <a:pt x="2031" y="1"/>
                  </a:lnTo>
                  <a:lnTo>
                    <a:pt x="2036" y="2"/>
                  </a:lnTo>
                  <a:lnTo>
                    <a:pt x="2042" y="3"/>
                  </a:lnTo>
                  <a:lnTo>
                    <a:pt x="2046" y="5"/>
                  </a:lnTo>
                  <a:lnTo>
                    <a:pt x="2051" y="8"/>
                  </a:lnTo>
                  <a:lnTo>
                    <a:pt x="2055" y="11"/>
                  </a:lnTo>
                  <a:lnTo>
                    <a:pt x="2059" y="14"/>
                  </a:lnTo>
                  <a:lnTo>
                    <a:pt x="2062" y="18"/>
                  </a:lnTo>
                  <a:lnTo>
                    <a:pt x="2066" y="22"/>
                  </a:lnTo>
                  <a:lnTo>
                    <a:pt x="2068" y="26"/>
                  </a:lnTo>
                  <a:lnTo>
                    <a:pt x="2070" y="32"/>
                  </a:lnTo>
                  <a:lnTo>
                    <a:pt x="2072" y="37"/>
                  </a:lnTo>
                  <a:lnTo>
                    <a:pt x="2072" y="42"/>
                  </a:lnTo>
                  <a:lnTo>
                    <a:pt x="2073" y="47"/>
                  </a:lnTo>
                  <a:lnTo>
                    <a:pt x="2072" y="52"/>
                  </a:lnTo>
                  <a:close/>
                  <a:moveTo>
                    <a:pt x="255" y="963"/>
                  </a:moveTo>
                  <a:lnTo>
                    <a:pt x="1394" y="1551"/>
                  </a:lnTo>
                  <a:lnTo>
                    <a:pt x="1399" y="1554"/>
                  </a:lnTo>
                  <a:lnTo>
                    <a:pt x="1403" y="1557"/>
                  </a:lnTo>
                  <a:lnTo>
                    <a:pt x="1408" y="1561"/>
                  </a:lnTo>
                  <a:lnTo>
                    <a:pt x="1411" y="1565"/>
                  </a:lnTo>
                  <a:lnTo>
                    <a:pt x="1413" y="1569"/>
                  </a:lnTo>
                  <a:lnTo>
                    <a:pt x="1415" y="1574"/>
                  </a:lnTo>
                  <a:lnTo>
                    <a:pt x="1417" y="1578"/>
                  </a:lnTo>
                  <a:lnTo>
                    <a:pt x="1418" y="1583"/>
                  </a:lnTo>
                  <a:lnTo>
                    <a:pt x="1418" y="1588"/>
                  </a:lnTo>
                  <a:lnTo>
                    <a:pt x="1418" y="1593"/>
                  </a:lnTo>
                  <a:lnTo>
                    <a:pt x="1417" y="1599"/>
                  </a:lnTo>
                  <a:lnTo>
                    <a:pt x="1416" y="1605"/>
                  </a:lnTo>
                  <a:lnTo>
                    <a:pt x="1414" y="1610"/>
                  </a:lnTo>
                  <a:lnTo>
                    <a:pt x="1412" y="1614"/>
                  </a:lnTo>
                  <a:lnTo>
                    <a:pt x="1409" y="1619"/>
                  </a:lnTo>
                  <a:lnTo>
                    <a:pt x="1405" y="1624"/>
                  </a:lnTo>
                  <a:lnTo>
                    <a:pt x="978" y="2151"/>
                  </a:lnTo>
                  <a:lnTo>
                    <a:pt x="969" y="2162"/>
                  </a:lnTo>
                  <a:lnTo>
                    <a:pt x="958" y="2172"/>
                  </a:lnTo>
                  <a:lnTo>
                    <a:pt x="948" y="2181"/>
                  </a:lnTo>
                  <a:lnTo>
                    <a:pt x="938" y="2188"/>
                  </a:lnTo>
                  <a:lnTo>
                    <a:pt x="926" y="2195"/>
                  </a:lnTo>
                  <a:lnTo>
                    <a:pt x="915" y="2200"/>
                  </a:lnTo>
                  <a:lnTo>
                    <a:pt x="904" y="2204"/>
                  </a:lnTo>
                  <a:lnTo>
                    <a:pt x="893" y="2208"/>
                  </a:lnTo>
                  <a:lnTo>
                    <a:pt x="882" y="2209"/>
                  </a:lnTo>
                  <a:lnTo>
                    <a:pt x="871" y="2210"/>
                  </a:lnTo>
                  <a:lnTo>
                    <a:pt x="859" y="2209"/>
                  </a:lnTo>
                  <a:lnTo>
                    <a:pt x="848" y="2208"/>
                  </a:lnTo>
                  <a:lnTo>
                    <a:pt x="837" y="2206"/>
                  </a:lnTo>
                  <a:lnTo>
                    <a:pt x="826" y="2201"/>
                  </a:lnTo>
                  <a:lnTo>
                    <a:pt x="815" y="2197"/>
                  </a:lnTo>
                  <a:lnTo>
                    <a:pt x="803" y="2192"/>
                  </a:lnTo>
                  <a:lnTo>
                    <a:pt x="74" y="1816"/>
                  </a:lnTo>
                  <a:lnTo>
                    <a:pt x="64" y="1810"/>
                  </a:lnTo>
                  <a:lnTo>
                    <a:pt x="54" y="1803"/>
                  </a:lnTo>
                  <a:lnTo>
                    <a:pt x="45" y="1796"/>
                  </a:lnTo>
                  <a:lnTo>
                    <a:pt x="37" y="1789"/>
                  </a:lnTo>
                  <a:lnTo>
                    <a:pt x="28" y="1779"/>
                  </a:lnTo>
                  <a:lnTo>
                    <a:pt x="21" y="1771"/>
                  </a:lnTo>
                  <a:lnTo>
                    <a:pt x="15" y="1761"/>
                  </a:lnTo>
                  <a:lnTo>
                    <a:pt x="10" y="1751"/>
                  </a:lnTo>
                  <a:lnTo>
                    <a:pt x="6" y="1741"/>
                  </a:lnTo>
                  <a:lnTo>
                    <a:pt x="3" y="1729"/>
                  </a:lnTo>
                  <a:lnTo>
                    <a:pt x="1" y="1717"/>
                  </a:lnTo>
                  <a:lnTo>
                    <a:pt x="0" y="1704"/>
                  </a:lnTo>
                  <a:lnTo>
                    <a:pt x="0" y="1691"/>
                  </a:lnTo>
                  <a:lnTo>
                    <a:pt x="1" y="1678"/>
                  </a:lnTo>
                  <a:lnTo>
                    <a:pt x="4" y="1664"/>
                  </a:lnTo>
                  <a:lnTo>
                    <a:pt x="7" y="1648"/>
                  </a:lnTo>
                  <a:lnTo>
                    <a:pt x="190" y="995"/>
                  </a:lnTo>
                  <a:lnTo>
                    <a:pt x="192" y="990"/>
                  </a:lnTo>
                  <a:lnTo>
                    <a:pt x="194" y="985"/>
                  </a:lnTo>
                  <a:lnTo>
                    <a:pt x="197" y="980"/>
                  </a:lnTo>
                  <a:lnTo>
                    <a:pt x="200" y="976"/>
                  </a:lnTo>
                  <a:lnTo>
                    <a:pt x="203" y="972"/>
                  </a:lnTo>
                  <a:lnTo>
                    <a:pt x="207" y="969"/>
                  </a:lnTo>
                  <a:lnTo>
                    <a:pt x="212" y="965"/>
                  </a:lnTo>
                  <a:lnTo>
                    <a:pt x="216" y="963"/>
                  </a:lnTo>
                  <a:lnTo>
                    <a:pt x="221" y="961"/>
                  </a:lnTo>
                  <a:lnTo>
                    <a:pt x="226" y="959"/>
                  </a:lnTo>
                  <a:lnTo>
                    <a:pt x="230" y="958"/>
                  </a:lnTo>
                  <a:lnTo>
                    <a:pt x="235" y="958"/>
                  </a:lnTo>
                  <a:lnTo>
                    <a:pt x="240" y="958"/>
                  </a:lnTo>
                  <a:lnTo>
                    <a:pt x="245" y="959"/>
                  </a:lnTo>
                  <a:lnTo>
                    <a:pt x="250" y="960"/>
                  </a:lnTo>
                  <a:lnTo>
                    <a:pt x="255" y="963"/>
                  </a:lnTo>
                  <a:close/>
                  <a:moveTo>
                    <a:pt x="560" y="2966"/>
                  </a:moveTo>
                  <a:lnTo>
                    <a:pt x="1474" y="2066"/>
                  </a:lnTo>
                  <a:lnTo>
                    <a:pt x="1478" y="2062"/>
                  </a:lnTo>
                  <a:lnTo>
                    <a:pt x="1482" y="2059"/>
                  </a:lnTo>
                  <a:lnTo>
                    <a:pt x="1487" y="2057"/>
                  </a:lnTo>
                  <a:lnTo>
                    <a:pt x="1491" y="2055"/>
                  </a:lnTo>
                  <a:lnTo>
                    <a:pt x="1496" y="2054"/>
                  </a:lnTo>
                  <a:lnTo>
                    <a:pt x="1501" y="2053"/>
                  </a:lnTo>
                  <a:lnTo>
                    <a:pt x="1506" y="2054"/>
                  </a:lnTo>
                  <a:lnTo>
                    <a:pt x="1511" y="2054"/>
                  </a:lnTo>
                  <a:lnTo>
                    <a:pt x="1516" y="2055"/>
                  </a:lnTo>
                  <a:lnTo>
                    <a:pt x="1521" y="2057"/>
                  </a:lnTo>
                  <a:lnTo>
                    <a:pt x="1526" y="2059"/>
                  </a:lnTo>
                  <a:lnTo>
                    <a:pt x="1531" y="2062"/>
                  </a:lnTo>
                  <a:lnTo>
                    <a:pt x="1535" y="2065"/>
                  </a:lnTo>
                  <a:lnTo>
                    <a:pt x="1539" y="2069"/>
                  </a:lnTo>
                  <a:lnTo>
                    <a:pt x="1543" y="2073"/>
                  </a:lnTo>
                  <a:lnTo>
                    <a:pt x="1546" y="2077"/>
                  </a:lnTo>
                  <a:lnTo>
                    <a:pt x="1914" y="2647"/>
                  </a:lnTo>
                  <a:lnTo>
                    <a:pt x="1922" y="2660"/>
                  </a:lnTo>
                  <a:lnTo>
                    <a:pt x="1928" y="2673"/>
                  </a:lnTo>
                  <a:lnTo>
                    <a:pt x="1933" y="2685"/>
                  </a:lnTo>
                  <a:lnTo>
                    <a:pt x="1937" y="2699"/>
                  </a:lnTo>
                  <a:lnTo>
                    <a:pt x="1940" y="2711"/>
                  </a:lnTo>
                  <a:lnTo>
                    <a:pt x="1941" y="2723"/>
                  </a:lnTo>
                  <a:lnTo>
                    <a:pt x="1942" y="2734"/>
                  </a:lnTo>
                  <a:lnTo>
                    <a:pt x="1941" y="2745"/>
                  </a:lnTo>
                  <a:lnTo>
                    <a:pt x="1939" y="2758"/>
                  </a:lnTo>
                  <a:lnTo>
                    <a:pt x="1936" y="2768"/>
                  </a:lnTo>
                  <a:lnTo>
                    <a:pt x="1933" y="2779"/>
                  </a:lnTo>
                  <a:lnTo>
                    <a:pt x="1928" y="2789"/>
                  </a:lnTo>
                  <a:lnTo>
                    <a:pt x="1922" y="2799"/>
                  </a:lnTo>
                  <a:lnTo>
                    <a:pt x="1915" y="2808"/>
                  </a:lnTo>
                  <a:lnTo>
                    <a:pt x="1908" y="2818"/>
                  </a:lnTo>
                  <a:lnTo>
                    <a:pt x="1900" y="2827"/>
                  </a:lnTo>
                  <a:lnTo>
                    <a:pt x="1315" y="3402"/>
                  </a:lnTo>
                  <a:lnTo>
                    <a:pt x="1307" y="3410"/>
                  </a:lnTo>
                  <a:lnTo>
                    <a:pt x="1297" y="3419"/>
                  </a:lnTo>
                  <a:lnTo>
                    <a:pt x="1288" y="3425"/>
                  </a:lnTo>
                  <a:lnTo>
                    <a:pt x="1277" y="3431"/>
                  </a:lnTo>
                  <a:lnTo>
                    <a:pt x="1267" y="3435"/>
                  </a:lnTo>
                  <a:lnTo>
                    <a:pt x="1256" y="3439"/>
                  </a:lnTo>
                  <a:lnTo>
                    <a:pt x="1245" y="3442"/>
                  </a:lnTo>
                  <a:lnTo>
                    <a:pt x="1234" y="3443"/>
                  </a:lnTo>
                  <a:lnTo>
                    <a:pt x="1222" y="3444"/>
                  </a:lnTo>
                  <a:lnTo>
                    <a:pt x="1211" y="3443"/>
                  </a:lnTo>
                  <a:lnTo>
                    <a:pt x="1199" y="3442"/>
                  </a:lnTo>
                  <a:lnTo>
                    <a:pt x="1187" y="3439"/>
                  </a:lnTo>
                  <a:lnTo>
                    <a:pt x="1174" y="3435"/>
                  </a:lnTo>
                  <a:lnTo>
                    <a:pt x="1161" y="3430"/>
                  </a:lnTo>
                  <a:lnTo>
                    <a:pt x="1148" y="3423"/>
                  </a:lnTo>
                  <a:lnTo>
                    <a:pt x="1136" y="3415"/>
                  </a:lnTo>
                  <a:lnTo>
                    <a:pt x="572" y="3038"/>
                  </a:lnTo>
                  <a:lnTo>
                    <a:pt x="567" y="3035"/>
                  </a:lnTo>
                  <a:lnTo>
                    <a:pt x="563" y="3031"/>
                  </a:lnTo>
                  <a:lnTo>
                    <a:pt x="559" y="3027"/>
                  </a:lnTo>
                  <a:lnTo>
                    <a:pt x="556" y="3023"/>
                  </a:lnTo>
                  <a:lnTo>
                    <a:pt x="553" y="3018"/>
                  </a:lnTo>
                  <a:lnTo>
                    <a:pt x="551" y="3014"/>
                  </a:lnTo>
                  <a:lnTo>
                    <a:pt x="549" y="3009"/>
                  </a:lnTo>
                  <a:lnTo>
                    <a:pt x="548" y="3004"/>
                  </a:lnTo>
                  <a:lnTo>
                    <a:pt x="548" y="2999"/>
                  </a:lnTo>
                  <a:lnTo>
                    <a:pt x="548" y="2994"/>
                  </a:lnTo>
                  <a:lnTo>
                    <a:pt x="548" y="2988"/>
                  </a:lnTo>
                  <a:lnTo>
                    <a:pt x="549" y="2983"/>
                  </a:lnTo>
                  <a:lnTo>
                    <a:pt x="551" y="2978"/>
                  </a:lnTo>
                  <a:lnTo>
                    <a:pt x="553" y="2974"/>
                  </a:lnTo>
                  <a:lnTo>
                    <a:pt x="556" y="2970"/>
                  </a:lnTo>
                  <a:lnTo>
                    <a:pt x="560" y="2966"/>
                  </a:lnTo>
                  <a:close/>
                  <a:moveTo>
                    <a:pt x="2570" y="3292"/>
                  </a:moveTo>
                  <a:lnTo>
                    <a:pt x="1990" y="2150"/>
                  </a:lnTo>
                  <a:lnTo>
                    <a:pt x="1987" y="2144"/>
                  </a:lnTo>
                  <a:lnTo>
                    <a:pt x="1986" y="2139"/>
                  </a:lnTo>
                  <a:lnTo>
                    <a:pt x="1985" y="2134"/>
                  </a:lnTo>
                  <a:lnTo>
                    <a:pt x="1985" y="2128"/>
                  </a:lnTo>
                  <a:lnTo>
                    <a:pt x="1986" y="2124"/>
                  </a:lnTo>
                  <a:lnTo>
                    <a:pt x="1987" y="2119"/>
                  </a:lnTo>
                  <a:lnTo>
                    <a:pt x="1988" y="2114"/>
                  </a:lnTo>
                  <a:lnTo>
                    <a:pt x="1990" y="2110"/>
                  </a:lnTo>
                  <a:lnTo>
                    <a:pt x="1993" y="2105"/>
                  </a:lnTo>
                  <a:lnTo>
                    <a:pt x="1996" y="2101"/>
                  </a:lnTo>
                  <a:lnTo>
                    <a:pt x="2000" y="2098"/>
                  </a:lnTo>
                  <a:lnTo>
                    <a:pt x="2003" y="2094"/>
                  </a:lnTo>
                  <a:lnTo>
                    <a:pt x="2009" y="2091"/>
                  </a:lnTo>
                  <a:lnTo>
                    <a:pt x="2013" y="2088"/>
                  </a:lnTo>
                  <a:lnTo>
                    <a:pt x="2018" y="2086"/>
                  </a:lnTo>
                  <a:lnTo>
                    <a:pt x="2024" y="2084"/>
                  </a:lnTo>
                  <a:lnTo>
                    <a:pt x="2678" y="1906"/>
                  </a:lnTo>
                  <a:lnTo>
                    <a:pt x="2693" y="1902"/>
                  </a:lnTo>
                  <a:lnTo>
                    <a:pt x="2707" y="1899"/>
                  </a:lnTo>
                  <a:lnTo>
                    <a:pt x="2720" y="1898"/>
                  </a:lnTo>
                  <a:lnTo>
                    <a:pt x="2734" y="1898"/>
                  </a:lnTo>
                  <a:lnTo>
                    <a:pt x="2746" y="1900"/>
                  </a:lnTo>
                  <a:lnTo>
                    <a:pt x="2758" y="1902"/>
                  </a:lnTo>
                  <a:lnTo>
                    <a:pt x="2769" y="1906"/>
                  </a:lnTo>
                  <a:lnTo>
                    <a:pt x="2780" y="1910"/>
                  </a:lnTo>
                  <a:lnTo>
                    <a:pt x="2791" y="1915"/>
                  </a:lnTo>
                  <a:lnTo>
                    <a:pt x="2800" y="1921"/>
                  </a:lnTo>
                  <a:lnTo>
                    <a:pt x="2809" y="1928"/>
                  </a:lnTo>
                  <a:lnTo>
                    <a:pt x="2817" y="1936"/>
                  </a:lnTo>
                  <a:lnTo>
                    <a:pt x="2825" y="1944"/>
                  </a:lnTo>
                  <a:lnTo>
                    <a:pt x="2832" y="1953"/>
                  </a:lnTo>
                  <a:lnTo>
                    <a:pt x="2838" y="1963"/>
                  </a:lnTo>
                  <a:lnTo>
                    <a:pt x="2845" y="1974"/>
                  </a:lnTo>
                  <a:lnTo>
                    <a:pt x="3216" y="2706"/>
                  </a:lnTo>
                  <a:lnTo>
                    <a:pt x="3221" y="2717"/>
                  </a:lnTo>
                  <a:lnTo>
                    <a:pt x="3225" y="2727"/>
                  </a:lnTo>
                  <a:lnTo>
                    <a:pt x="3229" y="2739"/>
                  </a:lnTo>
                  <a:lnTo>
                    <a:pt x="3231" y="2751"/>
                  </a:lnTo>
                  <a:lnTo>
                    <a:pt x="3232" y="2762"/>
                  </a:lnTo>
                  <a:lnTo>
                    <a:pt x="3233" y="2773"/>
                  </a:lnTo>
                  <a:lnTo>
                    <a:pt x="3232" y="2784"/>
                  </a:lnTo>
                  <a:lnTo>
                    <a:pt x="3230" y="2795"/>
                  </a:lnTo>
                  <a:lnTo>
                    <a:pt x="3227" y="2806"/>
                  </a:lnTo>
                  <a:lnTo>
                    <a:pt x="3223" y="2818"/>
                  </a:lnTo>
                  <a:lnTo>
                    <a:pt x="3218" y="2829"/>
                  </a:lnTo>
                  <a:lnTo>
                    <a:pt x="3212" y="2839"/>
                  </a:lnTo>
                  <a:lnTo>
                    <a:pt x="3204" y="2850"/>
                  </a:lnTo>
                  <a:lnTo>
                    <a:pt x="3194" y="2860"/>
                  </a:lnTo>
                  <a:lnTo>
                    <a:pt x="3184" y="2871"/>
                  </a:lnTo>
                  <a:lnTo>
                    <a:pt x="3173" y="2881"/>
                  </a:lnTo>
                  <a:lnTo>
                    <a:pt x="2643" y="3304"/>
                  </a:lnTo>
                  <a:lnTo>
                    <a:pt x="2638" y="3307"/>
                  </a:lnTo>
                  <a:lnTo>
                    <a:pt x="2633" y="3310"/>
                  </a:lnTo>
                  <a:lnTo>
                    <a:pt x="2629" y="3312"/>
                  </a:lnTo>
                  <a:lnTo>
                    <a:pt x="2624" y="3314"/>
                  </a:lnTo>
                  <a:lnTo>
                    <a:pt x="2619" y="3315"/>
                  </a:lnTo>
                  <a:lnTo>
                    <a:pt x="2613" y="3316"/>
                  </a:lnTo>
                  <a:lnTo>
                    <a:pt x="2608" y="3316"/>
                  </a:lnTo>
                  <a:lnTo>
                    <a:pt x="2603" y="3315"/>
                  </a:lnTo>
                  <a:lnTo>
                    <a:pt x="2598" y="3314"/>
                  </a:lnTo>
                  <a:lnTo>
                    <a:pt x="2593" y="3313"/>
                  </a:lnTo>
                  <a:lnTo>
                    <a:pt x="2588" y="3311"/>
                  </a:lnTo>
                  <a:lnTo>
                    <a:pt x="2584" y="3308"/>
                  </a:lnTo>
                  <a:lnTo>
                    <a:pt x="2580" y="3305"/>
                  </a:lnTo>
                  <a:lnTo>
                    <a:pt x="2576" y="3302"/>
                  </a:lnTo>
                  <a:lnTo>
                    <a:pt x="2573" y="3297"/>
                  </a:lnTo>
                  <a:lnTo>
                    <a:pt x="2570" y="3292"/>
                  </a:lnTo>
                  <a:close/>
                  <a:moveTo>
                    <a:pt x="3494" y="1498"/>
                  </a:moveTo>
                  <a:lnTo>
                    <a:pt x="2227" y="1688"/>
                  </a:lnTo>
                  <a:lnTo>
                    <a:pt x="2222" y="1688"/>
                  </a:lnTo>
                  <a:lnTo>
                    <a:pt x="2216" y="1688"/>
                  </a:lnTo>
                  <a:lnTo>
                    <a:pt x="2211" y="1687"/>
                  </a:lnTo>
                  <a:lnTo>
                    <a:pt x="2206" y="1686"/>
                  </a:lnTo>
                  <a:lnTo>
                    <a:pt x="2202" y="1684"/>
                  </a:lnTo>
                  <a:lnTo>
                    <a:pt x="2198" y="1681"/>
                  </a:lnTo>
                  <a:lnTo>
                    <a:pt x="2194" y="1678"/>
                  </a:lnTo>
                  <a:lnTo>
                    <a:pt x="2190" y="1675"/>
                  </a:lnTo>
                  <a:lnTo>
                    <a:pt x="2187" y="1671"/>
                  </a:lnTo>
                  <a:lnTo>
                    <a:pt x="2183" y="1667"/>
                  </a:lnTo>
                  <a:lnTo>
                    <a:pt x="2181" y="1661"/>
                  </a:lnTo>
                  <a:lnTo>
                    <a:pt x="2179" y="1657"/>
                  </a:lnTo>
                  <a:lnTo>
                    <a:pt x="2177" y="1652"/>
                  </a:lnTo>
                  <a:lnTo>
                    <a:pt x="2176" y="1646"/>
                  </a:lnTo>
                  <a:lnTo>
                    <a:pt x="2176" y="1641"/>
                  </a:lnTo>
                  <a:lnTo>
                    <a:pt x="2176" y="1635"/>
                  </a:lnTo>
                  <a:lnTo>
                    <a:pt x="2213" y="959"/>
                  </a:lnTo>
                  <a:lnTo>
                    <a:pt x="2214" y="944"/>
                  </a:lnTo>
                  <a:lnTo>
                    <a:pt x="2217" y="929"/>
                  </a:lnTo>
                  <a:lnTo>
                    <a:pt x="2220" y="915"/>
                  </a:lnTo>
                  <a:lnTo>
                    <a:pt x="2224" y="903"/>
                  </a:lnTo>
                  <a:lnTo>
                    <a:pt x="2229" y="892"/>
                  </a:lnTo>
                  <a:lnTo>
                    <a:pt x="2235" y="881"/>
                  </a:lnTo>
                  <a:lnTo>
                    <a:pt x="2241" y="871"/>
                  </a:lnTo>
                  <a:lnTo>
                    <a:pt x="2250" y="862"/>
                  </a:lnTo>
                  <a:lnTo>
                    <a:pt x="2257" y="854"/>
                  </a:lnTo>
                  <a:lnTo>
                    <a:pt x="2266" y="847"/>
                  </a:lnTo>
                  <a:lnTo>
                    <a:pt x="2275" y="841"/>
                  </a:lnTo>
                  <a:lnTo>
                    <a:pt x="2285" y="836"/>
                  </a:lnTo>
                  <a:lnTo>
                    <a:pt x="2296" y="831"/>
                  </a:lnTo>
                  <a:lnTo>
                    <a:pt x="2307" y="827"/>
                  </a:lnTo>
                  <a:lnTo>
                    <a:pt x="2319" y="824"/>
                  </a:lnTo>
                  <a:lnTo>
                    <a:pt x="2331" y="822"/>
                  </a:lnTo>
                  <a:lnTo>
                    <a:pt x="3142" y="700"/>
                  </a:lnTo>
                  <a:lnTo>
                    <a:pt x="3154" y="699"/>
                  </a:lnTo>
                  <a:lnTo>
                    <a:pt x="3166" y="699"/>
                  </a:lnTo>
                  <a:lnTo>
                    <a:pt x="3177" y="699"/>
                  </a:lnTo>
                  <a:lnTo>
                    <a:pt x="3189" y="700"/>
                  </a:lnTo>
                  <a:lnTo>
                    <a:pt x="3200" y="702"/>
                  </a:lnTo>
                  <a:lnTo>
                    <a:pt x="3211" y="706"/>
                  </a:lnTo>
                  <a:lnTo>
                    <a:pt x="3222" y="710"/>
                  </a:lnTo>
                  <a:lnTo>
                    <a:pt x="3232" y="715"/>
                  </a:lnTo>
                  <a:lnTo>
                    <a:pt x="3241" y="721"/>
                  </a:lnTo>
                  <a:lnTo>
                    <a:pt x="3250" y="728"/>
                  </a:lnTo>
                  <a:lnTo>
                    <a:pt x="3259" y="737"/>
                  </a:lnTo>
                  <a:lnTo>
                    <a:pt x="3268" y="746"/>
                  </a:lnTo>
                  <a:lnTo>
                    <a:pt x="3275" y="758"/>
                  </a:lnTo>
                  <a:lnTo>
                    <a:pt x="3282" y="769"/>
                  </a:lnTo>
                  <a:lnTo>
                    <a:pt x="3289" y="782"/>
                  </a:lnTo>
                  <a:lnTo>
                    <a:pt x="3294" y="796"/>
                  </a:lnTo>
                  <a:lnTo>
                    <a:pt x="3529" y="1433"/>
                  </a:lnTo>
                  <a:lnTo>
                    <a:pt x="3530" y="1438"/>
                  </a:lnTo>
                  <a:lnTo>
                    <a:pt x="3531" y="1443"/>
                  </a:lnTo>
                  <a:lnTo>
                    <a:pt x="3532" y="1449"/>
                  </a:lnTo>
                  <a:lnTo>
                    <a:pt x="3532" y="1454"/>
                  </a:lnTo>
                  <a:lnTo>
                    <a:pt x="3531" y="1459"/>
                  </a:lnTo>
                  <a:lnTo>
                    <a:pt x="3530" y="1464"/>
                  </a:lnTo>
                  <a:lnTo>
                    <a:pt x="3529" y="1469"/>
                  </a:lnTo>
                  <a:lnTo>
                    <a:pt x="3527" y="1474"/>
                  </a:lnTo>
                  <a:lnTo>
                    <a:pt x="3525" y="1478"/>
                  </a:lnTo>
                  <a:lnTo>
                    <a:pt x="3522" y="1483"/>
                  </a:lnTo>
                  <a:lnTo>
                    <a:pt x="3518" y="1487"/>
                  </a:lnTo>
                  <a:lnTo>
                    <a:pt x="3515" y="1490"/>
                  </a:lnTo>
                  <a:lnTo>
                    <a:pt x="3510" y="1493"/>
                  </a:lnTo>
                  <a:lnTo>
                    <a:pt x="3506" y="1495"/>
                  </a:lnTo>
                  <a:lnTo>
                    <a:pt x="3501" y="1497"/>
                  </a:lnTo>
                  <a:lnTo>
                    <a:pt x="3494" y="1498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36245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Вертикальный заголовок и текст">
    <p:bg>
      <p:bgPr>
        <a:blipFill dpi="0" rotWithShape="1">
          <a:blip r:embed="rId2" cstate="print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3"/>
          <p:cNvSpPr>
            <a:spLocks noChangeAspect="1" noChangeArrowheads="1" noTextEdit="1"/>
          </p:cNvSpPr>
          <p:nvPr userDrawn="1"/>
        </p:nvSpPr>
        <p:spPr bwMode="auto">
          <a:xfrm>
            <a:off x="15" y="393700"/>
            <a:ext cx="9906000" cy="646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Freeform 6"/>
          <p:cNvSpPr>
            <a:spLocks/>
          </p:cNvSpPr>
          <p:nvPr userDrawn="1"/>
        </p:nvSpPr>
        <p:spPr bwMode="auto">
          <a:xfrm>
            <a:off x="6719242" y="2214732"/>
            <a:ext cx="990600" cy="2163763"/>
          </a:xfrm>
          <a:custGeom>
            <a:avLst/>
            <a:gdLst>
              <a:gd name="T0" fmla="*/ 1727 w 1727"/>
              <a:gd name="T1" fmla="*/ 4091 h 4091"/>
              <a:gd name="T2" fmla="*/ 356 w 1727"/>
              <a:gd name="T3" fmla="*/ 3560 h 4091"/>
              <a:gd name="T4" fmla="*/ 329 w 1727"/>
              <a:gd name="T5" fmla="*/ 3550 h 4091"/>
              <a:gd name="T6" fmla="*/ 304 w 1727"/>
              <a:gd name="T7" fmla="*/ 3538 h 4091"/>
              <a:gd name="T8" fmla="*/ 279 w 1727"/>
              <a:gd name="T9" fmla="*/ 3526 h 4091"/>
              <a:gd name="T10" fmla="*/ 256 w 1727"/>
              <a:gd name="T11" fmla="*/ 3514 h 4091"/>
              <a:gd name="T12" fmla="*/ 234 w 1727"/>
              <a:gd name="T13" fmla="*/ 3501 h 4091"/>
              <a:gd name="T14" fmla="*/ 213 w 1727"/>
              <a:gd name="T15" fmla="*/ 3487 h 4091"/>
              <a:gd name="T16" fmla="*/ 193 w 1727"/>
              <a:gd name="T17" fmla="*/ 3473 h 4091"/>
              <a:gd name="T18" fmla="*/ 174 w 1727"/>
              <a:gd name="T19" fmla="*/ 3458 h 4091"/>
              <a:gd name="T20" fmla="*/ 156 w 1727"/>
              <a:gd name="T21" fmla="*/ 3443 h 4091"/>
              <a:gd name="T22" fmla="*/ 140 w 1727"/>
              <a:gd name="T23" fmla="*/ 3428 h 4091"/>
              <a:gd name="T24" fmla="*/ 123 w 1727"/>
              <a:gd name="T25" fmla="*/ 3411 h 4091"/>
              <a:gd name="T26" fmla="*/ 108 w 1727"/>
              <a:gd name="T27" fmla="*/ 3394 h 4091"/>
              <a:gd name="T28" fmla="*/ 94 w 1727"/>
              <a:gd name="T29" fmla="*/ 3378 h 4091"/>
              <a:gd name="T30" fmla="*/ 81 w 1727"/>
              <a:gd name="T31" fmla="*/ 3360 h 4091"/>
              <a:gd name="T32" fmla="*/ 69 w 1727"/>
              <a:gd name="T33" fmla="*/ 3342 h 4091"/>
              <a:gd name="T34" fmla="*/ 59 w 1727"/>
              <a:gd name="T35" fmla="*/ 3324 h 4091"/>
              <a:gd name="T36" fmla="*/ 49 w 1727"/>
              <a:gd name="T37" fmla="*/ 3306 h 4091"/>
              <a:gd name="T38" fmla="*/ 40 w 1727"/>
              <a:gd name="T39" fmla="*/ 3286 h 4091"/>
              <a:gd name="T40" fmla="*/ 32 w 1727"/>
              <a:gd name="T41" fmla="*/ 3267 h 4091"/>
              <a:gd name="T42" fmla="*/ 25 w 1727"/>
              <a:gd name="T43" fmla="*/ 3247 h 4091"/>
              <a:gd name="T44" fmla="*/ 19 w 1727"/>
              <a:gd name="T45" fmla="*/ 3227 h 4091"/>
              <a:gd name="T46" fmla="*/ 13 w 1727"/>
              <a:gd name="T47" fmla="*/ 3207 h 4091"/>
              <a:gd name="T48" fmla="*/ 9 w 1727"/>
              <a:gd name="T49" fmla="*/ 3187 h 4091"/>
              <a:gd name="T50" fmla="*/ 6 w 1727"/>
              <a:gd name="T51" fmla="*/ 3165 h 4091"/>
              <a:gd name="T52" fmla="*/ 4 w 1727"/>
              <a:gd name="T53" fmla="*/ 3145 h 4091"/>
              <a:gd name="T54" fmla="*/ 1 w 1727"/>
              <a:gd name="T55" fmla="*/ 3123 h 4091"/>
              <a:gd name="T56" fmla="*/ 0 w 1727"/>
              <a:gd name="T57" fmla="*/ 3102 h 4091"/>
              <a:gd name="T58" fmla="*/ 0 w 1727"/>
              <a:gd name="T59" fmla="*/ 3080 h 4091"/>
              <a:gd name="T60" fmla="*/ 1 w 1727"/>
              <a:gd name="T61" fmla="*/ 3058 h 4091"/>
              <a:gd name="T62" fmla="*/ 4 w 1727"/>
              <a:gd name="T63" fmla="*/ 3036 h 4091"/>
              <a:gd name="T64" fmla="*/ 6 w 1727"/>
              <a:gd name="T65" fmla="*/ 3014 h 4091"/>
              <a:gd name="T66" fmla="*/ 9 w 1727"/>
              <a:gd name="T67" fmla="*/ 2991 h 4091"/>
              <a:gd name="T68" fmla="*/ 508 w 1727"/>
              <a:gd name="T69" fmla="*/ 0 h 4091"/>
              <a:gd name="T70" fmla="*/ 482 w 1727"/>
              <a:gd name="T71" fmla="*/ 2806 h 4091"/>
              <a:gd name="T72" fmla="*/ 483 w 1727"/>
              <a:gd name="T73" fmla="*/ 2832 h 4091"/>
              <a:gd name="T74" fmla="*/ 484 w 1727"/>
              <a:gd name="T75" fmla="*/ 2859 h 4091"/>
              <a:gd name="T76" fmla="*/ 487 w 1727"/>
              <a:gd name="T77" fmla="*/ 2885 h 4091"/>
              <a:gd name="T78" fmla="*/ 492 w 1727"/>
              <a:gd name="T79" fmla="*/ 2910 h 4091"/>
              <a:gd name="T80" fmla="*/ 497 w 1727"/>
              <a:gd name="T81" fmla="*/ 2937 h 4091"/>
              <a:gd name="T82" fmla="*/ 504 w 1727"/>
              <a:gd name="T83" fmla="*/ 2963 h 4091"/>
              <a:gd name="T84" fmla="*/ 511 w 1727"/>
              <a:gd name="T85" fmla="*/ 2989 h 4091"/>
              <a:gd name="T86" fmla="*/ 521 w 1727"/>
              <a:gd name="T87" fmla="*/ 3015 h 4091"/>
              <a:gd name="T88" fmla="*/ 531 w 1727"/>
              <a:gd name="T89" fmla="*/ 3039 h 4091"/>
              <a:gd name="T90" fmla="*/ 542 w 1727"/>
              <a:gd name="T91" fmla="*/ 3064 h 4091"/>
              <a:gd name="T92" fmla="*/ 555 w 1727"/>
              <a:gd name="T93" fmla="*/ 3086 h 4091"/>
              <a:gd name="T94" fmla="*/ 569 w 1727"/>
              <a:gd name="T95" fmla="*/ 3109 h 4091"/>
              <a:gd name="T96" fmla="*/ 585 w 1727"/>
              <a:gd name="T97" fmla="*/ 3131 h 4091"/>
              <a:gd name="T98" fmla="*/ 602 w 1727"/>
              <a:gd name="T99" fmla="*/ 3150 h 4091"/>
              <a:gd name="T100" fmla="*/ 619 w 1727"/>
              <a:gd name="T101" fmla="*/ 3168 h 4091"/>
              <a:gd name="T102" fmla="*/ 639 w 1727"/>
              <a:gd name="T103" fmla="*/ 3186 h 4091"/>
              <a:gd name="T104" fmla="*/ 1727 w 1727"/>
              <a:gd name="T105" fmla="*/ 4091 h 40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727" h="4091">
                <a:moveTo>
                  <a:pt x="1727" y="4091"/>
                </a:moveTo>
                <a:lnTo>
                  <a:pt x="356" y="3560"/>
                </a:lnTo>
                <a:lnTo>
                  <a:pt x="329" y="3550"/>
                </a:lnTo>
                <a:lnTo>
                  <a:pt x="304" y="3538"/>
                </a:lnTo>
                <a:lnTo>
                  <a:pt x="279" y="3526"/>
                </a:lnTo>
                <a:lnTo>
                  <a:pt x="256" y="3514"/>
                </a:lnTo>
                <a:lnTo>
                  <a:pt x="234" y="3501"/>
                </a:lnTo>
                <a:lnTo>
                  <a:pt x="213" y="3487"/>
                </a:lnTo>
                <a:lnTo>
                  <a:pt x="193" y="3473"/>
                </a:lnTo>
                <a:lnTo>
                  <a:pt x="174" y="3458"/>
                </a:lnTo>
                <a:lnTo>
                  <a:pt x="156" y="3443"/>
                </a:lnTo>
                <a:lnTo>
                  <a:pt x="140" y="3428"/>
                </a:lnTo>
                <a:lnTo>
                  <a:pt x="123" y="3411"/>
                </a:lnTo>
                <a:lnTo>
                  <a:pt x="108" y="3394"/>
                </a:lnTo>
                <a:lnTo>
                  <a:pt x="94" y="3378"/>
                </a:lnTo>
                <a:lnTo>
                  <a:pt x="81" y="3360"/>
                </a:lnTo>
                <a:lnTo>
                  <a:pt x="69" y="3342"/>
                </a:lnTo>
                <a:lnTo>
                  <a:pt x="59" y="3324"/>
                </a:lnTo>
                <a:lnTo>
                  <a:pt x="49" y="3306"/>
                </a:lnTo>
                <a:lnTo>
                  <a:pt x="40" y="3286"/>
                </a:lnTo>
                <a:lnTo>
                  <a:pt x="32" y="3267"/>
                </a:lnTo>
                <a:lnTo>
                  <a:pt x="25" y="3247"/>
                </a:lnTo>
                <a:lnTo>
                  <a:pt x="19" y="3227"/>
                </a:lnTo>
                <a:lnTo>
                  <a:pt x="13" y="3207"/>
                </a:lnTo>
                <a:lnTo>
                  <a:pt x="9" y="3187"/>
                </a:lnTo>
                <a:lnTo>
                  <a:pt x="6" y="3165"/>
                </a:lnTo>
                <a:lnTo>
                  <a:pt x="4" y="3145"/>
                </a:lnTo>
                <a:lnTo>
                  <a:pt x="1" y="3123"/>
                </a:lnTo>
                <a:lnTo>
                  <a:pt x="0" y="3102"/>
                </a:lnTo>
                <a:lnTo>
                  <a:pt x="0" y="3080"/>
                </a:lnTo>
                <a:lnTo>
                  <a:pt x="1" y="3058"/>
                </a:lnTo>
                <a:lnTo>
                  <a:pt x="4" y="3036"/>
                </a:lnTo>
                <a:lnTo>
                  <a:pt x="6" y="3014"/>
                </a:lnTo>
                <a:lnTo>
                  <a:pt x="9" y="2991"/>
                </a:lnTo>
                <a:lnTo>
                  <a:pt x="508" y="0"/>
                </a:lnTo>
                <a:lnTo>
                  <a:pt x="482" y="2806"/>
                </a:lnTo>
                <a:lnTo>
                  <a:pt x="483" y="2832"/>
                </a:lnTo>
                <a:lnTo>
                  <a:pt x="484" y="2859"/>
                </a:lnTo>
                <a:lnTo>
                  <a:pt x="487" y="2885"/>
                </a:lnTo>
                <a:lnTo>
                  <a:pt x="492" y="2910"/>
                </a:lnTo>
                <a:lnTo>
                  <a:pt x="497" y="2937"/>
                </a:lnTo>
                <a:lnTo>
                  <a:pt x="504" y="2963"/>
                </a:lnTo>
                <a:lnTo>
                  <a:pt x="511" y="2989"/>
                </a:lnTo>
                <a:lnTo>
                  <a:pt x="521" y="3015"/>
                </a:lnTo>
                <a:lnTo>
                  <a:pt x="531" y="3039"/>
                </a:lnTo>
                <a:lnTo>
                  <a:pt x="542" y="3064"/>
                </a:lnTo>
                <a:lnTo>
                  <a:pt x="555" y="3086"/>
                </a:lnTo>
                <a:lnTo>
                  <a:pt x="569" y="3109"/>
                </a:lnTo>
                <a:lnTo>
                  <a:pt x="585" y="3131"/>
                </a:lnTo>
                <a:lnTo>
                  <a:pt x="602" y="3150"/>
                </a:lnTo>
                <a:lnTo>
                  <a:pt x="619" y="3168"/>
                </a:lnTo>
                <a:lnTo>
                  <a:pt x="639" y="3186"/>
                </a:lnTo>
                <a:lnTo>
                  <a:pt x="1727" y="4091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Freeform 8"/>
          <p:cNvSpPr>
            <a:spLocks/>
          </p:cNvSpPr>
          <p:nvPr userDrawn="1"/>
        </p:nvSpPr>
        <p:spPr bwMode="auto">
          <a:xfrm>
            <a:off x="9102933" y="3473452"/>
            <a:ext cx="803143" cy="1114425"/>
          </a:xfrm>
          <a:custGeom>
            <a:avLst/>
            <a:gdLst>
              <a:gd name="T0" fmla="*/ 0 w 1401"/>
              <a:gd name="T1" fmla="*/ 2106 h 2106"/>
              <a:gd name="T2" fmla="*/ 81 w 1401"/>
              <a:gd name="T3" fmla="*/ 638 h 2106"/>
              <a:gd name="T4" fmla="*/ 82 w 1401"/>
              <a:gd name="T5" fmla="*/ 609 h 2106"/>
              <a:gd name="T6" fmla="*/ 86 w 1401"/>
              <a:gd name="T7" fmla="*/ 581 h 2106"/>
              <a:gd name="T8" fmla="*/ 90 w 1401"/>
              <a:gd name="T9" fmla="*/ 555 h 2106"/>
              <a:gd name="T10" fmla="*/ 94 w 1401"/>
              <a:gd name="T11" fmla="*/ 529 h 2106"/>
              <a:gd name="T12" fmla="*/ 100 w 1401"/>
              <a:gd name="T13" fmla="*/ 504 h 2106"/>
              <a:gd name="T14" fmla="*/ 106 w 1401"/>
              <a:gd name="T15" fmla="*/ 480 h 2106"/>
              <a:gd name="T16" fmla="*/ 114 w 1401"/>
              <a:gd name="T17" fmla="*/ 456 h 2106"/>
              <a:gd name="T18" fmla="*/ 122 w 1401"/>
              <a:gd name="T19" fmla="*/ 433 h 2106"/>
              <a:gd name="T20" fmla="*/ 131 w 1401"/>
              <a:gd name="T21" fmla="*/ 412 h 2106"/>
              <a:gd name="T22" fmla="*/ 141 w 1401"/>
              <a:gd name="T23" fmla="*/ 391 h 2106"/>
              <a:gd name="T24" fmla="*/ 151 w 1401"/>
              <a:gd name="T25" fmla="*/ 371 h 2106"/>
              <a:gd name="T26" fmla="*/ 162 w 1401"/>
              <a:gd name="T27" fmla="*/ 351 h 2106"/>
              <a:gd name="T28" fmla="*/ 174 w 1401"/>
              <a:gd name="T29" fmla="*/ 333 h 2106"/>
              <a:gd name="T30" fmla="*/ 187 w 1401"/>
              <a:gd name="T31" fmla="*/ 316 h 2106"/>
              <a:gd name="T32" fmla="*/ 200 w 1401"/>
              <a:gd name="T33" fmla="*/ 299 h 2106"/>
              <a:gd name="T34" fmla="*/ 214 w 1401"/>
              <a:gd name="T35" fmla="*/ 283 h 2106"/>
              <a:gd name="T36" fmla="*/ 229 w 1401"/>
              <a:gd name="T37" fmla="*/ 268 h 2106"/>
              <a:gd name="T38" fmla="*/ 244 w 1401"/>
              <a:gd name="T39" fmla="*/ 253 h 2106"/>
              <a:gd name="T40" fmla="*/ 259 w 1401"/>
              <a:gd name="T41" fmla="*/ 240 h 2106"/>
              <a:gd name="T42" fmla="*/ 277 w 1401"/>
              <a:gd name="T43" fmla="*/ 227 h 2106"/>
              <a:gd name="T44" fmla="*/ 294 w 1401"/>
              <a:gd name="T45" fmla="*/ 215 h 2106"/>
              <a:gd name="T46" fmla="*/ 311 w 1401"/>
              <a:gd name="T47" fmla="*/ 203 h 2106"/>
              <a:gd name="T48" fmla="*/ 330 w 1401"/>
              <a:gd name="T49" fmla="*/ 194 h 2106"/>
              <a:gd name="T50" fmla="*/ 348 w 1401"/>
              <a:gd name="T51" fmla="*/ 184 h 2106"/>
              <a:gd name="T52" fmla="*/ 367 w 1401"/>
              <a:gd name="T53" fmla="*/ 174 h 2106"/>
              <a:gd name="T54" fmla="*/ 387 w 1401"/>
              <a:gd name="T55" fmla="*/ 167 h 2106"/>
              <a:gd name="T56" fmla="*/ 407 w 1401"/>
              <a:gd name="T57" fmla="*/ 159 h 2106"/>
              <a:gd name="T58" fmla="*/ 428 w 1401"/>
              <a:gd name="T59" fmla="*/ 153 h 2106"/>
              <a:gd name="T60" fmla="*/ 450 w 1401"/>
              <a:gd name="T61" fmla="*/ 146 h 2106"/>
              <a:gd name="T62" fmla="*/ 471 w 1401"/>
              <a:gd name="T63" fmla="*/ 141 h 2106"/>
              <a:gd name="T64" fmla="*/ 493 w 1401"/>
              <a:gd name="T65" fmla="*/ 136 h 2106"/>
              <a:gd name="T66" fmla="*/ 515 w 1401"/>
              <a:gd name="T67" fmla="*/ 133 h 2106"/>
              <a:gd name="T68" fmla="*/ 1401 w 1401"/>
              <a:gd name="T69" fmla="*/ 0 h 2106"/>
              <a:gd name="T70" fmla="*/ 1401 w 1401"/>
              <a:gd name="T71" fmla="*/ 348 h 2106"/>
              <a:gd name="T72" fmla="*/ 837 w 1401"/>
              <a:gd name="T73" fmla="*/ 525 h 2106"/>
              <a:gd name="T74" fmla="*/ 813 w 1401"/>
              <a:gd name="T75" fmla="*/ 534 h 2106"/>
              <a:gd name="T76" fmla="*/ 789 w 1401"/>
              <a:gd name="T77" fmla="*/ 543 h 2106"/>
              <a:gd name="T78" fmla="*/ 765 w 1401"/>
              <a:gd name="T79" fmla="*/ 554 h 2106"/>
              <a:gd name="T80" fmla="*/ 740 w 1401"/>
              <a:gd name="T81" fmla="*/ 566 h 2106"/>
              <a:gd name="T82" fmla="*/ 717 w 1401"/>
              <a:gd name="T83" fmla="*/ 580 h 2106"/>
              <a:gd name="T84" fmla="*/ 695 w 1401"/>
              <a:gd name="T85" fmla="*/ 594 h 2106"/>
              <a:gd name="T86" fmla="*/ 672 w 1401"/>
              <a:gd name="T87" fmla="*/ 609 h 2106"/>
              <a:gd name="T88" fmla="*/ 650 w 1401"/>
              <a:gd name="T89" fmla="*/ 627 h 2106"/>
              <a:gd name="T90" fmla="*/ 631 w 1401"/>
              <a:gd name="T91" fmla="*/ 644 h 2106"/>
              <a:gd name="T92" fmla="*/ 612 w 1401"/>
              <a:gd name="T93" fmla="*/ 662 h 2106"/>
              <a:gd name="T94" fmla="*/ 593 w 1401"/>
              <a:gd name="T95" fmla="*/ 682 h 2106"/>
              <a:gd name="T96" fmla="*/ 576 w 1401"/>
              <a:gd name="T97" fmla="*/ 702 h 2106"/>
              <a:gd name="T98" fmla="*/ 561 w 1401"/>
              <a:gd name="T99" fmla="*/ 724 h 2106"/>
              <a:gd name="T100" fmla="*/ 547 w 1401"/>
              <a:gd name="T101" fmla="*/ 745 h 2106"/>
              <a:gd name="T102" fmla="*/ 535 w 1401"/>
              <a:gd name="T103" fmla="*/ 768 h 2106"/>
              <a:gd name="T104" fmla="*/ 524 w 1401"/>
              <a:gd name="T105" fmla="*/ 792 h 2106"/>
              <a:gd name="T106" fmla="*/ 0 w 1401"/>
              <a:gd name="T107" fmla="*/ 2106 h 2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401" h="2106">
                <a:moveTo>
                  <a:pt x="0" y="2106"/>
                </a:moveTo>
                <a:lnTo>
                  <a:pt x="81" y="638"/>
                </a:lnTo>
                <a:lnTo>
                  <a:pt x="82" y="609"/>
                </a:lnTo>
                <a:lnTo>
                  <a:pt x="86" y="581"/>
                </a:lnTo>
                <a:lnTo>
                  <a:pt x="90" y="555"/>
                </a:lnTo>
                <a:lnTo>
                  <a:pt x="94" y="529"/>
                </a:lnTo>
                <a:lnTo>
                  <a:pt x="100" y="504"/>
                </a:lnTo>
                <a:lnTo>
                  <a:pt x="106" y="480"/>
                </a:lnTo>
                <a:lnTo>
                  <a:pt x="114" y="456"/>
                </a:lnTo>
                <a:lnTo>
                  <a:pt x="122" y="433"/>
                </a:lnTo>
                <a:lnTo>
                  <a:pt x="131" y="412"/>
                </a:lnTo>
                <a:lnTo>
                  <a:pt x="141" y="391"/>
                </a:lnTo>
                <a:lnTo>
                  <a:pt x="151" y="371"/>
                </a:lnTo>
                <a:lnTo>
                  <a:pt x="162" y="351"/>
                </a:lnTo>
                <a:lnTo>
                  <a:pt x="174" y="333"/>
                </a:lnTo>
                <a:lnTo>
                  <a:pt x="187" y="316"/>
                </a:lnTo>
                <a:lnTo>
                  <a:pt x="200" y="299"/>
                </a:lnTo>
                <a:lnTo>
                  <a:pt x="214" y="283"/>
                </a:lnTo>
                <a:lnTo>
                  <a:pt x="229" y="268"/>
                </a:lnTo>
                <a:lnTo>
                  <a:pt x="244" y="253"/>
                </a:lnTo>
                <a:lnTo>
                  <a:pt x="259" y="240"/>
                </a:lnTo>
                <a:lnTo>
                  <a:pt x="277" y="227"/>
                </a:lnTo>
                <a:lnTo>
                  <a:pt x="294" y="215"/>
                </a:lnTo>
                <a:lnTo>
                  <a:pt x="311" y="203"/>
                </a:lnTo>
                <a:lnTo>
                  <a:pt x="330" y="194"/>
                </a:lnTo>
                <a:lnTo>
                  <a:pt x="348" y="184"/>
                </a:lnTo>
                <a:lnTo>
                  <a:pt x="367" y="174"/>
                </a:lnTo>
                <a:lnTo>
                  <a:pt x="387" y="167"/>
                </a:lnTo>
                <a:lnTo>
                  <a:pt x="407" y="159"/>
                </a:lnTo>
                <a:lnTo>
                  <a:pt x="428" y="153"/>
                </a:lnTo>
                <a:lnTo>
                  <a:pt x="450" y="146"/>
                </a:lnTo>
                <a:lnTo>
                  <a:pt x="471" y="141"/>
                </a:lnTo>
                <a:lnTo>
                  <a:pt x="493" y="136"/>
                </a:lnTo>
                <a:lnTo>
                  <a:pt x="515" y="133"/>
                </a:lnTo>
                <a:lnTo>
                  <a:pt x="1401" y="0"/>
                </a:lnTo>
                <a:lnTo>
                  <a:pt x="1401" y="348"/>
                </a:lnTo>
                <a:lnTo>
                  <a:pt x="837" y="525"/>
                </a:lnTo>
                <a:lnTo>
                  <a:pt x="813" y="534"/>
                </a:lnTo>
                <a:lnTo>
                  <a:pt x="789" y="543"/>
                </a:lnTo>
                <a:lnTo>
                  <a:pt x="765" y="554"/>
                </a:lnTo>
                <a:lnTo>
                  <a:pt x="740" y="566"/>
                </a:lnTo>
                <a:lnTo>
                  <a:pt x="717" y="580"/>
                </a:lnTo>
                <a:lnTo>
                  <a:pt x="695" y="594"/>
                </a:lnTo>
                <a:lnTo>
                  <a:pt x="672" y="609"/>
                </a:lnTo>
                <a:lnTo>
                  <a:pt x="650" y="627"/>
                </a:lnTo>
                <a:lnTo>
                  <a:pt x="631" y="644"/>
                </a:lnTo>
                <a:lnTo>
                  <a:pt x="612" y="662"/>
                </a:lnTo>
                <a:lnTo>
                  <a:pt x="593" y="682"/>
                </a:lnTo>
                <a:lnTo>
                  <a:pt x="576" y="702"/>
                </a:lnTo>
                <a:lnTo>
                  <a:pt x="561" y="724"/>
                </a:lnTo>
                <a:lnTo>
                  <a:pt x="547" y="745"/>
                </a:lnTo>
                <a:lnTo>
                  <a:pt x="535" y="768"/>
                </a:lnTo>
                <a:lnTo>
                  <a:pt x="524" y="792"/>
                </a:lnTo>
                <a:lnTo>
                  <a:pt x="0" y="2106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1" name="Freeform 10"/>
          <p:cNvSpPr>
            <a:spLocks/>
          </p:cNvSpPr>
          <p:nvPr userDrawn="1"/>
        </p:nvSpPr>
        <p:spPr bwMode="auto">
          <a:xfrm>
            <a:off x="9321287" y="5721350"/>
            <a:ext cx="584729" cy="179388"/>
          </a:xfrm>
          <a:custGeom>
            <a:avLst/>
            <a:gdLst>
              <a:gd name="T0" fmla="*/ 0 w 1021"/>
              <a:gd name="T1" fmla="*/ 278 h 338"/>
              <a:gd name="T2" fmla="*/ 1021 w 1021"/>
              <a:gd name="T3" fmla="*/ 0 h 338"/>
              <a:gd name="T4" fmla="*/ 1021 w 1021"/>
              <a:gd name="T5" fmla="*/ 338 h 338"/>
              <a:gd name="T6" fmla="*/ 0 w 1021"/>
              <a:gd name="T7" fmla="*/ 278 h 3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21" h="338">
                <a:moveTo>
                  <a:pt x="0" y="278"/>
                </a:moveTo>
                <a:lnTo>
                  <a:pt x="1021" y="0"/>
                </a:lnTo>
                <a:lnTo>
                  <a:pt x="1021" y="338"/>
                </a:lnTo>
                <a:lnTo>
                  <a:pt x="0" y="278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3" name="Freeform 12"/>
          <p:cNvSpPr>
            <a:spLocks/>
          </p:cNvSpPr>
          <p:nvPr userDrawn="1"/>
        </p:nvSpPr>
        <p:spPr bwMode="auto">
          <a:xfrm>
            <a:off x="8057225" y="6461294"/>
            <a:ext cx="278606" cy="396875"/>
          </a:xfrm>
          <a:custGeom>
            <a:avLst/>
            <a:gdLst>
              <a:gd name="T0" fmla="*/ 0 w 484"/>
              <a:gd name="T1" fmla="*/ 0 h 749"/>
              <a:gd name="T2" fmla="*/ 484 w 484"/>
              <a:gd name="T3" fmla="*/ 749 h 749"/>
              <a:gd name="T4" fmla="*/ 191 w 484"/>
              <a:gd name="T5" fmla="*/ 749 h 749"/>
              <a:gd name="T6" fmla="*/ 0 w 484"/>
              <a:gd name="T7" fmla="*/ 0 h 7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4" h="749">
                <a:moveTo>
                  <a:pt x="0" y="0"/>
                </a:moveTo>
                <a:lnTo>
                  <a:pt x="484" y="749"/>
                </a:lnTo>
                <a:lnTo>
                  <a:pt x="191" y="749"/>
                </a:lnTo>
                <a:lnTo>
                  <a:pt x="0" y="0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5" name="Freeform 14"/>
          <p:cNvSpPr>
            <a:spLocks/>
          </p:cNvSpPr>
          <p:nvPr userDrawn="1"/>
        </p:nvSpPr>
        <p:spPr bwMode="auto">
          <a:xfrm>
            <a:off x="4617648" y="5487988"/>
            <a:ext cx="2445544" cy="769938"/>
          </a:xfrm>
          <a:custGeom>
            <a:avLst/>
            <a:gdLst>
              <a:gd name="T0" fmla="*/ 4268 w 4268"/>
              <a:gd name="T1" fmla="*/ 95 h 1455"/>
              <a:gd name="T2" fmla="*/ 3342 w 4268"/>
              <a:gd name="T3" fmla="*/ 1237 h 1455"/>
              <a:gd name="T4" fmla="*/ 3324 w 4268"/>
              <a:gd name="T5" fmla="*/ 1259 h 1455"/>
              <a:gd name="T6" fmla="*/ 3305 w 4268"/>
              <a:gd name="T7" fmla="*/ 1280 h 1455"/>
              <a:gd name="T8" fmla="*/ 3287 w 4268"/>
              <a:gd name="T9" fmla="*/ 1300 h 1455"/>
              <a:gd name="T10" fmla="*/ 3268 w 4268"/>
              <a:gd name="T11" fmla="*/ 1317 h 1455"/>
              <a:gd name="T12" fmla="*/ 3248 w 4268"/>
              <a:gd name="T13" fmla="*/ 1334 h 1455"/>
              <a:gd name="T14" fmla="*/ 3229 w 4268"/>
              <a:gd name="T15" fmla="*/ 1351 h 1455"/>
              <a:gd name="T16" fmla="*/ 3209 w 4268"/>
              <a:gd name="T17" fmla="*/ 1366 h 1455"/>
              <a:gd name="T18" fmla="*/ 3190 w 4268"/>
              <a:gd name="T19" fmla="*/ 1379 h 1455"/>
              <a:gd name="T20" fmla="*/ 3169 w 4268"/>
              <a:gd name="T21" fmla="*/ 1392 h 1455"/>
              <a:gd name="T22" fmla="*/ 3150 w 4268"/>
              <a:gd name="T23" fmla="*/ 1402 h 1455"/>
              <a:gd name="T24" fmla="*/ 3129 w 4268"/>
              <a:gd name="T25" fmla="*/ 1412 h 1455"/>
              <a:gd name="T26" fmla="*/ 3109 w 4268"/>
              <a:gd name="T27" fmla="*/ 1422 h 1455"/>
              <a:gd name="T28" fmla="*/ 3088 w 4268"/>
              <a:gd name="T29" fmla="*/ 1429 h 1455"/>
              <a:gd name="T30" fmla="*/ 3068 w 4268"/>
              <a:gd name="T31" fmla="*/ 1436 h 1455"/>
              <a:gd name="T32" fmla="*/ 3047 w 4268"/>
              <a:gd name="T33" fmla="*/ 1442 h 1455"/>
              <a:gd name="T34" fmla="*/ 3027 w 4268"/>
              <a:gd name="T35" fmla="*/ 1447 h 1455"/>
              <a:gd name="T36" fmla="*/ 3006 w 4268"/>
              <a:gd name="T37" fmla="*/ 1451 h 1455"/>
              <a:gd name="T38" fmla="*/ 2985 w 4268"/>
              <a:gd name="T39" fmla="*/ 1453 h 1455"/>
              <a:gd name="T40" fmla="*/ 2964 w 4268"/>
              <a:gd name="T41" fmla="*/ 1455 h 1455"/>
              <a:gd name="T42" fmla="*/ 2944 w 4268"/>
              <a:gd name="T43" fmla="*/ 1455 h 1455"/>
              <a:gd name="T44" fmla="*/ 2922 w 4268"/>
              <a:gd name="T45" fmla="*/ 1455 h 1455"/>
              <a:gd name="T46" fmla="*/ 2902 w 4268"/>
              <a:gd name="T47" fmla="*/ 1454 h 1455"/>
              <a:gd name="T48" fmla="*/ 2881 w 4268"/>
              <a:gd name="T49" fmla="*/ 1452 h 1455"/>
              <a:gd name="T50" fmla="*/ 2859 w 4268"/>
              <a:gd name="T51" fmla="*/ 1449 h 1455"/>
              <a:gd name="T52" fmla="*/ 2839 w 4268"/>
              <a:gd name="T53" fmla="*/ 1444 h 1455"/>
              <a:gd name="T54" fmla="*/ 2818 w 4268"/>
              <a:gd name="T55" fmla="*/ 1440 h 1455"/>
              <a:gd name="T56" fmla="*/ 2797 w 4268"/>
              <a:gd name="T57" fmla="*/ 1434 h 1455"/>
              <a:gd name="T58" fmla="*/ 2776 w 4268"/>
              <a:gd name="T59" fmla="*/ 1427 h 1455"/>
              <a:gd name="T60" fmla="*/ 2756 w 4268"/>
              <a:gd name="T61" fmla="*/ 1420 h 1455"/>
              <a:gd name="T62" fmla="*/ 2735 w 4268"/>
              <a:gd name="T63" fmla="*/ 1411 h 1455"/>
              <a:gd name="T64" fmla="*/ 2715 w 4268"/>
              <a:gd name="T65" fmla="*/ 1402 h 1455"/>
              <a:gd name="T66" fmla="*/ 2694 w 4268"/>
              <a:gd name="T67" fmla="*/ 1393 h 1455"/>
              <a:gd name="T68" fmla="*/ 0 w 4268"/>
              <a:gd name="T69" fmla="*/ 0 h 1455"/>
              <a:gd name="T70" fmla="*/ 2664 w 4268"/>
              <a:gd name="T71" fmla="*/ 885 h 1455"/>
              <a:gd name="T72" fmla="*/ 2688 w 4268"/>
              <a:gd name="T73" fmla="*/ 893 h 1455"/>
              <a:gd name="T74" fmla="*/ 2714 w 4268"/>
              <a:gd name="T75" fmla="*/ 899 h 1455"/>
              <a:gd name="T76" fmla="*/ 2740 w 4268"/>
              <a:gd name="T77" fmla="*/ 905 h 1455"/>
              <a:gd name="T78" fmla="*/ 2767 w 4268"/>
              <a:gd name="T79" fmla="*/ 909 h 1455"/>
              <a:gd name="T80" fmla="*/ 2792 w 4268"/>
              <a:gd name="T81" fmla="*/ 911 h 1455"/>
              <a:gd name="T82" fmla="*/ 2819 w 4268"/>
              <a:gd name="T83" fmla="*/ 913 h 1455"/>
              <a:gd name="T84" fmla="*/ 2846 w 4268"/>
              <a:gd name="T85" fmla="*/ 913 h 1455"/>
              <a:gd name="T86" fmla="*/ 2873 w 4268"/>
              <a:gd name="T87" fmla="*/ 913 h 1455"/>
              <a:gd name="T88" fmla="*/ 2900 w 4268"/>
              <a:gd name="T89" fmla="*/ 910 h 1455"/>
              <a:gd name="T90" fmla="*/ 2927 w 4268"/>
              <a:gd name="T91" fmla="*/ 907 h 1455"/>
              <a:gd name="T92" fmla="*/ 2953 w 4268"/>
              <a:gd name="T93" fmla="*/ 901 h 1455"/>
              <a:gd name="T94" fmla="*/ 2979 w 4268"/>
              <a:gd name="T95" fmla="*/ 895 h 1455"/>
              <a:gd name="T96" fmla="*/ 3004 w 4268"/>
              <a:gd name="T97" fmla="*/ 887 h 1455"/>
              <a:gd name="T98" fmla="*/ 3028 w 4268"/>
              <a:gd name="T99" fmla="*/ 878 h 1455"/>
              <a:gd name="T100" fmla="*/ 3051 w 4268"/>
              <a:gd name="T101" fmla="*/ 866 h 1455"/>
              <a:gd name="T102" fmla="*/ 3073 w 4268"/>
              <a:gd name="T103" fmla="*/ 853 h 1455"/>
              <a:gd name="T104" fmla="*/ 4268 w 4268"/>
              <a:gd name="T105" fmla="*/ 95 h 14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268" h="1455">
                <a:moveTo>
                  <a:pt x="4268" y="95"/>
                </a:moveTo>
                <a:lnTo>
                  <a:pt x="3342" y="1237"/>
                </a:lnTo>
                <a:lnTo>
                  <a:pt x="3324" y="1259"/>
                </a:lnTo>
                <a:lnTo>
                  <a:pt x="3305" y="1280"/>
                </a:lnTo>
                <a:lnTo>
                  <a:pt x="3287" y="1300"/>
                </a:lnTo>
                <a:lnTo>
                  <a:pt x="3268" y="1317"/>
                </a:lnTo>
                <a:lnTo>
                  <a:pt x="3248" y="1334"/>
                </a:lnTo>
                <a:lnTo>
                  <a:pt x="3229" y="1351"/>
                </a:lnTo>
                <a:lnTo>
                  <a:pt x="3209" y="1366"/>
                </a:lnTo>
                <a:lnTo>
                  <a:pt x="3190" y="1379"/>
                </a:lnTo>
                <a:lnTo>
                  <a:pt x="3169" y="1392"/>
                </a:lnTo>
                <a:lnTo>
                  <a:pt x="3150" y="1402"/>
                </a:lnTo>
                <a:lnTo>
                  <a:pt x="3129" y="1412"/>
                </a:lnTo>
                <a:lnTo>
                  <a:pt x="3109" y="1422"/>
                </a:lnTo>
                <a:lnTo>
                  <a:pt x="3088" y="1429"/>
                </a:lnTo>
                <a:lnTo>
                  <a:pt x="3068" y="1436"/>
                </a:lnTo>
                <a:lnTo>
                  <a:pt x="3047" y="1442"/>
                </a:lnTo>
                <a:lnTo>
                  <a:pt x="3027" y="1447"/>
                </a:lnTo>
                <a:lnTo>
                  <a:pt x="3006" y="1451"/>
                </a:lnTo>
                <a:lnTo>
                  <a:pt x="2985" y="1453"/>
                </a:lnTo>
                <a:lnTo>
                  <a:pt x="2964" y="1455"/>
                </a:lnTo>
                <a:lnTo>
                  <a:pt x="2944" y="1455"/>
                </a:lnTo>
                <a:lnTo>
                  <a:pt x="2922" y="1455"/>
                </a:lnTo>
                <a:lnTo>
                  <a:pt x="2902" y="1454"/>
                </a:lnTo>
                <a:lnTo>
                  <a:pt x="2881" y="1452"/>
                </a:lnTo>
                <a:lnTo>
                  <a:pt x="2859" y="1449"/>
                </a:lnTo>
                <a:lnTo>
                  <a:pt x="2839" y="1444"/>
                </a:lnTo>
                <a:lnTo>
                  <a:pt x="2818" y="1440"/>
                </a:lnTo>
                <a:lnTo>
                  <a:pt x="2797" y="1434"/>
                </a:lnTo>
                <a:lnTo>
                  <a:pt x="2776" y="1427"/>
                </a:lnTo>
                <a:lnTo>
                  <a:pt x="2756" y="1420"/>
                </a:lnTo>
                <a:lnTo>
                  <a:pt x="2735" y="1411"/>
                </a:lnTo>
                <a:lnTo>
                  <a:pt x="2715" y="1402"/>
                </a:lnTo>
                <a:lnTo>
                  <a:pt x="2694" y="1393"/>
                </a:lnTo>
                <a:lnTo>
                  <a:pt x="0" y="0"/>
                </a:lnTo>
                <a:lnTo>
                  <a:pt x="2664" y="885"/>
                </a:lnTo>
                <a:lnTo>
                  <a:pt x="2688" y="893"/>
                </a:lnTo>
                <a:lnTo>
                  <a:pt x="2714" y="899"/>
                </a:lnTo>
                <a:lnTo>
                  <a:pt x="2740" y="905"/>
                </a:lnTo>
                <a:lnTo>
                  <a:pt x="2767" y="909"/>
                </a:lnTo>
                <a:lnTo>
                  <a:pt x="2792" y="911"/>
                </a:lnTo>
                <a:lnTo>
                  <a:pt x="2819" y="913"/>
                </a:lnTo>
                <a:lnTo>
                  <a:pt x="2846" y="913"/>
                </a:lnTo>
                <a:lnTo>
                  <a:pt x="2873" y="913"/>
                </a:lnTo>
                <a:lnTo>
                  <a:pt x="2900" y="910"/>
                </a:lnTo>
                <a:lnTo>
                  <a:pt x="2927" y="907"/>
                </a:lnTo>
                <a:lnTo>
                  <a:pt x="2953" y="901"/>
                </a:lnTo>
                <a:lnTo>
                  <a:pt x="2979" y="895"/>
                </a:lnTo>
                <a:lnTo>
                  <a:pt x="3004" y="887"/>
                </a:lnTo>
                <a:lnTo>
                  <a:pt x="3028" y="878"/>
                </a:lnTo>
                <a:lnTo>
                  <a:pt x="3051" y="866"/>
                </a:lnTo>
                <a:lnTo>
                  <a:pt x="3073" y="853"/>
                </a:lnTo>
                <a:lnTo>
                  <a:pt x="4268" y="95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6" name="Группа 15"/>
          <p:cNvGrpSpPr/>
          <p:nvPr userDrawn="1"/>
        </p:nvGrpSpPr>
        <p:grpSpPr>
          <a:xfrm>
            <a:off x="4459430" y="1936750"/>
            <a:ext cx="5446581" cy="4921250"/>
            <a:chOff x="4116388" y="1936750"/>
            <a:chExt cx="5027613" cy="4921250"/>
          </a:xfrm>
        </p:grpSpPr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6203950" y="1936750"/>
              <a:ext cx="1966913" cy="2646363"/>
            </a:xfrm>
            <a:custGeom>
              <a:avLst/>
              <a:gdLst>
                <a:gd name="T0" fmla="*/ 2936 w 3717"/>
                <a:gd name="T1" fmla="*/ 4866 h 5000"/>
                <a:gd name="T2" fmla="*/ 2932 w 3717"/>
                <a:gd name="T3" fmla="*/ 4886 h 5000"/>
                <a:gd name="T4" fmla="*/ 2924 w 3717"/>
                <a:gd name="T5" fmla="*/ 4905 h 5000"/>
                <a:gd name="T6" fmla="*/ 2915 w 3717"/>
                <a:gd name="T7" fmla="*/ 4922 h 5000"/>
                <a:gd name="T8" fmla="*/ 2905 w 3717"/>
                <a:gd name="T9" fmla="*/ 4938 h 5000"/>
                <a:gd name="T10" fmla="*/ 2893 w 3717"/>
                <a:gd name="T11" fmla="*/ 4952 h 5000"/>
                <a:gd name="T12" fmla="*/ 2879 w 3717"/>
                <a:gd name="T13" fmla="*/ 4964 h 5000"/>
                <a:gd name="T14" fmla="*/ 2847 w 3717"/>
                <a:gd name="T15" fmla="*/ 4983 h 5000"/>
                <a:gd name="T16" fmla="*/ 2811 w 3717"/>
                <a:gd name="T17" fmla="*/ 4996 h 5000"/>
                <a:gd name="T18" fmla="*/ 2773 w 3717"/>
                <a:gd name="T19" fmla="*/ 5000 h 5000"/>
                <a:gd name="T20" fmla="*/ 2733 w 3717"/>
                <a:gd name="T21" fmla="*/ 4998 h 5000"/>
                <a:gd name="T22" fmla="*/ 2693 w 3717"/>
                <a:gd name="T23" fmla="*/ 4987 h 5000"/>
                <a:gd name="T24" fmla="*/ 329 w 3717"/>
                <a:gd name="T25" fmla="*/ 4073 h 5000"/>
                <a:gd name="T26" fmla="*/ 279 w 3717"/>
                <a:gd name="T27" fmla="*/ 4049 h 5000"/>
                <a:gd name="T28" fmla="*/ 233 w 3717"/>
                <a:gd name="T29" fmla="*/ 4024 h 5000"/>
                <a:gd name="T30" fmla="*/ 192 w 3717"/>
                <a:gd name="T31" fmla="*/ 3996 h 5000"/>
                <a:gd name="T32" fmla="*/ 155 w 3717"/>
                <a:gd name="T33" fmla="*/ 3966 h 5000"/>
                <a:gd name="T34" fmla="*/ 122 w 3717"/>
                <a:gd name="T35" fmla="*/ 3934 h 5000"/>
                <a:gd name="T36" fmla="*/ 93 w 3717"/>
                <a:gd name="T37" fmla="*/ 3900 h 5000"/>
                <a:gd name="T38" fmla="*/ 70 w 3717"/>
                <a:gd name="T39" fmla="*/ 3865 h 5000"/>
                <a:gd name="T40" fmla="*/ 48 w 3717"/>
                <a:gd name="T41" fmla="*/ 3829 h 5000"/>
                <a:gd name="T42" fmla="*/ 32 w 3717"/>
                <a:gd name="T43" fmla="*/ 3790 h 5000"/>
                <a:gd name="T44" fmla="*/ 18 w 3717"/>
                <a:gd name="T45" fmla="*/ 3750 h 5000"/>
                <a:gd name="T46" fmla="*/ 8 w 3717"/>
                <a:gd name="T47" fmla="*/ 3710 h 5000"/>
                <a:gd name="T48" fmla="*/ 3 w 3717"/>
                <a:gd name="T49" fmla="*/ 3668 h 5000"/>
                <a:gd name="T50" fmla="*/ 0 w 3717"/>
                <a:gd name="T51" fmla="*/ 3625 h 5000"/>
                <a:gd name="T52" fmla="*/ 0 w 3717"/>
                <a:gd name="T53" fmla="*/ 3581 h 5000"/>
                <a:gd name="T54" fmla="*/ 5 w 3717"/>
                <a:gd name="T55" fmla="*/ 3537 h 5000"/>
                <a:gd name="T56" fmla="*/ 507 w 3717"/>
                <a:gd name="T57" fmla="*/ 523 h 5000"/>
                <a:gd name="T58" fmla="*/ 516 w 3717"/>
                <a:gd name="T59" fmla="*/ 479 h 5000"/>
                <a:gd name="T60" fmla="*/ 527 w 3717"/>
                <a:gd name="T61" fmla="*/ 437 h 5000"/>
                <a:gd name="T62" fmla="*/ 541 w 3717"/>
                <a:gd name="T63" fmla="*/ 396 h 5000"/>
                <a:gd name="T64" fmla="*/ 560 w 3717"/>
                <a:gd name="T65" fmla="*/ 357 h 5000"/>
                <a:gd name="T66" fmla="*/ 580 w 3717"/>
                <a:gd name="T67" fmla="*/ 320 h 5000"/>
                <a:gd name="T68" fmla="*/ 604 w 3717"/>
                <a:gd name="T69" fmla="*/ 286 h 5000"/>
                <a:gd name="T70" fmla="*/ 631 w 3717"/>
                <a:gd name="T71" fmla="*/ 254 h 5000"/>
                <a:gd name="T72" fmla="*/ 661 w 3717"/>
                <a:gd name="T73" fmla="*/ 224 h 5000"/>
                <a:gd name="T74" fmla="*/ 694 w 3717"/>
                <a:gd name="T75" fmla="*/ 198 h 5000"/>
                <a:gd name="T76" fmla="*/ 730 w 3717"/>
                <a:gd name="T77" fmla="*/ 173 h 5000"/>
                <a:gd name="T78" fmla="*/ 770 w 3717"/>
                <a:gd name="T79" fmla="*/ 153 h 5000"/>
                <a:gd name="T80" fmla="*/ 814 w 3717"/>
                <a:gd name="T81" fmla="*/ 135 h 5000"/>
                <a:gd name="T82" fmla="*/ 859 w 3717"/>
                <a:gd name="T83" fmla="*/ 121 h 5000"/>
                <a:gd name="T84" fmla="*/ 909 w 3717"/>
                <a:gd name="T85" fmla="*/ 109 h 5000"/>
                <a:gd name="T86" fmla="*/ 962 w 3717"/>
                <a:gd name="T87" fmla="*/ 101 h 5000"/>
                <a:gd name="T88" fmla="*/ 1019 w 3717"/>
                <a:gd name="T89" fmla="*/ 97 h 5000"/>
                <a:gd name="T90" fmla="*/ 3544 w 3717"/>
                <a:gd name="T91" fmla="*/ 0 h 5000"/>
                <a:gd name="T92" fmla="*/ 3584 w 3717"/>
                <a:gd name="T93" fmla="*/ 6 h 5000"/>
                <a:gd name="T94" fmla="*/ 3622 w 3717"/>
                <a:gd name="T95" fmla="*/ 20 h 5000"/>
                <a:gd name="T96" fmla="*/ 3654 w 3717"/>
                <a:gd name="T97" fmla="*/ 41 h 5000"/>
                <a:gd name="T98" fmla="*/ 3680 w 3717"/>
                <a:gd name="T99" fmla="*/ 67 h 5000"/>
                <a:gd name="T100" fmla="*/ 3696 w 3717"/>
                <a:gd name="T101" fmla="*/ 89 h 5000"/>
                <a:gd name="T102" fmla="*/ 3705 w 3717"/>
                <a:gd name="T103" fmla="*/ 106 h 5000"/>
                <a:gd name="T104" fmla="*/ 3710 w 3717"/>
                <a:gd name="T105" fmla="*/ 124 h 5000"/>
                <a:gd name="T106" fmla="*/ 3715 w 3717"/>
                <a:gd name="T107" fmla="*/ 142 h 5000"/>
                <a:gd name="T108" fmla="*/ 3717 w 3717"/>
                <a:gd name="T109" fmla="*/ 162 h 5000"/>
                <a:gd name="T110" fmla="*/ 3716 w 3717"/>
                <a:gd name="T111" fmla="*/ 182 h 5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717" h="5000">
                  <a:moveTo>
                    <a:pt x="3715" y="192"/>
                  </a:moveTo>
                  <a:lnTo>
                    <a:pt x="2936" y="4866"/>
                  </a:lnTo>
                  <a:lnTo>
                    <a:pt x="2934" y="4876"/>
                  </a:lnTo>
                  <a:lnTo>
                    <a:pt x="2932" y="4886"/>
                  </a:lnTo>
                  <a:lnTo>
                    <a:pt x="2928" y="4895"/>
                  </a:lnTo>
                  <a:lnTo>
                    <a:pt x="2924" y="4905"/>
                  </a:lnTo>
                  <a:lnTo>
                    <a:pt x="2921" y="4914"/>
                  </a:lnTo>
                  <a:lnTo>
                    <a:pt x="2915" y="4922"/>
                  </a:lnTo>
                  <a:lnTo>
                    <a:pt x="2911" y="4930"/>
                  </a:lnTo>
                  <a:lnTo>
                    <a:pt x="2905" y="4938"/>
                  </a:lnTo>
                  <a:lnTo>
                    <a:pt x="2899" y="4945"/>
                  </a:lnTo>
                  <a:lnTo>
                    <a:pt x="2893" y="4952"/>
                  </a:lnTo>
                  <a:lnTo>
                    <a:pt x="2886" y="4958"/>
                  </a:lnTo>
                  <a:lnTo>
                    <a:pt x="2879" y="4964"/>
                  </a:lnTo>
                  <a:lnTo>
                    <a:pt x="2863" y="4974"/>
                  </a:lnTo>
                  <a:lnTo>
                    <a:pt x="2847" y="4983"/>
                  </a:lnTo>
                  <a:lnTo>
                    <a:pt x="2829" y="4991"/>
                  </a:lnTo>
                  <a:lnTo>
                    <a:pt x="2811" y="4996"/>
                  </a:lnTo>
                  <a:lnTo>
                    <a:pt x="2792" y="4999"/>
                  </a:lnTo>
                  <a:lnTo>
                    <a:pt x="2773" y="5000"/>
                  </a:lnTo>
                  <a:lnTo>
                    <a:pt x="2752" y="5000"/>
                  </a:lnTo>
                  <a:lnTo>
                    <a:pt x="2733" y="4998"/>
                  </a:lnTo>
                  <a:lnTo>
                    <a:pt x="2713" y="4994"/>
                  </a:lnTo>
                  <a:lnTo>
                    <a:pt x="2693" y="4987"/>
                  </a:lnTo>
                  <a:lnTo>
                    <a:pt x="355" y="4083"/>
                  </a:lnTo>
                  <a:lnTo>
                    <a:pt x="329" y="4073"/>
                  </a:lnTo>
                  <a:lnTo>
                    <a:pt x="303" y="4061"/>
                  </a:lnTo>
                  <a:lnTo>
                    <a:pt x="279" y="4049"/>
                  </a:lnTo>
                  <a:lnTo>
                    <a:pt x="255" y="4037"/>
                  </a:lnTo>
                  <a:lnTo>
                    <a:pt x="233" y="4024"/>
                  </a:lnTo>
                  <a:lnTo>
                    <a:pt x="212" y="4010"/>
                  </a:lnTo>
                  <a:lnTo>
                    <a:pt x="192" y="3996"/>
                  </a:lnTo>
                  <a:lnTo>
                    <a:pt x="173" y="3981"/>
                  </a:lnTo>
                  <a:lnTo>
                    <a:pt x="155" y="3966"/>
                  </a:lnTo>
                  <a:lnTo>
                    <a:pt x="139" y="3951"/>
                  </a:lnTo>
                  <a:lnTo>
                    <a:pt x="122" y="3934"/>
                  </a:lnTo>
                  <a:lnTo>
                    <a:pt x="107" y="3917"/>
                  </a:lnTo>
                  <a:lnTo>
                    <a:pt x="93" y="3900"/>
                  </a:lnTo>
                  <a:lnTo>
                    <a:pt x="81" y="3883"/>
                  </a:lnTo>
                  <a:lnTo>
                    <a:pt x="70" y="3865"/>
                  </a:lnTo>
                  <a:lnTo>
                    <a:pt x="58" y="3847"/>
                  </a:lnTo>
                  <a:lnTo>
                    <a:pt x="48" y="3829"/>
                  </a:lnTo>
                  <a:lnTo>
                    <a:pt x="39" y="3809"/>
                  </a:lnTo>
                  <a:lnTo>
                    <a:pt x="32" y="3790"/>
                  </a:lnTo>
                  <a:lnTo>
                    <a:pt x="24" y="3770"/>
                  </a:lnTo>
                  <a:lnTo>
                    <a:pt x="18" y="3750"/>
                  </a:lnTo>
                  <a:lnTo>
                    <a:pt x="12" y="3730"/>
                  </a:lnTo>
                  <a:lnTo>
                    <a:pt x="8" y="3710"/>
                  </a:lnTo>
                  <a:lnTo>
                    <a:pt x="5" y="3688"/>
                  </a:lnTo>
                  <a:lnTo>
                    <a:pt x="3" y="3668"/>
                  </a:lnTo>
                  <a:lnTo>
                    <a:pt x="0" y="3646"/>
                  </a:lnTo>
                  <a:lnTo>
                    <a:pt x="0" y="3625"/>
                  </a:lnTo>
                  <a:lnTo>
                    <a:pt x="0" y="3603"/>
                  </a:lnTo>
                  <a:lnTo>
                    <a:pt x="0" y="3581"/>
                  </a:lnTo>
                  <a:lnTo>
                    <a:pt x="3" y="3559"/>
                  </a:lnTo>
                  <a:lnTo>
                    <a:pt x="5" y="3537"/>
                  </a:lnTo>
                  <a:lnTo>
                    <a:pt x="8" y="3514"/>
                  </a:lnTo>
                  <a:lnTo>
                    <a:pt x="507" y="523"/>
                  </a:lnTo>
                  <a:lnTo>
                    <a:pt x="510" y="501"/>
                  </a:lnTo>
                  <a:lnTo>
                    <a:pt x="516" y="479"/>
                  </a:lnTo>
                  <a:lnTo>
                    <a:pt x="521" y="457"/>
                  </a:lnTo>
                  <a:lnTo>
                    <a:pt x="527" y="437"/>
                  </a:lnTo>
                  <a:lnTo>
                    <a:pt x="534" y="416"/>
                  </a:lnTo>
                  <a:lnTo>
                    <a:pt x="541" y="396"/>
                  </a:lnTo>
                  <a:lnTo>
                    <a:pt x="550" y="376"/>
                  </a:lnTo>
                  <a:lnTo>
                    <a:pt x="560" y="357"/>
                  </a:lnTo>
                  <a:lnTo>
                    <a:pt x="570" y="339"/>
                  </a:lnTo>
                  <a:lnTo>
                    <a:pt x="580" y="320"/>
                  </a:lnTo>
                  <a:lnTo>
                    <a:pt x="592" y="303"/>
                  </a:lnTo>
                  <a:lnTo>
                    <a:pt x="604" y="286"/>
                  </a:lnTo>
                  <a:lnTo>
                    <a:pt x="617" y="270"/>
                  </a:lnTo>
                  <a:lnTo>
                    <a:pt x="631" y="254"/>
                  </a:lnTo>
                  <a:lnTo>
                    <a:pt x="646" y="239"/>
                  </a:lnTo>
                  <a:lnTo>
                    <a:pt x="661" y="224"/>
                  </a:lnTo>
                  <a:lnTo>
                    <a:pt x="678" y="211"/>
                  </a:lnTo>
                  <a:lnTo>
                    <a:pt x="694" y="198"/>
                  </a:lnTo>
                  <a:lnTo>
                    <a:pt x="712" y="185"/>
                  </a:lnTo>
                  <a:lnTo>
                    <a:pt x="730" y="173"/>
                  </a:lnTo>
                  <a:lnTo>
                    <a:pt x="750" y="163"/>
                  </a:lnTo>
                  <a:lnTo>
                    <a:pt x="770" y="153"/>
                  </a:lnTo>
                  <a:lnTo>
                    <a:pt x="791" y="143"/>
                  </a:lnTo>
                  <a:lnTo>
                    <a:pt x="814" y="135"/>
                  </a:lnTo>
                  <a:lnTo>
                    <a:pt x="836" y="127"/>
                  </a:lnTo>
                  <a:lnTo>
                    <a:pt x="859" y="121"/>
                  </a:lnTo>
                  <a:lnTo>
                    <a:pt x="884" y="114"/>
                  </a:lnTo>
                  <a:lnTo>
                    <a:pt x="909" y="109"/>
                  </a:lnTo>
                  <a:lnTo>
                    <a:pt x="936" y="104"/>
                  </a:lnTo>
                  <a:lnTo>
                    <a:pt x="962" y="101"/>
                  </a:lnTo>
                  <a:lnTo>
                    <a:pt x="990" y="99"/>
                  </a:lnTo>
                  <a:lnTo>
                    <a:pt x="1019" y="97"/>
                  </a:lnTo>
                  <a:lnTo>
                    <a:pt x="3523" y="0"/>
                  </a:lnTo>
                  <a:lnTo>
                    <a:pt x="3544" y="0"/>
                  </a:lnTo>
                  <a:lnTo>
                    <a:pt x="3564" y="2"/>
                  </a:lnTo>
                  <a:lnTo>
                    <a:pt x="3584" y="6"/>
                  </a:lnTo>
                  <a:lnTo>
                    <a:pt x="3603" y="13"/>
                  </a:lnTo>
                  <a:lnTo>
                    <a:pt x="3622" y="20"/>
                  </a:lnTo>
                  <a:lnTo>
                    <a:pt x="3638" y="30"/>
                  </a:lnTo>
                  <a:lnTo>
                    <a:pt x="3654" y="41"/>
                  </a:lnTo>
                  <a:lnTo>
                    <a:pt x="3668" y="53"/>
                  </a:lnTo>
                  <a:lnTo>
                    <a:pt x="3680" y="67"/>
                  </a:lnTo>
                  <a:lnTo>
                    <a:pt x="3692" y="82"/>
                  </a:lnTo>
                  <a:lnTo>
                    <a:pt x="3696" y="89"/>
                  </a:lnTo>
                  <a:lnTo>
                    <a:pt x="3700" y="98"/>
                  </a:lnTo>
                  <a:lnTo>
                    <a:pt x="3705" y="106"/>
                  </a:lnTo>
                  <a:lnTo>
                    <a:pt x="3708" y="115"/>
                  </a:lnTo>
                  <a:lnTo>
                    <a:pt x="3710" y="124"/>
                  </a:lnTo>
                  <a:lnTo>
                    <a:pt x="3713" y="132"/>
                  </a:lnTo>
                  <a:lnTo>
                    <a:pt x="3715" y="142"/>
                  </a:lnTo>
                  <a:lnTo>
                    <a:pt x="3716" y="152"/>
                  </a:lnTo>
                  <a:lnTo>
                    <a:pt x="3717" y="162"/>
                  </a:lnTo>
                  <a:lnTo>
                    <a:pt x="3717" y="171"/>
                  </a:lnTo>
                  <a:lnTo>
                    <a:pt x="3716" y="182"/>
                  </a:lnTo>
                  <a:lnTo>
                    <a:pt x="3715" y="192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8372475" y="3473450"/>
              <a:ext cx="771525" cy="1765300"/>
            </a:xfrm>
            <a:custGeom>
              <a:avLst/>
              <a:gdLst>
                <a:gd name="T0" fmla="*/ 1458 w 1458"/>
                <a:gd name="T1" fmla="*/ 3144 h 3336"/>
                <a:gd name="T2" fmla="*/ 190 w 1458"/>
                <a:gd name="T3" fmla="*/ 3335 h 3336"/>
                <a:gd name="T4" fmla="*/ 180 w 1458"/>
                <a:gd name="T5" fmla="*/ 3336 h 3336"/>
                <a:gd name="T6" fmla="*/ 170 w 1458"/>
                <a:gd name="T7" fmla="*/ 3336 h 3336"/>
                <a:gd name="T8" fmla="*/ 160 w 1458"/>
                <a:gd name="T9" fmla="*/ 3336 h 3336"/>
                <a:gd name="T10" fmla="*/ 150 w 1458"/>
                <a:gd name="T11" fmla="*/ 3336 h 3336"/>
                <a:gd name="T12" fmla="*/ 140 w 1458"/>
                <a:gd name="T13" fmla="*/ 3334 h 3336"/>
                <a:gd name="T14" fmla="*/ 131 w 1458"/>
                <a:gd name="T15" fmla="*/ 3333 h 3336"/>
                <a:gd name="T16" fmla="*/ 122 w 1458"/>
                <a:gd name="T17" fmla="*/ 3329 h 3336"/>
                <a:gd name="T18" fmla="*/ 112 w 1458"/>
                <a:gd name="T19" fmla="*/ 3327 h 3336"/>
                <a:gd name="T20" fmla="*/ 104 w 1458"/>
                <a:gd name="T21" fmla="*/ 3323 h 3336"/>
                <a:gd name="T22" fmla="*/ 96 w 1458"/>
                <a:gd name="T23" fmla="*/ 3320 h 3336"/>
                <a:gd name="T24" fmla="*/ 87 w 1458"/>
                <a:gd name="T25" fmla="*/ 3315 h 3336"/>
                <a:gd name="T26" fmla="*/ 80 w 1458"/>
                <a:gd name="T27" fmla="*/ 3310 h 3336"/>
                <a:gd name="T28" fmla="*/ 65 w 1458"/>
                <a:gd name="T29" fmla="*/ 3299 h 3336"/>
                <a:gd name="T30" fmla="*/ 52 w 1458"/>
                <a:gd name="T31" fmla="*/ 3286 h 3336"/>
                <a:gd name="T32" fmla="*/ 39 w 1458"/>
                <a:gd name="T33" fmla="*/ 3271 h 3336"/>
                <a:gd name="T34" fmla="*/ 28 w 1458"/>
                <a:gd name="T35" fmla="*/ 3256 h 3336"/>
                <a:gd name="T36" fmla="*/ 19 w 1458"/>
                <a:gd name="T37" fmla="*/ 3239 h 3336"/>
                <a:gd name="T38" fmla="*/ 12 w 1458"/>
                <a:gd name="T39" fmla="*/ 3220 h 3336"/>
                <a:gd name="T40" fmla="*/ 6 w 1458"/>
                <a:gd name="T41" fmla="*/ 3202 h 3336"/>
                <a:gd name="T42" fmla="*/ 2 w 1458"/>
                <a:gd name="T43" fmla="*/ 3181 h 3336"/>
                <a:gd name="T44" fmla="*/ 0 w 1458"/>
                <a:gd name="T45" fmla="*/ 3162 h 3336"/>
                <a:gd name="T46" fmla="*/ 0 w 1458"/>
                <a:gd name="T47" fmla="*/ 3140 h 3336"/>
                <a:gd name="T48" fmla="*/ 138 w 1458"/>
                <a:gd name="T49" fmla="*/ 638 h 3336"/>
                <a:gd name="T50" fmla="*/ 139 w 1458"/>
                <a:gd name="T51" fmla="*/ 609 h 3336"/>
                <a:gd name="T52" fmla="*/ 143 w 1458"/>
                <a:gd name="T53" fmla="*/ 582 h 3336"/>
                <a:gd name="T54" fmla="*/ 147 w 1458"/>
                <a:gd name="T55" fmla="*/ 555 h 3336"/>
                <a:gd name="T56" fmla="*/ 151 w 1458"/>
                <a:gd name="T57" fmla="*/ 529 h 3336"/>
                <a:gd name="T58" fmla="*/ 157 w 1458"/>
                <a:gd name="T59" fmla="*/ 504 h 3336"/>
                <a:gd name="T60" fmla="*/ 163 w 1458"/>
                <a:gd name="T61" fmla="*/ 480 h 3336"/>
                <a:gd name="T62" fmla="*/ 171 w 1458"/>
                <a:gd name="T63" fmla="*/ 456 h 3336"/>
                <a:gd name="T64" fmla="*/ 179 w 1458"/>
                <a:gd name="T65" fmla="*/ 433 h 3336"/>
                <a:gd name="T66" fmla="*/ 188 w 1458"/>
                <a:gd name="T67" fmla="*/ 412 h 3336"/>
                <a:gd name="T68" fmla="*/ 198 w 1458"/>
                <a:gd name="T69" fmla="*/ 391 h 3336"/>
                <a:gd name="T70" fmla="*/ 208 w 1458"/>
                <a:gd name="T71" fmla="*/ 371 h 3336"/>
                <a:gd name="T72" fmla="*/ 219 w 1458"/>
                <a:gd name="T73" fmla="*/ 351 h 3336"/>
                <a:gd name="T74" fmla="*/ 231 w 1458"/>
                <a:gd name="T75" fmla="*/ 333 h 3336"/>
                <a:gd name="T76" fmla="*/ 244 w 1458"/>
                <a:gd name="T77" fmla="*/ 316 h 3336"/>
                <a:gd name="T78" fmla="*/ 257 w 1458"/>
                <a:gd name="T79" fmla="*/ 299 h 3336"/>
                <a:gd name="T80" fmla="*/ 271 w 1458"/>
                <a:gd name="T81" fmla="*/ 283 h 3336"/>
                <a:gd name="T82" fmla="*/ 286 w 1458"/>
                <a:gd name="T83" fmla="*/ 268 h 3336"/>
                <a:gd name="T84" fmla="*/ 301 w 1458"/>
                <a:gd name="T85" fmla="*/ 253 h 3336"/>
                <a:gd name="T86" fmla="*/ 318 w 1458"/>
                <a:gd name="T87" fmla="*/ 240 h 3336"/>
                <a:gd name="T88" fmla="*/ 334 w 1458"/>
                <a:gd name="T89" fmla="*/ 227 h 3336"/>
                <a:gd name="T90" fmla="*/ 351 w 1458"/>
                <a:gd name="T91" fmla="*/ 215 h 3336"/>
                <a:gd name="T92" fmla="*/ 368 w 1458"/>
                <a:gd name="T93" fmla="*/ 203 h 3336"/>
                <a:gd name="T94" fmla="*/ 387 w 1458"/>
                <a:gd name="T95" fmla="*/ 194 h 3336"/>
                <a:gd name="T96" fmla="*/ 405 w 1458"/>
                <a:gd name="T97" fmla="*/ 184 h 3336"/>
                <a:gd name="T98" fmla="*/ 424 w 1458"/>
                <a:gd name="T99" fmla="*/ 174 h 3336"/>
                <a:gd name="T100" fmla="*/ 444 w 1458"/>
                <a:gd name="T101" fmla="*/ 167 h 3336"/>
                <a:gd name="T102" fmla="*/ 464 w 1458"/>
                <a:gd name="T103" fmla="*/ 159 h 3336"/>
                <a:gd name="T104" fmla="*/ 485 w 1458"/>
                <a:gd name="T105" fmla="*/ 153 h 3336"/>
                <a:gd name="T106" fmla="*/ 507 w 1458"/>
                <a:gd name="T107" fmla="*/ 146 h 3336"/>
                <a:gd name="T108" fmla="*/ 528 w 1458"/>
                <a:gd name="T109" fmla="*/ 141 h 3336"/>
                <a:gd name="T110" fmla="*/ 550 w 1458"/>
                <a:gd name="T111" fmla="*/ 136 h 3336"/>
                <a:gd name="T112" fmla="*/ 572 w 1458"/>
                <a:gd name="T113" fmla="*/ 133 h 3336"/>
                <a:gd name="T114" fmla="*/ 1458 w 1458"/>
                <a:gd name="T115" fmla="*/ 0 h 3336"/>
                <a:gd name="T116" fmla="*/ 1458 w 1458"/>
                <a:gd name="T117" fmla="*/ 3144 h 3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58" h="3336">
                  <a:moveTo>
                    <a:pt x="1458" y="3144"/>
                  </a:moveTo>
                  <a:lnTo>
                    <a:pt x="190" y="3335"/>
                  </a:lnTo>
                  <a:lnTo>
                    <a:pt x="180" y="3336"/>
                  </a:lnTo>
                  <a:lnTo>
                    <a:pt x="170" y="3336"/>
                  </a:lnTo>
                  <a:lnTo>
                    <a:pt x="160" y="3336"/>
                  </a:lnTo>
                  <a:lnTo>
                    <a:pt x="150" y="3336"/>
                  </a:lnTo>
                  <a:lnTo>
                    <a:pt x="140" y="3334"/>
                  </a:lnTo>
                  <a:lnTo>
                    <a:pt x="131" y="3333"/>
                  </a:lnTo>
                  <a:lnTo>
                    <a:pt x="122" y="3329"/>
                  </a:lnTo>
                  <a:lnTo>
                    <a:pt x="112" y="3327"/>
                  </a:lnTo>
                  <a:lnTo>
                    <a:pt x="104" y="3323"/>
                  </a:lnTo>
                  <a:lnTo>
                    <a:pt x="96" y="3320"/>
                  </a:lnTo>
                  <a:lnTo>
                    <a:pt x="87" y="3315"/>
                  </a:lnTo>
                  <a:lnTo>
                    <a:pt x="80" y="3310"/>
                  </a:lnTo>
                  <a:lnTo>
                    <a:pt x="65" y="3299"/>
                  </a:lnTo>
                  <a:lnTo>
                    <a:pt x="52" y="3286"/>
                  </a:lnTo>
                  <a:lnTo>
                    <a:pt x="39" y="3271"/>
                  </a:lnTo>
                  <a:lnTo>
                    <a:pt x="28" y="3256"/>
                  </a:lnTo>
                  <a:lnTo>
                    <a:pt x="19" y="3239"/>
                  </a:lnTo>
                  <a:lnTo>
                    <a:pt x="12" y="3220"/>
                  </a:lnTo>
                  <a:lnTo>
                    <a:pt x="6" y="3202"/>
                  </a:lnTo>
                  <a:lnTo>
                    <a:pt x="2" y="3181"/>
                  </a:lnTo>
                  <a:lnTo>
                    <a:pt x="0" y="3162"/>
                  </a:lnTo>
                  <a:lnTo>
                    <a:pt x="0" y="3140"/>
                  </a:lnTo>
                  <a:lnTo>
                    <a:pt x="138" y="638"/>
                  </a:lnTo>
                  <a:lnTo>
                    <a:pt x="139" y="609"/>
                  </a:lnTo>
                  <a:lnTo>
                    <a:pt x="143" y="582"/>
                  </a:lnTo>
                  <a:lnTo>
                    <a:pt x="147" y="555"/>
                  </a:lnTo>
                  <a:lnTo>
                    <a:pt x="151" y="529"/>
                  </a:lnTo>
                  <a:lnTo>
                    <a:pt x="157" y="504"/>
                  </a:lnTo>
                  <a:lnTo>
                    <a:pt x="163" y="480"/>
                  </a:lnTo>
                  <a:lnTo>
                    <a:pt x="171" y="456"/>
                  </a:lnTo>
                  <a:lnTo>
                    <a:pt x="179" y="433"/>
                  </a:lnTo>
                  <a:lnTo>
                    <a:pt x="188" y="412"/>
                  </a:lnTo>
                  <a:lnTo>
                    <a:pt x="198" y="391"/>
                  </a:lnTo>
                  <a:lnTo>
                    <a:pt x="208" y="371"/>
                  </a:lnTo>
                  <a:lnTo>
                    <a:pt x="219" y="351"/>
                  </a:lnTo>
                  <a:lnTo>
                    <a:pt x="231" y="333"/>
                  </a:lnTo>
                  <a:lnTo>
                    <a:pt x="244" y="316"/>
                  </a:lnTo>
                  <a:lnTo>
                    <a:pt x="257" y="299"/>
                  </a:lnTo>
                  <a:lnTo>
                    <a:pt x="271" y="283"/>
                  </a:lnTo>
                  <a:lnTo>
                    <a:pt x="286" y="268"/>
                  </a:lnTo>
                  <a:lnTo>
                    <a:pt x="301" y="253"/>
                  </a:lnTo>
                  <a:lnTo>
                    <a:pt x="318" y="240"/>
                  </a:lnTo>
                  <a:lnTo>
                    <a:pt x="334" y="227"/>
                  </a:lnTo>
                  <a:lnTo>
                    <a:pt x="351" y="215"/>
                  </a:lnTo>
                  <a:lnTo>
                    <a:pt x="368" y="203"/>
                  </a:lnTo>
                  <a:lnTo>
                    <a:pt x="387" y="194"/>
                  </a:lnTo>
                  <a:lnTo>
                    <a:pt x="405" y="184"/>
                  </a:lnTo>
                  <a:lnTo>
                    <a:pt x="424" y="174"/>
                  </a:lnTo>
                  <a:lnTo>
                    <a:pt x="444" y="167"/>
                  </a:lnTo>
                  <a:lnTo>
                    <a:pt x="464" y="159"/>
                  </a:lnTo>
                  <a:lnTo>
                    <a:pt x="485" y="153"/>
                  </a:lnTo>
                  <a:lnTo>
                    <a:pt x="507" y="146"/>
                  </a:lnTo>
                  <a:lnTo>
                    <a:pt x="528" y="141"/>
                  </a:lnTo>
                  <a:lnTo>
                    <a:pt x="550" y="136"/>
                  </a:lnTo>
                  <a:lnTo>
                    <a:pt x="572" y="133"/>
                  </a:lnTo>
                  <a:lnTo>
                    <a:pt x="1458" y="0"/>
                  </a:lnTo>
                  <a:lnTo>
                    <a:pt x="1458" y="3144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7999413" y="5721350"/>
              <a:ext cx="1144588" cy="1136650"/>
            </a:xfrm>
            <a:custGeom>
              <a:avLst/>
              <a:gdLst>
                <a:gd name="T0" fmla="*/ 705 w 2162"/>
                <a:gd name="T1" fmla="*/ 2147 h 2147"/>
                <a:gd name="T2" fmla="*/ 17 w 2162"/>
                <a:gd name="T3" fmla="*/ 792 h 2147"/>
                <a:gd name="T4" fmla="*/ 13 w 2162"/>
                <a:gd name="T5" fmla="*/ 782 h 2147"/>
                <a:gd name="T6" fmla="*/ 8 w 2162"/>
                <a:gd name="T7" fmla="*/ 773 h 2147"/>
                <a:gd name="T8" fmla="*/ 5 w 2162"/>
                <a:gd name="T9" fmla="*/ 764 h 2147"/>
                <a:gd name="T10" fmla="*/ 3 w 2162"/>
                <a:gd name="T11" fmla="*/ 754 h 2147"/>
                <a:gd name="T12" fmla="*/ 1 w 2162"/>
                <a:gd name="T13" fmla="*/ 744 h 2147"/>
                <a:gd name="T14" fmla="*/ 0 w 2162"/>
                <a:gd name="T15" fmla="*/ 735 h 2147"/>
                <a:gd name="T16" fmla="*/ 0 w 2162"/>
                <a:gd name="T17" fmla="*/ 726 h 2147"/>
                <a:gd name="T18" fmla="*/ 0 w 2162"/>
                <a:gd name="T19" fmla="*/ 716 h 2147"/>
                <a:gd name="T20" fmla="*/ 0 w 2162"/>
                <a:gd name="T21" fmla="*/ 707 h 2147"/>
                <a:gd name="T22" fmla="*/ 1 w 2162"/>
                <a:gd name="T23" fmla="*/ 698 h 2147"/>
                <a:gd name="T24" fmla="*/ 3 w 2162"/>
                <a:gd name="T25" fmla="*/ 688 h 2147"/>
                <a:gd name="T26" fmla="*/ 5 w 2162"/>
                <a:gd name="T27" fmla="*/ 680 h 2147"/>
                <a:gd name="T28" fmla="*/ 12 w 2162"/>
                <a:gd name="T29" fmla="*/ 662 h 2147"/>
                <a:gd name="T30" fmla="*/ 19 w 2162"/>
                <a:gd name="T31" fmla="*/ 645 h 2147"/>
                <a:gd name="T32" fmla="*/ 29 w 2162"/>
                <a:gd name="T33" fmla="*/ 629 h 2147"/>
                <a:gd name="T34" fmla="*/ 41 w 2162"/>
                <a:gd name="T35" fmla="*/ 614 h 2147"/>
                <a:gd name="T36" fmla="*/ 54 w 2162"/>
                <a:gd name="T37" fmla="*/ 600 h 2147"/>
                <a:gd name="T38" fmla="*/ 69 w 2162"/>
                <a:gd name="T39" fmla="*/ 587 h 2147"/>
                <a:gd name="T40" fmla="*/ 85 w 2162"/>
                <a:gd name="T41" fmla="*/ 576 h 2147"/>
                <a:gd name="T42" fmla="*/ 102 w 2162"/>
                <a:gd name="T43" fmla="*/ 565 h 2147"/>
                <a:gd name="T44" fmla="*/ 121 w 2162"/>
                <a:gd name="T45" fmla="*/ 558 h 2147"/>
                <a:gd name="T46" fmla="*/ 141 w 2162"/>
                <a:gd name="T47" fmla="*/ 551 h 2147"/>
                <a:gd name="T48" fmla="*/ 2162 w 2162"/>
                <a:gd name="T49" fmla="*/ 0 h 2147"/>
                <a:gd name="T50" fmla="*/ 2162 w 2162"/>
                <a:gd name="T51" fmla="*/ 2147 h 2147"/>
                <a:gd name="T52" fmla="*/ 705 w 2162"/>
                <a:gd name="T53" fmla="*/ 2147 h 2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162" h="2147">
                  <a:moveTo>
                    <a:pt x="705" y="2147"/>
                  </a:moveTo>
                  <a:lnTo>
                    <a:pt x="17" y="792"/>
                  </a:lnTo>
                  <a:lnTo>
                    <a:pt x="13" y="782"/>
                  </a:lnTo>
                  <a:lnTo>
                    <a:pt x="8" y="773"/>
                  </a:lnTo>
                  <a:lnTo>
                    <a:pt x="5" y="764"/>
                  </a:lnTo>
                  <a:lnTo>
                    <a:pt x="3" y="754"/>
                  </a:lnTo>
                  <a:lnTo>
                    <a:pt x="1" y="744"/>
                  </a:lnTo>
                  <a:lnTo>
                    <a:pt x="0" y="735"/>
                  </a:lnTo>
                  <a:lnTo>
                    <a:pt x="0" y="726"/>
                  </a:lnTo>
                  <a:lnTo>
                    <a:pt x="0" y="716"/>
                  </a:lnTo>
                  <a:lnTo>
                    <a:pt x="0" y="707"/>
                  </a:lnTo>
                  <a:lnTo>
                    <a:pt x="1" y="698"/>
                  </a:lnTo>
                  <a:lnTo>
                    <a:pt x="3" y="688"/>
                  </a:lnTo>
                  <a:lnTo>
                    <a:pt x="5" y="680"/>
                  </a:lnTo>
                  <a:lnTo>
                    <a:pt x="12" y="662"/>
                  </a:lnTo>
                  <a:lnTo>
                    <a:pt x="19" y="645"/>
                  </a:lnTo>
                  <a:lnTo>
                    <a:pt x="29" y="629"/>
                  </a:lnTo>
                  <a:lnTo>
                    <a:pt x="41" y="614"/>
                  </a:lnTo>
                  <a:lnTo>
                    <a:pt x="54" y="600"/>
                  </a:lnTo>
                  <a:lnTo>
                    <a:pt x="69" y="587"/>
                  </a:lnTo>
                  <a:lnTo>
                    <a:pt x="85" y="576"/>
                  </a:lnTo>
                  <a:lnTo>
                    <a:pt x="102" y="565"/>
                  </a:lnTo>
                  <a:lnTo>
                    <a:pt x="121" y="558"/>
                  </a:lnTo>
                  <a:lnTo>
                    <a:pt x="141" y="551"/>
                  </a:lnTo>
                  <a:lnTo>
                    <a:pt x="2162" y="0"/>
                  </a:lnTo>
                  <a:lnTo>
                    <a:pt x="2162" y="2147"/>
                  </a:lnTo>
                  <a:lnTo>
                    <a:pt x="705" y="2147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" name="Freeform 11"/>
            <p:cNvSpPr>
              <a:spLocks/>
            </p:cNvSpPr>
            <p:nvPr userDrawn="1"/>
          </p:nvSpPr>
          <p:spPr bwMode="auto">
            <a:xfrm>
              <a:off x="6105525" y="5953125"/>
              <a:ext cx="1589088" cy="904875"/>
            </a:xfrm>
            <a:custGeom>
              <a:avLst/>
              <a:gdLst>
                <a:gd name="T0" fmla="*/ 0 w 3003"/>
                <a:gd name="T1" fmla="*/ 1709 h 1709"/>
                <a:gd name="T2" fmla="*/ 1688 w 3003"/>
                <a:gd name="T3" fmla="*/ 45 h 1709"/>
                <a:gd name="T4" fmla="*/ 1695 w 3003"/>
                <a:gd name="T5" fmla="*/ 39 h 1709"/>
                <a:gd name="T6" fmla="*/ 1704 w 3003"/>
                <a:gd name="T7" fmla="*/ 32 h 1709"/>
                <a:gd name="T8" fmla="*/ 1711 w 3003"/>
                <a:gd name="T9" fmla="*/ 26 h 1709"/>
                <a:gd name="T10" fmla="*/ 1720 w 3003"/>
                <a:gd name="T11" fmla="*/ 20 h 1709"/>
                <a:gd name="T12" fmla="*/ 1729 w 3003"/>
                <a:gd name="T13" fmla="*/ 16 h 1709"/>
                <a:gd name="T14" fmla="*/ 1737 w 3003"/>
                <a:gd name="T15" fmla="*/ 12 h 1709"/>
                <a:gd name="T16" fmla="*/ 1746 w 3003"/>
                <a:gd name="T17" fmla="*/ 8 h 1709"/>
                <a:gd name="T18" fmla="*/ 1755 w 3003"/>
                <a:gd name="T19" fmla="*/ 6 h 1709"/>
                <a:gd name="T20" fmla="*/ 1764 w 3003"/>
                <a:gd name="T21" fmla="*/ 3 h 1709"/>
                <a:gd name="T22" fmla="*/ 1773 w 3003"/>
                <a:gd name="T23" fmla="*/ 2 h 1709"/>
                <a:gd name="T24" fmla="*/ 1783 w 3003"/>
                <a:gd name="T25" fmla="*/ 1 h 1709"/>
                <a:gd name="T26" fmla="*/ 1791 w 3003"/>
                <a:gd name="T27" fmla="*/ 0 h 1709"/>
                <a:gd name="T28" fmla="*/ 1811 w 3003"/>
                <a:gd name="T29" fmla="*/ 0 h 1709"/>
                <a:gd name="T30" fmla="*/ 1829 w 3003"/>
                <a:gd name="T31" fmla="*/ 3 h 1709"/>
                <a:gd name="T32" fmla="*/ 1847 w 3003"/>
                <a:gd name="T33" fmla="*/ 7 h 1709"/>
                <a:gd name="T34" fmla="*/ 1865 w 3003"/>
                <a:gd name="T35" fmla="*/ 14 h 1709"/>
                <a:gd name="T36" fmla="*/ 1882 w 3003"/>
                <a:gd name="T37" fmla="*/ 22 h 1709"/>
                <a:gd name="T38" fmla="*/ 1899 w 3003"/>
                <a:gd name="T39" fmla="*/ 32 h 1709"/>
                <a:gd name="T40" fmla="*/ 1914 w 3003"/>
                <a:gd name="T41" fmla="*/ 44 h 1709"/>
                <a:gd name="T42" fmla="*/ 1930 w 3003"/>
                <a:gd name="T43" fmla="*/ 58 h 1709"/>
                <a:gd name="T44" fmla="*/ 1944 w 3003"/>
                <a:gd name="T45" fmla="*/ 73 h 1709"/>
                <a:gd name="T46" fmla="*/ 1955 w 3003"/>
                <a:gd name="T47" fmla="*/ 90 h 1709"/>
                <a:gd name="T48" fmla="*/ 3003 w 3003"/>
                <a:gd name="T49" fmla="*/ 1709 h 1709"/>
                <a:gd name="T50" fmla="*/ 0 w 3003"/>
                <a:gd name="T51" fmla="*/ 1709 h 1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03" h="1709">
                  <a:moveTo>
                    <a:pt x="0" y="1709"/>
                  </a:moveTo>
                  <a:lnTo>
                    <a:pt x="1688" y="45"/>
                  </a:lnTo>
                  <a:lnTo>
                    <a:pt x="1695" y="39"/>
                  </a:lnTo>
                  <a:lnTo>
                    <a:pt x="1704" y="32"/>
                  </a:lnTo>
                  <a:lnTo>
                    <a:pt x="1711" y="26"/>
                  </a:lnTo>
                  <a:lnTo>
                    <a:pt x="1720" y="20"/>
                  </a:lnTo>
                  <a:lnTo>
                    <a:pt x="1729" y="16"/>
                  </a:lnTo>
                  <a:lnTo>
                    <a:pt x="1737" y="12"/>
                  </a:lnTo>
                  <a:lnTo>
                    <a:pt x="1746" y="8"/>
                  </a:lnTo>
                  <a:lnTo>
                    <a:pt x="1755" y="6"/>
                  </a:lnTo>
                  <a:lnTo>
                    <a:pt x="1764" y="3"/>
                  </a:lnTo>
                  <a:lnTo>
                    <a:pt x="1773" y="2"/>
                  </a:lnTo>
                  <a:lnTo>
                    <a:pt x="1783" y="1"/>
                  </a:lnTo>
                  <a:lnTo>
                    <a:pt x="1791" y="0"/>
                  </a:lnTo>
                  <a:lnTo>
                    <a:pt x="1811" y="0"/>
                  </a:lnTo>
                  <a:lnTo>
                    <a:pt x="1829" y="3"/>
                  </a:lnTo>
                  <a:lnTo>
                    <a:pt x="1847" y="7"/>
                  </a:lnTo>
                  <a:lnTo>
                    <a:pt x="1865" y="14"/>
                  </a:lnTo>
                  <a:lnTo>
                    <a:pt x="1882" y="22"/>
                  </a:lnTo>
                  <a:lnTo>
                    <a:pt x="1899" y="32"/>
                  </a:lnTo>
                  <a:lnTo>
                    <a:pt x="1914" y="44"/>
                  </a:lnTo>
                  <a:lnTo>
                    <a:pt x="1930" y="58"/>
                  </a:lnTo>
                  <a:lnTo>
                    <a:pt x="1944" y="73"/>
                  </a:lnTo>
                  <a:lnTo>
                    <a:pt x="1955" y="90"/>
                  </a:lnTo>
                  <a:lnTo>
                    <a:pt x="3003" y="1709"/>
                  </a:lnTo>
                  <a:lnTo>
                    <a:pt x="0" y="1709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4" name="Freeform 13"/>
            <p:cNvSpPr>
              <a:spLocks/>
            </p:cNvSpPr>
            <p:nvPr userDrawn="1"/>
          </p:nvSpPr>
          <p:spPr bwMode="auto">
            <a:xfrm>
              <a:off x="4116388" y="3810000"/>
              <a:ext cx="2773363" cy="2447925"/>
            </a:xfrm>
            <a:custGeom>
              <a:avLst/>
              <a:gdLst>
                <a:gd name="T0" fmla="*/ 5156 w 5241"/>
                <a:gd name="T1" fmla="*/ 2193 h 4627"/>
                <a:gd name="T2" fmla="*/ 5173 w 5241"/>
                <a:gd name="T3" fmla="*/ 2204 h 4627"/>
                <a:gd name="T4" fmla="*/ 5190 w 5241"/>
                <a:gd name="T5" fmla="*/ 2216 h 4627"/>
                <a:gd name="T6" fmla="*/ 5203 w 5241"/>
                <a:gd name="T7" fmla="*/ 2230 h 4627"/>
                <a:gd name="T8" fmla="*/ 5214 w 5241"/>
                <a:gd name="T9" fmla="*/ 2244 h 4627"/>
                <a:gd name="T10" fmla="*/ 5224 w 5241"/>
                <a:gd name="T11" fmla="*/ 2260 h 4627"/>
                <a:gd name="T12" fmla="*/ 5232 w 5241"/>
                <a:gd name="T13" fmla="*/ 2278 h 4627"/>
                <a:gd name="T14" fmla="*/ 5240 w 5241"/>
                <a:gd name="T15" fmla="*/ 2314 h 4627"/>
                <a:gd name="T16" fmla="*/ 5241 w 5241"/>
                <a:gd name="T17" fmla="*/ 2352 h 4627"/>
                <a:gd name="T18" fmla="*/ 5234 w 5241"/>
                <a:gd name="T19" fmla="*/ 2390 h 4627"/>
                <a:gd name="T20" fmla="*/ 5219 w 5241"/>
                <a:gd name="T21" fmla="*/ 2427 h 4627"/>
                <a:gd name="T22" fmla="*/ 5196 w 5241"/>
                <a:gd name="T23" fmla="*/ 2461 h 4627"/>
                <a:gd name="T24" fmla="*/ 3600 w 5241"/>
                <a:gd name="T25" fmla="*/ 4431 h 4627"/>
                <a:gd name="T26" fmla="*/ 3563 w 5241"/>
                <a:gd name="T27" fmla="*/ 4471 h 4627"/>
                <a:gd name="T28" fmla="*/ 3524 w 5241"/>
                <a:gd name="T29" fmla="*/ 4506 h 4627"/>
                <a:gd name="T30" fmla="*/ 3485 w 5241"/>
                <a:gd name="T31" fmla="*/ 4537 h 4627"/>
                <a:gd name="T32" fmla="*/ 3445 w 5241"/>
                <a:gd name="T33" fmla="*/ 4562 h 4627"/>
                <a:gd name="T34" fmla="*/ 3405 w 5241"/>
                <a:gd name="T35" fmla="*/ 4584 h 4627"/>
                <a:gd name="T36" fmla="*/ 3364 w 5241"/>
                <a:gd name="T37" fmla="*/ 4601 h 4627"/>
                <a:gd name="T38" fmla="*/ 3323 w 5241"/>
                <a:gd name="T39" fmla="*/ 4614 h 4627"/>
                <a:gd name="T40" fmla="*/ 3281 w 5241"/>
                <a:gd name="T41" fmla="*/ 4623 h 4627"/>
                <a:gd name="T42" fmla="*/ 3240 w 5241"/>
                <a:gd name="T43" fmla="*/ 4627 h 4627"/>
                <a:gd name="T44" fmla="*/ 3198 w 5241"/>
                <a:gd name="T45" fmla="*/ 4627 h 4627"/>
                <a:gd name="T46" fmla="*/ 3157 w 5241"/>
                <a:gd name="T47" fmla="*/ 4624 h 4627"/>
                <a:gd name="T48" fmla="*/ 3115 w 5241"/>
                <a:gd name="T49" fmla="*/ 4616 h 4627"/>
                <a:gd name="T50" fmla="*/ 3073 w 5241"/>
                <a:gd name="T51" fmla="*/ 4606 h 4627"/>
                <a:gd name="T52" fmla="*/ 3032 w 5241"/>
                <a:gd name="T53" fmla="*/ 4592 h 4627"/>
                <a:gd name="T54" fmla="*/ 2991 w 5241"/>
                <a:gd name="T55" fmla="*/ 4574 h 4627"/>
                <a:gd name="T56" fmla="*/ 277 w 5241"/>
                <a:gd name="T57" fmla="*/ 3172 h 4627"/>
                <a:gd name="T58" fmla="*/ 237 w 5241"/>
                <a:gd name="T59" fmla="*/ 3150 h 4627"/>
                <a:gd name="T60" fmla="*/ 200 w 5241"/>
                <a:gd name="T61" fmla="*/ 3125 h 4627"/>
                <a:gd name="T62" fmla="*/ 166 w 5241"/>
                <a:gd name="T63" fmla="*/ 3099 h 4627"/>
                <a:gd name="T64" fmla="*/ 134 w 5241"/>
                <a:gd name="T65" fmla="*/ 3070 h 4627"/>
                <a:gd name="T66" fmla="*/ 106 w 5241"/>
                <a:gd name="T67" fmla="*/ 3039 h 4627"/>
                <a:gd name="T68" fmla="*/ 81 w 5241"/>
                <a:gd name="T69" fmla="*/ 3006 h 4627"/>
                <a:gd name="T70" fmla="*/ 58 w 5241"/>
                <a:gd name="T71" fmla="*/ 2971 h 4627"/>
                <a:gd name="T72" fmla="*/ 40 w 5241"/>
                <a:gd name="T73" fmla="*/ 2933 h 4627"/>
                <a:gd name="T74" fmla="*/ 24 w 5241"/>
                <a:gd name="T75" fmla="*/ 2893 h 4627"/>
                <a:gd name="T76" fmla="*/ 13 w 5241"/>
                <a:gd name="T77" fmla="*/ 2851 h 4627"/>
                <a:gd name="T78" fmla="*/ 4 w 5241"/>
                <a:gd name="T79" fmla="*/ 2807 h 4627"/>
                <a:gd name="T80" fmla="*/ 1 w 5241"/>
                <a:gd name="T81" fmla="*/ 2761 h 4627"/>
                <a:gd name="T82" fmla="*/ 1 w 5241"/>
                <a:gd name="T83" fmla="*/ 2713 h 4627"/>
                <a:gd name="T84" fmla="*/ 6 w 5241"/>
                <a:gd name="T85" fmla="*/ 2662 h 4627"/>
                <a:gd name="T86" fmla="*/ 14 w 5241"/>
                <a:gd name="T87" fmla="*/ 2609 h 4627"/>
                <a:gd name="T88" fmla="*/ 28 w 5241"/>
                <a:gd name="T89" fmla="*/ 2554 h 4627"/>
                <a:gd name="T90" fmla="*/ 711 w 5241"/>
                <a:gd name="T91" fmla="*/ 121 h 4627"/>
                <a:gd name="T92" fmla="*/ 729 w 5241"/>
                <a:gd name="T93" fmla="*/ 84 h 4627"/>
                <a:gd name="T94" fmla="*/ 753 w 5241"/>
                <a:gd name="T95" fmla="*/ 54 h 4627"/>
                <a:gd name="T96" fmla="*/ 782 w 5241"/>
                <a:gd name="T97" fmla="*/ 29 h 4627"/>
                <a:gd name="T98" fmla="*/ 816 w 5241"/>
                <a:gd name="T99" fmla="*/ 11 h 4627"/>
                <a:gd name="T100" fmla="*/ 843 w 5241"/>
                <a:gd name="T101" fmla="*/ 3 h 4627"/>
                <a:gd name="T102" fmla="*/ 861 w 5241"/>
                <a:gd name="T103" fmla="*/ 1 h 4627"/>
                <a:gd name="T104" fmla="*/ 879 w 5241"/>
                <a:gd name="T105" fmla="*/ 0 h 4627"/>
                <a:gd name="T106" fmla="*/ 899 w 5241"/>
                <a:gd name="T107" fmla="*/ 2 h 4627"/>
                <a:gd name="T108" fmla="*/ 917 w 5241"/>
                <a:gd name="T109" fmla="*/ 7 h 4627"/>
                <a:gd name="T110" fmla="*/ 937 w 5241"/>
                <a:gd name="T111" fmla="*/ 13 h 4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241" h="4627">
                  <a:moveTo>
                    <a:pt x="946" y="19"/>
                  </a:moveTo>
                  <a:lnTo>
                    <a:pt x="5156" y="2193"/>
                  </a:lnTo>
                  <a:lnTo>
                    <a:pt x="5165" y="2199"/>
                  </a:lnTo>
                  <a:lnTo>
                    <a:pt x="5173" y="2204"/>
                  </a:lnTo>
                  <a:lnTo>
                    <a:pt x="5182" y="2210"/>
                  </a:lnTo>
                  <a:lnTo>
                    <a:pt x="5190" y="2216"/>
                  </a:lnTo>
                  <a:lnTo>
                    <a:pt x="5196" y="2223"/>
                  </a:lnTo>
                  <a:lnTo>
                    <a:pt x="5203" y="2230"/>
                  </a:lnTo>
                  <a:lnTo>
                    <a:pt x="5209" y="2237"/>
                  </a:lnTo>
                  <a:lnTo>
                    <a:pt x="5214" y="2244"/>
                  </a:lnTo>
                  <a:lnTo>
                    <a:pt x="5220" y="2253"/>
                  </a:lnTo>
                  <a:lnTo>
                    <a:pt x="5224" y="2260"/>
                  </a:lnTo>
                  <a:lnTo>
                    <a:pt x="5228" y="2269"/>
                  </a:lnTo>
                  <a:lnTo>
                    <a:pt x="5232" y="2278"/>
                  </a:lnTo>
                  <a:lnTo>
                    <a:pt x="5237" y="2296"/>
                  </a:lnTo>
                  <a:lnTo>
                    <a:pt x="5240" y="2314"/>
                  </a:lnTo>
                  <a:lnTo>
                    <a:pt x="5241" y="2333"/>
                  </a:lnTo>
                  <a:lnTo>
                    <a:pt x="5241" y="2352"/>
                  </a:lnTo>
                  <a:lnTo>
                    <a:pt x="5238" y="2370"/>
                  </a:lnTo>
                  <a:lnTo>
                    <a:pt x="5234" y="2390"/>
                  </a:lnTo>
                  <a:lnTo>
                    <a:pt x="5227" y="2408"/>
                  </a:lnTo>
                  <a:lnTo>
                    <a:pt x="5219" y="2427"/>
                  </a:lnTo>
                  <a:lnTo>
                    <a:pt x="5209" y="2445"/>
                  </a:lnTo>
                  <a:lnTo>
                    <a:pt x="5196" y="2461"/>
                  </a:lnTo>
                  <a:lnTo>
                    <a:pt x="3619" y="4409"/>
                  </a:lnTo>
                  <a:lnTo>
                    <a:pt x="3600" y="4431"/>
                  </a:lnTo>
                  <a:lnTo>
                    <a:pt x="3581" y="4451"/>
                  </a:lnTo>
                  <a:lnTo>
                    <a:pt x="3563" y="4471"/>
                  </a:lnTo>
                  <a:lnTo>
                    <a:pt x="3544" y="4489"/>
                  </a:lnTo>
                  <a:lnTo>
                    <a:pt x="3524" y="4506"/>
                  </a:lnTo>
                  <a:lnTo>
                    <a:pt x="3505" y="4523"/>
                  </a:lnTo>
                  <a:lnTo>
                    <a:pt x="3485" y="4537"/>
                  </a:lnTo>
                  <a:lnTo>
                    <a:pt x="3466" y="4551"/>
                  </a:lnTo>
                  <a:lnTo>
                    <a:pt x="3445" y="4562"/>
                  </a:lnTo>
                  <a:lnTo>
                    <a:pt x="3426" y="4574"/>
                  </a:lnTo>
                  <a:lnTo>
                    <a:pt x="3405" y="4584"/>
                  </a:lnTo>
                  <a:lnTo>
                    <a:pt x="3385" y="4594"/>
                  </a:lnTo>
                  <a:lnTo>
                    <a:pt x="3364" y="4601"/>
                  </a:lnTo>
                  <a:lnTo>
                    <a:pt x="3344" y="4608"/>
                  </a:lnTo>
                  <a:lnTo>
                    <a:pt x="3323" y="4614"/>
                  </a:lnTo>
                  <a:lnTo>
                    <a:pt x="3303" y="4619"/>
                  </a:lnTo>
                  <a:lnTo>
                    <a:pt x="3281" y="4623"/>
                  </a:lnTo>
                  <a:lnTo>
                    <a:pt x="3261" y="4625"/>
                  </a:lnTo>
                  <a:lnTo>
                    <a:pt x="3240" y="4627"/>
                  </a:lnTo>
                  <a:lnTo>
                    <a:pt x="3220" y="4627"/>
                  </a:lnTo>
                  <a:lnTo>
                    <a:pt x="3198" y="4627"/>
                  </a:lnTo>
                  <a:lnTo>
                    <a:pt x="3178" y="4626"/>
                  </a:lnTo>
                  <a:lnTo>
                    <a:pt x="3157" y="4624"/>
                  </a:lnTo>
                  <a:lnTo>
                    <a:pt x="3135" y="4621"/>
                  </a:lnTo>
                  <a:lnTo>
                    <a:pt x="3115" y="4616"/>
                  </a:lnTo>
                  <a:lnTo>
                    <a:pt x="3094" y="4612"/>
                  </a:lnTo>
                  <a:lnTo>
                    <a:pt x="3073" y="4606"/>
                  </a:lnTo>
                  <a:lnTo>
                    <a:pt x="3052" y="4599"/>
                  </a:lnTo>
                  <a:lnTo>
                    <a:pt x="3032" y="4592"/>
                  </a:lnTo>
                  <a:lnTo>
                    <a:pt x="3011" y="4583"/>
                  </a:lnTo>
                  <a:lnTo>
                    <a:pt x="2991" y="4574"/>
                  </a:lnTo>
                  <a:lnTo>
                    <a:pt x="2970" y="4564"/>
                  </a:lnTo>
                  <a:lnTo>
                    <a:pt x="277" y="3172"/>
                  </a:lnTo>
                  <a:lnTo>
                    <a:pt x="256" y="3161"/>
                  </a:lnTo>
                  <a:lnTo>
                    <a:pt x="237" y="3150"/>
                  </a:lnTo>
                  <a:lnTo>
                    <a:pt x="218" y="3138"/>
                  </a:lnTo>
                  <a:lnTo>
                    <a:pt x="200" y="3125"/>
                  </a:lnTo>
                  <a:lnTo>
                    <a:pt x="183" y="3112"/>
                  </a:lnTo>
                  <a:lnTo>
                    <a:pt x="166" y="3099"/>
                  </a:lnTo>
                  <a:lnTo>
                    <a:pt x="150" y="3085"/>
                  </a:lnTo>
                  <a:lnTo>
                    <a:pt x="134" y="3070"/>
                  </a:lnTo>
                  <a:lnTo>
                    <a:pt x="120" y="3055"/>
                  </a:lnTo>
                  <a:lnTo>
                    <a:pt x="106" y="3039"/>
                  </a:lnTo>
                  <a:lnTo>
                    <a:pt x="93" y="3023"/>
                  </a:lnTo>
                  <a:lnTo>
                    <a:pt x="81" y="3006"/>
                  </a:lnTo>
                  <a:lnTo>
                    <a:pt x="69" y="2989"/>
                  </a:lnTo>
                  <a:lnTo>
                    <a:pt x="58" y="2971"/>
                  </a:lnTo>
                  <a:lnTo>
                    <a:pt x="49" y="2952"/>
                  </a:lnTo>
                  <a:lnTo>
                    <a:pt x="40" y="2933"/>
                  </a:lnTo>
                  <a:lnTo>
                    <a:pt x="31" y="2914"/>
                  </a:lnTo>
                  <a:lnTo>
                    <a:pt x="24" y="2893"/>
                  </a:lnTo>
                  <a:lnTo>
                    <a:pt x="17" y="2873"/>
                  </a:lnTo>
                  <a:lnTo>
                    <a:pt x="13" y="2851"/>
                  </a:lnTo>
                  <a:lnTo>
                    <a:pt x="8" y="2829"/>
                  </a:lnTo>
                  <a:lnTo>
                    <a:pt x="4" y="2807"/>
                  </a:lnTo>
                  <a:lnTo>
                    <a:pt x="2" y="2784"/>
                  </a:lnTo>
                  <a:lnTo>
                    <a:pt x="1" y="2761"/>
                  </a:lnTo>
                  <a:lnTo>
                    <a:pt x="0" y="2737"/>
                  </a:lnTo>
                  <a:lnTo>
                    <a:pt x="1" y="2713"/>
                  </a:lnTo>
                  <a:lnTo>
                    <a:pt x="2" y="2687"/>
                  </a:lnTo>
                  <a:lnTo>
                    <a:pt x="6" y="2662"/>
                  </a:lnTo>
                  <a:lnTo>
                    <a:pt x="10" y="2635"/>
                  </a:lnTo>
                  <a:lnTo>
                    <a:pt x="14" y="2609"/>
                  </a:lnTo>
                  <a:lnTo>
                    <a:pt x="21" y="2582"/>
                  </a:lnTo>
                  <a:lnTo>
                    <a:pt x="28" y="2554"/>
                  </a:lnTo>
                  <a:lnTo>
                    <a:pt x="704" y="141"/>
                  </a:lnTo>
                  <a:lnTo>
                    <a:pt x="711" y="121"/>
                  </a:lnTo>
                  <a:lnTo>
                    <a:pt x="718" y="102"/>
                  </a:lnTo>
                  <a:lnTo>
                    <a:pt x="729" y="84"/>
                  </a:lnTo>
                  <a:lnTo>
                    <a:pt x="740" y="68"/>
                  </a:lnTo>
                  <a:lnTo>
                    <a:pt x="753" y="54"/>
                  </a:lnTo>
                  <a:lnTo>
                    <a:pt x="767" y="40"/>
                  </a:lnTo>
                  <a:lnTo>
                    <a:pt x="782" y="29"/>
                  </a:lnTo>
                  <a:lnTo>
                    <a:pt x="798" y="20"/>
                  </a:lnTo>
                  <a:lnTo>
                    <a:pt x="816" y="11"/>
                  </a:lnTo>
                  <a:lnTo>
                    <a:pt x="833" y="6"/>
                  </a:lnTo>
                  <a:lnTo>
                    <a:pt x="843" y="3"/>
                  </a:lnTo>
                  <a:lnTo>
                    <a:pt x="851" y="2"/>
                  </a:lnTo>
                  <a:lnTo>
                    <a:pt x="861" y="1"/>
                  </a:lnTo>
                  <a:lnTo>
                    <a:pt x="871" y="0"/>
                  </a:lnTo>
                  <a:lnTo>
                    <a:pt x="879" y="0"/>
                  </a:lnTo>
                  <a:lnTo>
                    <a:pt x="889" y="1"/>
                  </a:lnTo>
                  <a:lnTo>
                    <a:pt x="899" y="2"/>
                  </a:lnTo>
                  <a:lnTo>
                    <a:pt x="908" y="5"/>
                  </a:lnTo>
                  <a:lnTo>
                    <a:pt x="917" y="7"/>
                  </a:lnTo>
                  <a:lnTo>
                    <a:pt x="927" y="10"/>
                  </a:lnTo>
                  <a:lnTo>
                    <a:pt x="937" y="13"/>
                  </a:lnTo>
                  <a:lnTo>
                    <a:pt x="946" y="19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8" name="Группа 17"/>
          <p:cNvGrpSpPr/>
          <p:nvPr userDrawn="1"/>
        </p:nvGrpSpPr>
        <p:grpSpPr>
          <a:xfrm>
            <a:off x="531416" y="487363"/>
            <a:ext cx="2332038" cy="455612"/>
            <a:chOff x="490538" y="487363"/>
            <a:chExt cx="2152650" cy="455612"/>
          </a:xfrm>
        </p:grpSpPr>
        <p:sp>
          <p:nvSpPr>
            <p:cNvPr id="19" name="Freeform 5"/>
            <p:cNvSpPr>
              <a:spLocks noEditPoints="1"/>
            </p:cNvSpPr>
            <p:nvPr userDrawn="1"/>
          </p:nvSpPr>
          <p:spPr bwMode="auto">
            <a:xfrm>
              <a:off x="1144588" y="590550"/>
              <a:ext cx="1498600" cy="247650"/>
            </a:xfrm>
            <a:custGeom>
              <a:avLst/>
              <a:gdLst>
                <a:gd name="T0" fmla="*/ 2465 w 11327"/>
                <a:gd name="T1" fmla="*/ 803 h 1868"/>
                <a:gd name="T2" fmla="*/ 2667 w 11327"/>
                <a:gd name="T3" fmla="*/ 466 h 1868"/>
                <a:gd name="T4" fmla="*/ 3049 w 11327"/>
                <a:gd name="T5" fmla="*/ 345 h 1868"/>
                <a:gd name="T6" fmla="*/ 3430 w 11327"/>
                <a:gd name="T7" fmla="*/ 466 h 1868"/>
                <a:gd name="T8" fmla="*/ 3632 w 11327"/>
                <a:gd name="T9" fmla="*/ 803 h 1868"/>
                <a:gd name="T10" fmla="*/ 3574 w 11327"/>
                <a:gd name="T11" fmla="*/ 1233 h 1868"/>
                <a:gd name="T12" fmla="*/ 3284 w 11327"/>
                <a:gd name="T13" fmla="*/ 1483 h 1868"/>
                <a:gd name="T14" fmla="*/ 2870 w 11327"/>
                <a:gd name="T15" fmla="*/ 1500 h 1868"/>
                <a:gd name="T16" fmla="*/ 2553 w 11327"/>
                <a:gd name="T17" fmla="*/ 1281 h 1868"/>
                <a:gd name="T18" fmla="*/ 4046 w 11327"/>
                <a:gd name="T19" fmla="*/ 882 h 1868"/>
                <a:gd name="T20" fmla="*/ 3784 w 11327"/>
                <a:gd name="T21" fmla="*/ 289 h 1868"/>
                <a:gd name="T22" fmla="*/ 3199 w 11327"/>
                <a:gd name="T23" fmla="*/ 10 h 1868"/>
                <a:gd name="T24" fmla="*/ 2536 w 11327"/>
                <a:gd name="T25" fmla="*/ 125 h 1868"/>
                <a:gd name="T26" fmla="*/ 2113 w 11327"/>
                <a:gd name="T27" fmla="*/ 595 h 1868"/>
                <a:gd name="T28" fmla="*/ 2113 w 11327"/>
                <a:gd name="T29" fmla="*/ 1273 h 1868"/>
                <a:gd name="T30" fmla="*/ 2536 w 11327"/>
                <a:gd name="T31" fmla="*/ 1743 h 1868"/>
                <a:gd name="T32" fmla="*/ 3199 w 11327"/>
                <a:gd name="T33" fmla="*/ 1858 h 1868"/>
                <a:gd name="T34" fmla="*/ 3784 w 11327"/>
                <a:gd name="T35" fmla="*/ 1579 h 1868"/>
                <a:gd name="T36" fmla="*/ 4046 w 11327"/>
                <a:gd name="T37" fmla="*/ 985 h 1868"/>
                <a:gd name="T38" fmla="*/ 4444 w 11327"/>
                <a:gd name="T39" fmla="*/ 1443 h 1868"/>
                <a:gd name="T40" fmla="*/ 4540 w 11327"/>
                <a:gd name="T41" fmla="*/ 1808 h 1868"/>
                <a:gd name="T42" fmla="*/ 4811 w 11327"/>
                <a:gd name="T43" fmla="*/ 1650 h 1868"/>
                <a:gd name="T44" fmla="*/ 5796 w 11327"/>
                <a:gd name="T45" fmla="*/ 403 h 1868"/>
                <a:gd name="T46" fmla="*/ 7304 w 11327"/>
                <a:gd name="T47" fmla="*/ 1292 h 1868"/>
                <a:gd name="T48" fmla="*/ 7673 w 11327"/>
                <a:gd name="T49" fmla="*/ 1730 h 1868"/>
                <a:gd name="T50" fmla="*/ 8267 w 11327"/>
                <a:gd name="T51" fmla="*/ 1867 h 1868"/>
                <a:gd name="T52" fmla="*/ 8871 w 11327"/>
                <a:gd name="T53" fmla="*/ 1653 h 1868"/>
                <a:gd name="T54" fmla="*/ 9178 w 11327"/>
                <a:gd name="T55" fmla="*/ 1094 h 1868"/>
                <a:gd name="T56" fmla="*/ 9049 w 11327"/>
                <a:gd name="T57" fmla="*/ 414 h 1868"/>
                <a:gd name="T58" fmla="*/ 8552 w 11327"/>
                <a:gd name="T59" fmla="*/ 48 h 1868"/>
                <a:gd name="T60" fmla="*/ 7924 w 11327"/>
                <a:gd name="T61" fmla="*/ 36 h 1868"/>
                <a:gd name="T62" fmla="*/ 7459 w 11327"/>
                <a:gd name="T63" fmla="*/ 313 h 1868"/>
                <a:gd name="T64" fmla="*/ 6585 w 11327"/>
                <a:gd name="T65" fmla="*/ 42 h 1868"/>
                <a:gd name="T66" fmla="*/ 7740 w 11327"/>
                <a:gd name="T67" fmla="*/ 563 h 1868"/>
                <a:gd name="T68" fmla="*/ 8053 w 11327"/>
                <a:gd name="T69" fmla="*/ 361 h 1868"/>
                <a:gd name="T70" fmla="*/ 8492 w 11327"/>
                <a:gd name="T71" fmla="*/ 396 h 1868"/>
                <a:gd name="T72" fmla="*/ 8744 w 11327"/>
                <a:gd name="T73" fmla="*/ 660 h 1868"/>
                <a:gd name="T74" fmla="*/ 8775 w 11327"/>
                <a:gd name="T75" fmla="*/ 1095 h 1868"/>
                <a:gd name="T76" fmla="*/ 8585 w 11327"/>
                <a:gd name="T77" fmla="*/ 1418 h 1868"/>
                <a:gd name="T78" fmla="*/ 8182 w 11327"/>
                <a:gd name="T79" fmla="*/ 1522 h 1868"/>
                <a:gd name="T80" fmla="*/ 7807 w 11327"/>
                <a:gd name="T81" fmla="*/ 1385 h 1868"/>
                <a:gd name="T82" fmla="*/ 7649 w 11327"/>
                <a:gd name="T83" fmla="*/ 1033 h 1868"/>
                <a:gd name="T84" fmla="*/ 11121 w 11327"/>
                <a:gd name="T85" fmla="*/ 228 h 1868"/>
                <a:gd name="T86" fmla="*/ 10716 w 11327"/>
                <a:gd name="T87" fmla="*/ 30 h 1868"/>
                <a:gd name="T88" fmla="*/ 10126 w 11327"/>
                <a:gd name="T89" fmla="*/ 37 h 1868"/>
                <a:gd name="T90" fmla="*/ 9598 w 11327"/>
                <a:gd name="T91" fmla="*/ 385 h 1868"/>
                <a:gd name="T92" fmla="*/ 9435 w 11327"/>
                <a:gd name="T93" fmla="*/ 1039 h 1868"/>
                <a:gd name="T94" fmla="*/ 9714 w 11327"/>
                <a:gd name="T95" fmla="*/ 1617 h 1868"/>
                <a:gd name="T96" fmla="*/ 10320 w 11327"/>
                <a:gd name="T97" fmla="*/ 1863 h 1868"/>
                <a:gd name="T98" fmla="*/ 10845 w 11327"/>
                <a:gd name="T99" fmla="*/ 1799 h 1868"/>
                <a:gd name="T100" fmla="*/ 11211 w 11327"/>
                <a:gd name="T101" fmla="*/ 1551 h 1868"/>
                <a:gd name="T102" fmla="*/ 10919 w 11327"/>
                <a:gd name="T103" fmla="*/ 1325 h 1868"/>
                <a:gd name="T104" fmla="*/ 10676 w 11327"/>
                <a:gd name="T105" fmla="*/ 1473 h 1868"/>
                <a:gd name="T106" fmla="*/ 10324 w 11327"/>
                <a:gd name="T107" fmla="*/ 1504 h 1868"/>
                <a:gd name="T108" fmla="*/ 9975 w 11327"/>
                <a:gd name="T109" fmla="*/ 1332 h 1868"/>
                <a:gd name="T110" fmla="*/ 9831 w 11327"/>
                <a:gd name="T111" fmla="*/ 966 h 1868"/>
                <a:gd name="T112" fmla="*/ 9938 w 11327"/>
                <a:gd name="T113" fmla="*/ 575 h 1868"/>
                <a:gd name="T114" fmla="*/ 10261 w 11327"/>
                <a:gd name="T115" fmla="*/ 373 h 1868"/>
                <a:gd name="T116" fmla="*/ 10634 w 11327"/>
                <a:gd name="T117" fmla="*/ 382 h 1868"/>
                <a:gd name="T118" fmla="*/ 10890 w 11327"/>
                <a:gd name="T119" fmla="*/ 515 h 1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27" h="1868">
                  <a:moveTo>
                    <a:pt x="0" y="42"/>
                  </a:moveTo>
                  <a:lnTo>
                    <a:pt x="0" y="1822"/>
                  </a:lnTo>
                  <a:lnTo>
                    <a:pt x="399" y="1822"/>
                  </a:lnTo>
                  <a:lnTo>
                    <a:pt x="399" y="400"/>
                  </a:lnTo>
                  <a:lnTo>
                    <a:pt x="1352" y="400"/>
                  </a:lnTo>
                  <a:lnTo>
                    <a:pt x="1352" y="1822"/>
                  </a:lnTo>
                  <a:lnTo>
                    <a:pt x="1755" y="1822"/>
                  </a:lnTo>
                  <a:lnTo>
                    <a:pt x="1755" y="42"/>
                  </a:lnTo>
                  <a:lnTo>
                    <a:pt x="0" y="42"/>
                  </a:lnTo>
                  <a:close/>
                  <a:moveTo>
                    <a:pt x="2454" y="933"/>
                  </a:moveTo>
                  <a:lnTo>
                    <a:pt x="2454" y="900"/>
                  </a:lnTo>
                  <a:lnTo>
                    <a:pt x="2457" y="866"/>
                  </a:lnTo>
                  <a:lnTo>
                    <a:pt x="2460" y="835"/>
                  </a:lnTo>
                  <a:lnTo>
                    <a:pt x="2465" y="803"/>
                  </a:lnTo>
                  <a:lnTo>
                    <a:pt x="2472" y="773"/>
                  </a:lnTo>
                  <a:lnTo>
                    <a:pt x="2480" y="743"/>
                  </a:lnTo>
                  <a:lnTo>
                    <a:pt x="2489" y="715"/>
                  </a:lnTo>
                  <a:lnTo>
                    <a:pt x="2499" y="686"/>
                  </a:lnTo>
                  <a:lnTo>
                    <a:pt x="2511" y="660"/>
                  </a:lnTo>
                  <a:lnTo>
                    <a:pt x="2524" y="634"/>
                  </a:lnTo>
                  <a:lnTo>
                    <a:pt x="2538" y="610"/>
                  </a:lnTo>
                  <a:lnTo>
                    <a:pt x="2553" y="586"/>
                  </a:lnTo>
                  <a:lnTo>
                    <a:pt x="2570" y="563"/>
                  </a:lnTo>
                  <a:lnTo>
                    <a:pt x="2588" y="542"/>
                  </a:lnTo>
                  <a:lnTo>
                    <a:pt x="2606" y="521"/>
                  </a:lnTo>
                  <a:lnTo>
                    <a:pt x="2626" y="501"/>
                  </a:lnTo>
                  <a:lnTo>
                    <a:pt x="2646" y="483"/>
                  </a:lnTo>
                  <a:lnTo>
                    <a:pt x="2667" y="466"/>
                  </a:lnTo>
                  <a:lnTo>
                    <a:pt x="2691" y="449"/>
                  </a:lnTo>
                  <a:lnTo>
                    <a:pt x="2713" y="434"/>
                  </a:lnTo>
                  <a:lnTo>
                    <a:pt x="2737" y="420"/>
                  </a:lnTo>
                  <a:lnTo>
                    <a:pt x="2763" y="408"/>
                  </a:lnTo>
                  <a:lnTo>
                    <a:pt x="2788" y="396"/>
                  </a:lnTo>
                  <a:lnTo>
                    <a:pt x="2815" y="385"/>
                  </a:lnTo>
                  <a:lnTo>
                    <a:pt x="2842" y="375"/>
                  </a:lnTo>
                  <a:lnTo>
                    <a:pt x="2870" y="367"/>
                  </a:lnTo>
                  <a:lnTo>
                    <a:pt x="2898" y="361"/>
                  </a:lnTo>
                  <a:lnTo>
                    <a:pt x="2928" y="355"/>
                  </a:lnTo>
                  <a:lnTo>
                    <a:pt x="2957" y="351"/>
                  </a:lnTo>
                  <a:lnTo>
                    <a:pt x="2988" y="347"/>
                  </a:lnTo>
                  <a:lnTo>
                    <a:pt x="3018" y="345"/>
                  </a:lnTo>
                  <a:lnTo>
                    <a:pt x="3049" y="345"/>
                  </a:lnTo>
                  <a:lnTo>
                    <a:pt x="3080" y="345"/>
                  </a:lnTo>
                  <a:lnTo>
                    <a:pt x="3111" y="347"/>
                  </a:lnTo>
                  <a:lnTo>
                    <a:pt x="3141" y="351"/>
                  </a:lnTo>
                  <a:lnTo>
                    <a:pt x="3171" y="355"/>
                  </a:lnTo>
                  <a:lnTo>
                    <a:pt x="3200" y="361"/>
                  </a:lnTo>
                  <a:lnTo>
                    <a:pt x="3229" y="367"/>
                  </a:lnTo>
                  <a:lnTo>
                    <a:pt x="3256" y="375"/>
                  </a:lnTo>
                  <a:lnTo>
                    <a:pt x="3284" y="385"/>
                  </a:lnTo>
                  <a:lnTo>
                    <a:pt x="3310" y="396"/>
                  </a:lnTo>
                  <a:lnTo>
                    <a:pt x="3335" y="408"/>
                  </a:lnTo>
                  <a:lnTo>
                    <a:pt x="3361" y="420"/>
                  </a:lnTo>
                  <a:lnTo>
                    <a:pt x="3384" y="434"/>
                  </a:lnTo>
                  <a:lnTo>
                    <a:pt x="3408" y="449"/>
                  </a:lnTo>
                  <a:lnTo>
                    <a:pt x="3430" y="466"/>
                  </a:lnTo>
                  <a:lnTo>
                    <a:pt x="3452" y="483"/>
                  </a:lnTo>
                  <a:lnTo>
                    <a:pt x="3473" y="501"/>
                  </a:lnTo>
                  <a:lnTo>
                    <a:pt x="3492" y="521"/>
                  </a:lnTo>
                  <a:lnTo>
                    <a:pt x="3510" y="542"/>
                  </a:lnTo>
                  <a:lnTo>
                    <a:pt x="3528" y="563"/>
                  </a:lnTo>
                  <a:lnTo>
                    <a:pt x="3545" y="586"/>
                  </a:lnTo>
                  <a:lnTo>
                    <a:pt x="3560" y="610"/>
                  </a:lnTo>
                  <a:lnTo>
                    <a:pt x="3574" y="634"/>
                  </a:lnTo>
                  <a:lnTo>
                    <a:pt x="3587" y="660"/>
                  </a:lnTo>
                  <a:lnTo>
                    <a:pt x="3599" y="686"/>
                  </a:lnTo>
                  <a:lnTo>
                    <a:pt x="3609" y="715"/>
                  </a:lnTo>
                  <a:lnTo>
                    <a:pt x="3618" y="743"/>
                  </a:lnTo>
                  <a:lnTo>
                    <a:pt x="3626" y="773"/>
                  </a:lnTo>
                  <a:lnTo>
                    <a:pt x="3632" y="803"/>
                  </a:lnTo>
                  <a:lnTo>
                    <a:pt x="3637" y="835"/>
                  </a:lnTo>
                  <a:lnTo>
                    <a:pt x="3642" y="866"/>
                  </a:lnTo>
                  <a:lnTo>
                    <a:pt x="3644" y="900"/>
                  </a:lnTo>
                  <a:lnTo>
                    <a:pt x="3645" y="933"/>
                  </a:lnTo>
                  <a:lnTo>
                    <a:pt x="3644" y="968"/>
                  </a:lnTo>
                  <a:lnTo>
                    <a:pt x="3642" y="1001"/>
                  </a:lnTo>
                  <a:lnTo>
                    <a:pt x="3637" y="1033"/>
                  </a:lnTo>
                  <a:lnTo>
                    <a:pt x="3632" y="1065"/>
                  </a:lnTo>
                  <a:lnTo>
                    <a:pt x="3626" y="1095"/>
                  </a:lnTo>
                  <a:lnTo>
                    <a:pt x="3618" y="1125"/>
                  </a:lnTo>
                  <a:lnTo>
                    <a:pt x="3609" y="1153"/>
                  </a:lnTo>
                  <a:lnTo>
                    <a:pt x="3599" y="1181"/>
                  </a:lnTo>
                  <a:lnTo>
                    <a:pt x="3587" y="1207"/>
                  </a:lnTo>
                  <a:lnTo>
                    <a:pt x="3574" y="1233"/>
                  </a:lnTo>
                  <a:lnTo>
                    <a:pt x="3560" y="1258"/>
                  </a:lnTo>
                  <a:lnTo>
                    <a:pt x="3545" y="1281"/>
                  </a:lnTo>
                  <a:lnTo>
                    <a:pt x="3528" y="1305"/>
                  </a:lnTo>
                  <a:lnTo>
                    <a:pt x="3510" y="1326"/>
                  </a:lnTo>
                  <a:lnTo>
                    <a:pt x="3492" y="1346"/>
                  </a:lnTo>
                  <a:lnTo>
                    <a:pt x="3473" y="1366"/>
                  </a:lnTo>
                  <a:lnTo>
                    <a:pt x="3452" y="1385"/>
                  </a:lnTo>
                  <a:lnTo>
                    <a:pt x="3430" y="1402"/>
                  </a:lnTo>
                  <a:lnTo>
                    <a:pt x="3408" y="1418"/>
                  </a:lnTo>
                  <a:lnTo>
                    <a:pt x="3384" y="1434"/>
                  </a:lnTo>
                  <a:lnTo>
                    <a:pt x="3361" y="1447"/>
                  </a:lnTo>
                  <a:lnTo>
                    <a:pt x="3335" y="1460"/>
                  </a:lnTo>
                  <a:lnTo>
                    <a:pt x="3310" y="1472"/>
                  </a:lnTo>
                  <a:lnTo>
                    <a:pt x="3284" y="1483"/>
                  </a:lnTo>
                  <a:lnTo>
                    <a:pt x="3256" y="1492"/>
                  </a:lnTo>
                  <a:lnTo>
                    <a:pt x="3229" y="1500"/>
                  </a:lnTo>
                  <a:lnTo>
                    <a:pt x="3200" y="1507"/>
                  </a:lnTo>
                  <a:lnTo>
                    <a:pt x="3171" y="1513"/>
                  </a:lnTo>
                  <a:lnTo>
                    <a:pt x="3141" y="1517"/>
                  </a:lnTo>
                  <a:lnTo>
                    <a:pt x="3111" y="1520"/>
                  </a:lnTo>
                  <a:lnTo>
                    <a:pt x="3080" y="1522"/>
                  </a:lnTo>
                  <a:lnTo>
                    <a:pt x="3049" y="1523"/>
                  </a:lnTo>
                  <a:lnTo>
                    <a:pt x="3018" y="1522"/>
                  </a:lnTo>
                  <a:lnTo>
                    <a:pt x="2988" y="1520"/>
                  </a:lnTo>
                  <a:lnTo>
                    <a:pt x="2957" y="1517"/>
                  </a:lnTo>
                  <a:lnTo>
                    <a:pt x="2928" y="1513"/>
                  </a:lnTo>
                  <a:lnTo>
                    <a:pt x="2898" y="1507"/>
                  </a:lnTo>
                  <a:lnTo>
                    <a:pt x="2870" y="1500"/>
                  </a:lnTo>
                  <a:lnTo>
                    <a:pt x="2842" y="1492"/>
                  </a:lnTo>
                  <a:lnTo>
                    <a:pt x="2815" y="1483"/>
                  </a:lnTo>
                  <a:lnTo>
                    <a:pt x="2788" y="1472"/>
                  </a:lnTo>
                  <a:lnTo>
                    <a:pt x="2763" y="1460"/>
                  </a:lnTo>
                  <a:lnTo>
                    <a:pt x="2737" y="1447"/>
                  </a:lnTo>
                  <a:lnTo>
                    <a:pt x="2713" y="1434"/>
                  </a:lnTo>
                  <a:lnTo>
                    <a:pt x="2691" y="1418"/>
                  </a:lnTo>
                  <a:lnTo>
                    <a:pt x="2667" y="1402"/>
                  </a:lnTo>
                  <a:lnTo>
                    <a:pt x="2646" y="1385"/>
                  </a:lnTo>
                  <a:lnTo>
                    <a:pt x="2626" y="1366"/>
                  </a:lnTo>
                  <a:lnTo>
                    <a:pt x="2606" y="1346"/>
                  </a:lnTo>
                  <a:lnTo>
                    <a:pt x="2588" y="1326"/>
                  </a:lnTo>
                  <a:lnTo>
                    <a:pt x="2570" y="1305"/>
                  </a:lnTo>
                  <a:lnTo>
                    <a:pt x="2553" y="1281"/>
                  </a:lnTo>
                  <a:lnTo>
                    <a:pt x="2538" y="1258"/>
                  </a:lnTo>
                  <a:lnTo>
                    <a:pt x="2524" y="1233"/>
                  </a:lnTo>
                  <a:lnTo>
                    <a:pt x="2511" y="1207"/>
                  </a:lnTo>
                  <a:lnTo>
                    <a:pt x="2499" y="1181"/>
                  </a:lnTo>
                  <a:lnTo>
                    <a:pt x="2489" y="1153"/>
                  </a:lnTo>
                  <a:lnTo>
                    <a:pt x="2480" y="1125"/>
                  </a:lnTo>
                  <a:lnTo>
                    <a:pt x="2472" y="1095"/>
                  </a:lnTo>
                  <a:lnTo>
                    <a:pt x="2465" y="1065"/>
                  </a:lnTo>
                  <a:lnTo>
                    <a:pt x="2460" y="1033"/>
                  </a:lnTo>
                  <a:lnTo>
                    <a:pt x="2457" y="1001"/>
                  </a:lnTo>
                  <a:lnTo>
                    <a:pt x="2454" y="968"/>
                  </a:lnTo>
                  <a:lnTo>
                    <a:pt x="2454" y="933"/>
                  </a:lnTo>
                  <a:close/>
                  <a:moveTo>
                    <a:pt x="4047" y="933"/>
                  </a:moveTo>
                  <a:lnTo>
                    <a:pt x="4046" y="882"/>
                  </a:lnTo>
                  <a:lnTo>
                    <a:pt x="4042" y="831"/>
                  </a:lnTo>
                  <a:lnTo>
                    <a:pt x="4035" y="781"/>
                  </a:lnTo>
                  <a:lnTo>
                    <a:pt x="4026" y="733"/>
                  </a:lnTo>
                  <a:lnTo>
                    <a:pt x="4015" y="685"/>
                  </a:lnTo>
                  <a:lnTo>
                    <a:pt x="4002" y="640"/>
                  </a:lnTo>
                  <a:lnTo>
                    <a:pt x="3985" y="595"/>
                  </a:lnTo>
                  <a:lnTo>
                    <a:pt x="3967" y="551"/>
                  </a:lnTo>
                  <a:lnTo>
                    <a:pt x="3947" y="509"/>
                  </a:lnTo>
                  <a:lnTo>
                    <a:pt x="3924" y="469"/>
                  </a:lnTo>
                  <a:lnTo>
                    <a:pt x="3900" y="430"/>
                  </a:lnTo>
                  <a:lnTo>
                    <a:pt x="3874" y="392"/>
                  </a:lnTo>
                  <a:lnTo>
                    <a:pt x="3846" y="356"/>
                  </a:lnTo>
                  <a:lnTo>
                    <a:pt x="3815" y="321"/>
                  </a:lnTo>
                  <a:lnTo>
                    <a:pt x="3784" y="289"/>
                  </a:lnTo>
                  <a:lnTo>
                    <a:pt x="3751" y="257"/>
                  </a:lnTo>
                  <a:lnTo>
                    <a:pt x="3716" y="227"/>
                  </a:lnTo>
                  <a:lnTo>
                    <a:pt x="3679" y="199"/>
                  </a:lnTo>
                  <a:lnTo>
                    <a:pt x="3642" y="173"/>
                  </a:lnTo>
                  <a:lnTo>
                    <a:pt x="3603" y="147"/>
                  </a:lnTo>
                  <a:lnTo>
                    <a:pt x="3562" y="125"/>
                  </a:lnTo>
                  <a:lnTo>
                    <a:pt x="3521" y="104"/>
                  </a:lnTo>
                  <a:lnTo>
                    <a:pt x="3477" y="84"/>
                  </a:lnTo>
                  <a:lnTo>
                    <a:pt x="3433" y="67"/>
                  </a:lnTo>
                  <a:lnTo>
                    <a:pt x="3388" y="52"/>
                  </a:lnTo>
                  <a:lnTo>
                    <a:pt x="3342" y="39"/>
                  </a:lnTo>
                  <a:lnTo>
                    <a:pt x="3295" y="26"/>
                  </a:lnTo>
                  <a:lnTo>
                    <a:pt x="3247" y="17"/>
                  </a:lnTo>
                  <a:lnTo>
                    <a:pt x="3199" y="10"/>
                  </a:lnTo>
                  <a:lnTo>
                    <a:pt x="3149" y="4"/>
                  </a:lnTo>
                  <a:lnTo>
                    <a:pt x="3099" y="1"/>
                  </a:lnTo>
                  <a:lnTo>
                    <a:pt x="3049" y="0"/>
                  </a:lnTo>
                  <a:lnTo>
                    <a:pt x="2999" y="1"/>
                  </a:lnTo>
                  <a:lnTo>
                    <a:pt x="2949" y="4"/>
                  </a:lnTo>
                  <a:lnTo>
                    <a:pt x="2899" y="10"/>
                  </a:lnTo>
                  <a:lnTo>
                    <a:pt x="2851" y="17"/>
                  </a:lnTo>
                  <a:lnTo>
                    <a:pt x="2804" y="26"/>
                  </a:lnTo>
                  <a:lnTo>
                    <a:pt x="2756" y="39"/>
                  </a:lnTo>
                  <a:lnTo>
                    <a:pt x="2710" y="52"/>
                  </a:lnTo>
                  <a:lnTo>
                    <a:pt x="2665" y="67"/>
                  </a:lnTo>
                  <a:lnTo>
                    <a:pt x="2620" y="84"/>
                  </a:lnTo>
                  <a:lnTo>
                    <a:pt x="2578" y="104"/>
                  </a:lnTo>
                  <a:lnTo>
                    <a:pt x="2536" y="125"/>
                  </a:lnTo>
                  <a:lnTo>
                    <a:pt x="2495" y="147"/>
                  </a:lnTo>
                  <a:lnTo>
                    <a:pt x="2457" y="173"/>
                  </a:lnTo>
                  <a:lnTo>
                    <a:pt x="2418" y="199"/>
                  </a:lnTo>
                  <a:lnTo>
                    <a:pt x="2382" y="227"/>
                  </a:lnTo>
                  <a:lnTo>
                    <a:pt x="2347" y="257"/>
                  </a:lnTo>
                  <a:lnTo>
                    <a:pt x="2313" y="289"/>
                  </a:lnTo>
                  <a:lnTo>
                    <a:pt x="2282" y="321"/>
                  </a:lnTo>
                  <a:lnTo>
                    <a:pt x="2252" y="356"/>
                  </a:lnTo>
                  <a:lnTo>
                    <a:pt x="2224" y="392"/>
                  </a:lnTo>
                  <a:lnTo>
                    <a:pt x="2197" y="430"/>
                  </a:lnTo>
                  <a:lnTo>
                    <a:pt x="2173" y="469"/>
                  </a:lnTo>
                  <a:lnTo>
                    <a:pt x="2152" y="509"/>
                  </a:lnTo>
                  <a:lnTo>
                    <a:pt x="2131" y="551"/>
                  </a:lnTo>
                  <a:lnTo>
                    <a:pt x="2113" y="595"/>
                  </a:lnTo>
                  <a:lnTo>
                    <a:pt x="2097" y="640"/>
                  </a:lnTo>
                  <a:lnTo>
                    <a:pt x="2083" y="685"/>
                  </a:lnTo>
                  <a:lnTo>
                    <a:pt x="2071" y="733"/>
                  </a:lnTo>
                  <a:lnTo>
                    <a:pt x="2063" y="781"/>
                  </a:lnTo>
                  <a:lnTo>
                    <a:pt x="2056" y="831"/>
                  </a:lnTo>
                  <a:lnTo>
                    <a:pt x="2052" y="882"/>
                  </a:lnTo>
                  <a:lnTo>
                    <a:pt x="2051" y="933"/>
                  </a:lnTo>
                  <a:lnTo>
                    <a:pt x="2052" y="985"/>
                  </a:lnTo>
                  <a:lnTo>
                    <a:pt x="2056" y="1036"/>
                  </a:lnTo>
                  <a:lnTo>
                    <a:pt x="2063" y="1086"/>
                  </a:lnTo>
                  <a:lnTo>
                    <a:pt x="2071" y="1135"/>
                  </a:lnTo>
                  <a:lnTo>
                    <a:pt x="2083" y="1182"/>
                  </a:lnTo>
                  <a:lnTo>
                    <a:pt x="2097" y="1228"/>
                  </a:lnTo>
                  <a:lnTo>
                    <a:pt x="2113" y="1273"/>
                  </a:lnTo>
                  <a:lnTo>
                    <a:pt x="2131" y="1316"/>
                  </a:lnTo>
                  <a:lnTo>
                    <a:pt x="2152" y="1357"/>
                  </a:lnTo>
                  <a:lnTo>
                    <a:pt x="2173" y="1398"/>
                  </a:lnTo>
                  <a:lnTo>
                    <a:pt x="2197" y="1438"/>
                  </a:lnTo>
                  <a:lnTo>
                    <a:pt x="2224" y="1475"/>
                  </a:lnTo>
                  <a:lnTo>
                    <a:pt x="2252" y="1512"/>
                  </a:lnTo>
                  <a:lnTo>
                    <a:pt x="2282" y="1547"/>
                  </a:lnTo>
                  <a:lnTo>
                    <a:pt x="2313" y="1579"/>
                  </a:lnTo>
                  <a:lnTo>
                    <a:pt x="2347" y="1611"/>
                  </a:lnTo>
                  <a:lnTo>
                    <a:pt x="2382" y="1640"/>
                  </a:lnTo>
                  <a:lnTo>
                    <a:pt x="2418" y="1669"/>
                  </a:lnTo>
                  <a:lnTo>
                    <a:pt x="2457" y="1695"/>
                  </a:lnTo>
                  <a:lnTo>
                    <a:pt x="2495" y="1719"/>
                  </a:lnTo>
                  <a:lnTo>
                    <a:pt x="2536" y="1743"/>
                  </a:lnTo>
                  <a:lnTo>
                    <a:pt x="2578" y="1764"/>
                  </a:lnTo>
                  <a:lnTo>
                    <a:pt x="2620" y="1782"/>
                  </a:lnTo>
                  <a:lnTo>
                    <a:pt x="2665" y="1801"/>
                  </a:lnTo>
                  <a:lnTo>
                    <a:pt x="2710" y="1816"/>
                  </a:lnTo>
                  <a:lnTo>
                    <a:pt x="2756" y="1829"/>
                  </a:lnTo>
                  <a:lnTo>
                    <a:pt x="2804" y="1840"/>
                  </a:lnTo>
                  <a:lnTo>
                    <a:pt x="2851" y="1851"/>
                  </a:lnTo>
                  <a:lnTo>
                    <a:pt x="2899" y="1858"/>
                  </a:lnTo>
                  <a:lnTo>
                    <a:pt x="2949" y="1863"/>
                  </a:lnTo>
                  <a:lnTo>
                    <a:pt x="2999" y="1866"/>
                  </a:lnTo>
                  <a:lnTo>
                    <a:pt x="3049" y="1868"/>
                  </a:lnTo>
                  <a:lnTo>
                    <a:pt x="3099" y="1866"/>
                  </a:lnTo>
                  <a:lnTo>
                    <a:pt x="3149" y="1863"/>
                  </a:lnTo>
                  <a:lnTo>
                    <a:pt x="3199" y="1858"/>
                  </a:lnTo>
                  <a:lnTo>
                    <a:pt x="3247" y="1851"/>
                  </a:lnTo>
                  <a:lnTo>
                    <a:pt x="3295" y="1840"/>
                  </a:lnTo>
                  <a:lnTo>
                    <a:pt x="3342" y="1829"/>
                  </a:lnTo>
                  <a:lnTo>
                    <a:pt x="3388" y="1816"/>
                  </a:lnTo>
                  <a:lnTo>
                    <a:pt x="3433" y="1801"/>
                  </a:lnTo>
                  <a:lnTo>
                    <a:pt x="3477" y="1782"/>
                  </a:lnTo>
                  <a:lnTo>
                    <a:pt x="3521" y="1764"/>
                  </a:lnTo>
                  <a:lnTo>
                    <a:pt x="3562" y="1743"/>
                  </a:lnTo>
                  <a:lnTo>
                    <a:pt x="3603" y="1719"/>
                  </a:lnTo>
                  <a:lnTo>
                    <a:pt x="3642" y="1695"/>
                  </a:lnTo>
                  <a:lnTo>
                    <a:pt x="3679" y="1669"/>
                  </a:lnTo>
                  <a:lnTo>
                    <a:pt x="3716" y="1640"/>
                  </a:lnTo>
                  <a:lnTo>
                    <a:pt x="3751" y="1611"/>
                  </a:lnTo>
                  <a:lnTo>
                    <a:pt x="3784" y="1579"/>
                  </a:lnTo>
                  <a:lnTo>
                    <a:pt x="3815" y="1547"/>
                  </a:lnTo>
                  <a:lnTo>
                    <a:pt x="3846" y="1512"/>
                  </a:lnTo>
                  <a:lnTo>
                    <a:pt x="3874" y="1475"/>
                  </a:lnTo>
                  <a:lnTo>
                    <a:pt x="3900" y="1438"/>
                  </a:lnTo>
                  <a:lnTo>
                    <a:pt x="3924" y="1398"/>
                  </a:lnTo>
                  <a:lnTo>
                    <a:pt x="3947" y="1357"/>
                  </a:lnTo>
                  <a:lnTo>
                    <a:pt x="3967" y="1316"/>
                  </a:lnTo>
                  <a:lnTo>
                    <a:pt x="3985" y="1273"/>
                  </a:lnTo>
                  <a:lnTo>
                    <a:pt x="4002" y="1228"/>
                  </a:lnTo>
                  <a:lnTo>
                    <a:pt x="4015" y="1182"/>
                  </a:lnTo>
                  <a:lnTo>
                    <a:pt x="4026" y="1135"/>
                  </a:lnTo>
                  <a:lnTo>
                    <a:pt x="4035" y="1086"/>
                  </a:lnTo>
                  <a:lnTo>
                    <a:pt x="4042" y="1036"/>
                  </a:lnTo>
                  <a:lnTo>
                    <a:pt x="4046" y="985"/>
                  </a:lnTo>
                  <a:lnTo>
                    <a:pt x="4047" y="933"/>
                  </a:lnTo>
                  <a:close/>
                  <a:moveTo>
                    <a:pt x="4779" y="42"/>
                  </a:moveTo>
                  <a:lnTo>
                    <a:pt x="4540" y="1317"/>
                  </a:lnTo>
                  <a:lnTo>
                    <a:pt x="4535" y="1334"/>
                  </a:lnTo>
                  <a:lnTo>
                    <a:pt x="4530" y="1350"/>
                  </a:lnTo>
                  <a:lnTo>
                    <a:pt x="4524" y="1366"/>
                  </a:lnTo>
                  <a:lnTo>
                    <a:pt x="4517" y="1379"/>
                  </a:lnTo>
                  <a:lnTo>
                    <a:pt x="4510" y="1392"/>
                  </a:lnTo>
                  <a:lnTo>
                    <a:pt x="4501" y="1403"/>
                  </a:lnTo>
                  <a:lnTo>
                    <a:pt x="4491" y="1413"/>
                  </a:lnTo>
                  <a:lnTo>
                    <a:pt x="4481" y="1423"/>
                  </a:lnTo>
                  <a:lnTo>
                    <a:pt x="4469" y="1431"/>
                  </a:lnTo>
                  <a:lnTo>
                    <a:pt x="4457" y="1437"/>
                  </a:lnTo>
                  <a:lnTo>
                    <a:pt x="4444" y="1443"/>
                  </a:lnTo>
                  <a:lnTo>
                    <a:pt x="4430" y="1447"/>
                  </a:lnTo>
                  <a:lnTo>
                    <a:pt x="4415" y="1451"/>
                  </a:lnTo>
                  <a:lnTo>
                    <a:pt x="4399" y="1453"/>
                  </a:lnTo>
                  <a:lnTo>
                    <a:pt x="4383" y="1455"/>
                  </a:lnTo>
                  <a:lnTo>
                    <a:pt x="4366" y="1455"/>
                  </a:lnTo>
                  <a:lnTo>
                    <a:pt x="4172" y="1455"/>
                  </a:lnTo>
                  <a:lnTo>
                    <a:pt x="4172" y="1822"/>
                  </a:lnTo>
                  <a:lnTo>
                    <a:pt x="4385" y="1822"/>
                  </a:lnTo>
                  <a:lnTo>
                    <a:pt x="4412" y="1822"/>
                  </a:lnTo>
                  <a:lnTo>
                    <a:pt x="4439" y="1821"/>
                  </a:lnTo>
                  <a:lnTo>
                    <a:pt x="4465" y="1819"/>
                  </a:lnTo>
                  <a:lnTo>
                    <a:pt x="4491" y="1816"/>
                  </a:lnTo>
                  <a:lnTo>
                    <a:pt x="4515" y="1812"/>
                  </a:lnTo>
                  <a:lnTo>
                    <a:pt x="4540" y="1808"/>
                  </a:lnTo>
                  <a:lnTo>
                    <a:pt x="4563" y="1802"/>
                  </a:lnTo>
                  <a:lnTo>
                    <a:pt x="4586" y="1796"/>
                  </a:lnTo>
                  <a:lnTo>
                    <a:pt x="4609" y="1789"/>
                  </a:lnTo>
                  <a:lnTo>
                    <a:pt x="4630" y="1780"/>
                  </a:lnTo>
                  <a:lnTo>
                    <a:pt x="4651" y="1771"/>
                  </a:lnTo>
                  <a:lnTo>
                    <a:pt x="4672" y="1762"/>
                  </a:lnTo>
                  <a:lnTo>
                    <a:pt x="4692" y="1751"/>
                  </a:lnTo>
                  <a:lnTo>
                    <a:pt x="4710" y="1740"/>
                  </a:lnTo>
                  <a:lnTo>
                    <a:pt x="4730" y="1728"/>
                  </a:lnTo>
                  <a:lnTo>
                    <a:pt x="4747" y="1713"/>
                  </a:lnTo>
                  <a:lnTo>
                    <a:pt x="4764" y="1699"/>
                  </a:lnTo>
                  <a:lnTo>
                    <a:pt x="4781" y="1684"/>
                  </a:lnTo>
                  <a:lnTo>
                    <a:pt x="4796" y="1668"/>
                  </a:lnTo>
                  <a:lnTo>
                    <a:pt x="4811" y="1650"/>
                  </a:lnTo>
                  <a:lnTo>
                    <a:pt x="4825" y="1633"/>
                  </a:lnTo>
                  <a:lnTo>
                    <a:pt x="4839" y="1614"/>
                  </a:lnTo>
                  <a:lnTo>
                    <a:pt x="4852" y="1593"/>
                  </a:lnTo>
                  <a:lnTo>
                    <a:pt x="4864" y="1572"/>
                  </a:lnTo>
                  <a:lnTo>
                    <a:pt x="4875" y="1551"/>
                  </a:lnTo>
                  <a:lnTo>
                    <a:pt x="4885" y="1527"/>
                  </a:lnTo>
                  <a:lnTo>
                    <a:pt x="4895" y="1504"/>
                  </a:lnTo>
                  <a:lnTo>
                    <a:pt x="4905" y="1478"/>
                  </a:lnTo>
                  <a:lnTo>
                    <a:pt x="4913" y="1452"/>
                  </a:lnTo>
                  <a:lnTo>
                    <a:pt x="4920" y="1426"/>
                  </a:lnTo>
                  <a:lnTo>
                    <a:pt x="4927" y="1397"/>
                  </a:lnTo>
                  <a:lnTo>
                    <a:pt x="4932" y="1369"/>
                  </a:lnTo>
                  <a:lnTo>
                    <a:pt x="5113" y="403"/>
                  </a:lnTo>
                  <a:lnTo>
                    <a:pt x="5796" y="403"/>
                  </a:lnTo>
                  <a:lnTo>
                    <a:pt x="5796" y="1822"/>
                  </a:lnTo>
                  <a:lnTo>
                    <a:pt x="6198" y="1822"/>
                  </a:lnTo>
                  <a:lnTo>
                    <a:pt x="6198" y="42"/>
                  </a:lnTo>
                  <a:lnTo>
                    <a:pt x="4779" y="42"/>
                  </a:lnTo>
                  <a:close/>
                  <a:moveTo>
                    <a:pt x="6585" y="42"/>
                  </a:moveTo>
                  <a:lnTo>
                    <a:pt x="6585" y="1822"/>
                  </a:lnTo>
                  <a:lnTo>
                    <a:pt x="6980" y="1822"/>
                  </a:lnTo>
                  <a:lnTo>
                    <a:pt x="6980" y="1069"/>
                  </a:lnTo>
                  <a:lnTo>
                    <a:pt x="7251" y="1069"/>
                  </a:lnTo>
                  <a:lnTo>
                    <a:pt x="7258" y="1116"/>
                  </a:lnTo>
                  <a:lnTo>
                    <a:pt x="7266" y="1162"/>
                  </a:lnTo>
                  <a:lnTo>
                    <a:pt x="7277" y="1207"/>
                  </a:lnTo>
                  <a:lnTo>
                    <a:pt x="7290" y="1251"/>
                  </a:lnTo>
                  <a:lnTo>
                    <a:pt x="7304" y="1292"/>
                  </a:lnTo>
                  <a:lnTo>
                    <a:pt x="7320" y="1333"/>
                  </a:lnTo>
                  <a:lnTo>
                    <a:pt x="7338" y="1372"/>
                  </a:lnTo>
                  <a:lnTo>
                    <a:pt x="7358" y="1409"/>
                  </a:lnTo>
                  <a:lnTo>
                    <a:pt x="7379" y="1446"/>
                  </a:lnTo>
                  <a:lnTo>
                    <a:pt x="7402" y="1482"/>
                  </a:lnTo>
                  <a:lnTo>
                    <a:pt x="7427" y="1514"/>
                  </a:lnTo>
                  <a:lnTo>
                    <a:pt x="7452" y="1547"/>
                  </a:lnTo>
                  <a:lnTo>
                    <a:pt x="7480" y="1577"/>
                  </a:lnTo>
                  <a:lnTo>
                    <a:pt x="7509" y="1607"/>
                  </a:lnTo>
                  <a:lnTo>
                    <a:pt x="7540" y="1634"/>
                  </a:lnTo>
                  <a:lnTo>
                    <a:pt x="7571" y="1660"/>
                  </a:lnTo>
                  <a:lnTo>
                    <a:pt x="7604" y="1685"/>
                  </a:lnTo>
                  <a:lnTo>
                    <a:pt x="7637" y="1708"/>
                  </a:lnTo>
                  <a:lnTo>
                    <a:pt x="7673" y="1730"/>
                  </a:lnTo>
                  <a:lnTo>
                    <a:pt x="7710" y="1750"/>
                  </a:lnTo>
                  <a:lnTo>
                    <a:pt x="7747" y="1768"/>
                  </a:lnTo>
                  <a:lnTo>
                    <a:pt x="7786" y="1786"/>
                  </a:lnTo>
                  <a:lnTo>
                    <a:pt x="7824" y="1801"/>
                  </a:lnTo>
                  <a:lnTo>
                    <a:pt x="7865" y="1815"/>
                  </a:lnTo>
                  <a:lnTo>
                    <a:pt x="7907" y="1827"/>
                  </a:lnTo>
                  <a:lnTo>
                    <a:pt x="7949" y="1837"/>
                  </a:lnTo>
                  <a:lnTo>
                    <a:pt x="7991" y="1847"/>
                  </a:lnTo>
                  <a:lnTo>
                    <a:pt x="8035" y="1854"/>
                  </a:lnTo>
                  <a:lnTo>
                    <a:pt x="8080" y="1860"/>
                  </a:lnTo>
                  <a:lnTo>
                    <a:pt x="8124" y="1864"/>
                  </a:lnTo>
                  <a:lnTo>
                    <a:pt x="8170" y="1867"/>
                  </a:lnTo>
                  <a:lnTo>
                    <a:pt x="8217" y="1868"/>
                  </a:lnTo>
                  <a:lnTo>
                    <a:pt x="8267" y="1867"/>
                  </a:lnTo>
                  <a:lnTo>
                    <a:pt x="8317" y="1864"/>
                  </a:lnTo>
                  <a:lnTo>
                    <a:pt x="8364" y="1859"/>
                  </a:lnTo>
                  <a:lnTo>
                    <a:pt x="8413" y="1852"/>
                  </a:lnTo>
                  <a:lnTo>
                    <a:pt x="8460" y="1842"/>
                  </a:lnTo>
                  <a:lnTo>
                    <a:pt x="8506" y="1832"/>
                  </a:lnTo>
                  <a:lnTo>
                    <a:pt x="8552" y="1820"/>
                  </a:lnTo>
                  <a:lnTo>
                    <a:pt x="8595" y="1805"/>
                  </a:lnTo>
                  <a:lnTo>
                    <a:pt x="8639" y="1789"/>
                  </a:lnTo>
                  <a:lnTo>
                    <a:pt x="8681" y="1771"/>
                  </a:lnTo>
                  <a:lnTo>
                    <a:pt x="8721" y="1751"/>
                  </a:lnTo>
                  <a:lnTo>
                    <a:pt x="8761" y="1729"/>
                  </a:lnTo>
                  <a:lnTo>
                    <a:pt x="8799" y="1705"/>
                  </a:lnTo>
                  <a:lnTo>
                    <a:pt x="8835" y="1680"/>
                  </a:lnTo>
                  <a:lnTo>
                    <a:pt x="8871" y="1653"/>
                  </a:lnTo>
                  <a:lnTo>
                    <a:pt x="8905" y="1624"/>
                  </a:lnTo>
                  <a:lnTo>
                    <a:pt x="8937" y="1593"/>
                  </a:lnTo>
                  <a:lnTo>
                    <a:pt x="8968" y="1561"/>
                  </a:lnTo>
                  <a:lnTo>
                    <a:pt x="8996" y="1526"/>
                  </a:lnTo>
                  <a:lnTo>
                    <a:pt x="9023" y="1491"/>
                  </a:lnTo>
                  <a:lnTo>
                    <a:pt x="9049" y="1453"/>
                  </a:lnTo>
                  <a:lnTo>
                    <a:pt x="9072" y="1414"/>
                  </a:lnTo>
                  <a:lnTo>
                    <a:pt x="9094" y="1374"/>
                  </a:lnTo>
                  <a:lnTo>
                    <a:pt x="9113" y="1331"/>
                  </a:lnTo>
                  <a:lnTo>
                    <a:pt x="9130" y="1287"/>
                  </a:lnTo>
                  <a:lnTo>
                    <a:pt x="9146" y="1242"/>
                  </a:lnTo>
                  <a:lnTo>
                    <a:pt x="9159" y="1194"/>
                  </a:lnTo>
                  <a:lnTo>
                    <a:pt x="9169" y="1145"/>
                  </a:lnTo>
                  <a:lnTo>
                    <a:pt x="9178" y="1094"/>
                  </a:lnTo>
                  <a:lnTo>
                    <a:pt x="9184" y="1042"/>
                  </a:lnTo>
                  <a:lnTo>
                    <a:pt x="9188" y="988"/>
                  </a:lnTo>
                  <a:lnTo>
                    <a:pt x="9189" y="933"/>
                  </a:lnTo>
                  <a:lnTo>
                    <a:pt x="9188" y="879"/>
                  </a:lnTo>
                  <a:lnTo>
                    <a:pt x="9184" y="825"/>
                  </a:lnTo>
                  <a:lnTo>
                    <a:pt x="9178" y="773"/>
                  </a:lnTo>
                  <a:lnTo>
                    <a:pt x="9169" y="723"/>
                  </a:lnTo>
                  <a:lnTo>
                    <a:pt x="9159" y="674"/>
                  </a:lnTo>
                  <a:lnTo>
                    <a:pt x="9146" y="626"/>
                  </a:lnTo>
                  <a:lnTo>
                    <a:pt x="9130" y="581"/>
                  </a:lnTo>
                  <a:lnTo>
                    <a:pt x="9113" y="537"/>
                  </a:lnTo>
                  <a:lnTo>
                    <a:pt x="9094" y="494"/>
                  </a:lnTo>
                  <a:lnTo>
                    <a:pt x="9072" y="453"/>
                  </a:lnTo>
                  <a:lnTo>
                    <a:pt x="9049" y="414"/>
                  </a:lnTo>
                  <a:lnTo>
                    <a:pt x="9023" y="376"/>
                  </a:lnTo>
                  <a:lnTo>
                    <a:pt x="8996" y="341"/>
                  </a:lnTo>
                  <a:lnTo>
                    <a:pt x="8968" y="307"/>
                  </a:lnTo>
                  <a:lnTo>
                    <a:pt x="8937" y="275"/>
                  </a:lnTo>
                  <a:lnTo>
                    <a:pt x="8905" y="244"/>
                  </a:lnTo>
                  <a:lnTo>
                    <a:pt x="8871" y="215"/>
                  </a:lnTo>
                  <a:lnTo>
                    <a:pt x="8835" y="187"/>
                  </a:lnTo>
                  <a:lnTo>
                    <a:pt x="8799" y="162"/>
                  </a:lnTo>
                  <a:lnTo>
                    <a:pt x="8761" y="138"/>
                  </a:lnTo>
                  <a:lnTo>
                    <a:pt x="8721" y="117"/>
                  </a:lnTo>
                  <a:lnTo>
                    <a:pt x="8681" y="97"/>
                  </a:lnTo>
                  <a:lnTo>
                    <a:pt x="8639" y="78"/>
                  </a:lnTo>
                  <a:lnTo>
                    <a:pt x="8595" y="62"/>
                  </a:lnTo>
                  <a:lnTo>
                    <a:pt x="8552" y="48"/>
                  </a:lnTo>
                  <a:lnTo>
                    <a:pt x="8506" y="36"/>
                  </a:lnTo>
                  <a:lnTo>
                    <a:pt x="8460" y="24"/>
                  </a:lnTo>
                  <a:lnTo>
                    <a:pt x="8413" y="16"/>
                  </a:lnTo>
                  <a:lnTo>
                    <a:pt x="8364" y="9"/>
                  </a:lnTo>
                  <a:lnTo>
                    <a:pt x="8317" y="4"/>
                  </a:lnTo>
                  <a:lnTo>
                    <a:pt x="8267" y="1"/>
                  </a:lnTo>
                  <a:lnTo>
                    <a:pt x="8217" y="0"/>
                  </a:lnTo>
                  <a:lnTo>
                    <a:pt x="8173" y="1"/>
                  </a:lnTo>
                  <a:lnTo>
                    <a:pt x="8131" y="3"/>
                  </a:lnTo>
                  <a:lnTo>
                    <a:pt x="8088" y="7"/>
                  </a:lnTo>
                  <a:lnTo>
                    <a:pt x="8046" y="12"/>
                  </a:lnTo>
                  <a:lnTo>
                    <a:pt x="8004" y="18"/>
                  </a:lnTo>
                  <a:lnTo>
                    <a:pt x="7964" y="26"/>
                  </a:lnTo>
                  <a:lnTo>
                    <a:pt x="7924" y="36"/>
                  </a:lnTo>
                  <a:lnTo>
                    <a:pt x="7884" y="47"/>
                  </a:lnTo>
                  <a:lnTo>
                    <a:pt x="7846" y="59"/>
                  </a:lnTo>
                  <a:lnTo>
                    <a:pt x="7808" y="73"/>
                  </a:lnTo>
                  <a:lnTo>
                    <a:pt x="7772" y="88"/>
                  </a:lnTo>
                  <a:lnTo>
                    <a:pt x="7736" y="105"/>
                  </a:lnTo>
                  <a:lnTo>
                    <a:pt x="7700" y="122"/>
                  </a:lnTo>
                  <a:lnTo>
                    <a:pt x="7667" y="141"/>
                  </a:lnTo>
                  <a:lnTo>
                    <a:pt x="7633" y="162"/>
                  </a:lnTo>
                  <a:lnTo>
                    <a:pt x="7602" y="184"/>
                  </a:lnTo>
                  <a:lnTo>
                    <a:pt x="7571" y="207"/>
                  </a:lnTo>
                  <a:lnTo>
                    <a:pt x="7542" y="232"/>
                  </a:lnTo>
                  <a:lnTo>
                    <a:pt x="7512" y="257"/>
                  </a:lnTo>
                  <a:lnTo>
                    <a:pt x="7486" y="285"/>
                  </a:lnTo>
                  <a:lnTo>
                    <a:pt x="7459" y="313"/>
                  </a:lnTo>
                  <a:lnTo>
                    <a:pt x="7435" y="343"/>
                  </a:lnTo>
                  <a:lnTo>
                    <a:pt x="7412" y="374"/>
                  </a:lnTo>
                  <a:lnTo>
                    <a:pt x="7389" y="406"/>
                  </a:lnTo>
                  <a:lnTo>
                    <a:pt x="7369" y="439"/>
                  </a:lnTo>
                  <a:lnTo>
                    <a:pt x="7350" y="475"/>
                  </a:lnTo>
                  <a:lnTo>
                    <a:pt x="7331" y="510"/>
                  </a:lnTo>
                  <a:lnTo>
                    <a:pt x="7315" y="548"/>
                  </a:lnTo>
                  <a:lnTo>
                    <a:pt x="7301" y="586"/>
                  </a:lnTo>
                  <a:lnTo>
                    <a:pt x="7287" y="625"/>
                  </a:lnTo>
                  <a:lnTo>
                    <a:pt x="7276" y="666"/>
                  </a:lnTo>
                  <a:lnTo>
                    <a:pt x="7267" y="709"/>
                  </a:lnTo>
                  <a:lnTo>
                    <a:pt x="6980" y="709"/>
                  </a:lnTo>
                  <a:lnTo>
                    <a:pt x="6980" y="42"/>
                  </a:lnTo>
                  <a:lnTo>
                    <a:pt x="6585" y="42"/>
                  </a:lnTo>
                  <a:close/>
                  <a:moveTo>
                    <a:pt x="7643" y="933"/>
                  </a:moveTo>
                  <a:lnTo>
                    <a:pt x="7644" y="900"/>
                  </a:lnTo>
                  <a:lnTo>
                    <a:pt x="7645" y="866"/>
                  </a:lnTo>
                  <a:lnTo>
                    <a:pt x="7649" y="835"/>
                  </a:lnTo>
                  <a:lnTo>
                    <a:pt x="7653" y="803"/>
                  </a:lnTo>
                  <a:lnTo>
                    <a:pt x="7658" y="773"/>
                  </a:lnTo>
                  <a:lnTo>
                    <a:pt x="7664" y="743"/>
                  </a:lnTo>
                  <a:lnTo>
                    <a:pt x="7672" y="715"/>
                  </a:lnTo>
                  <a:lnTo>
                    <a:pt x="7680" y="686"/>
                  </a:lnTo>
                  <a:lnTo>
                    <a:pt x="7690" y="660"/>
                  </a:lnTo>
                  <a:lnTo>
                    <a:pt x="7700" y="634"/>
                  </a:lnTo>
                  <a:lnTo>
                    <a:pt x="7713" y="610"/>
                  </a:lnTo>
                  <a:lnTo>
                    <a:pt x="7726" y="586"/>
                  </a:lnTo>
                  <a:lnTo>
                    <a:pt x="7740" y="563"/>
                  </a:lnTo>
                  <a:lnTo>
                    <a:pt x="7755" y="542"/>
                  </a:lnTo>
                  <a:lnTo>
                    <a:pt x="7772" y="521"/>
                  </a:lnTo>
                  <a:lnTo>
                    <a:pt x="7789" y="501"/>
                  </a:lnTo>
                  <a:lnTo>
                    <a:pt x="7807" y="483"/>
                  </a:lnTo>
                  <a:lnTo>
                    <a:pt x="7828" y="466"/>
                  </a:lnTo>
                  <a:lnTo>
                    <a:pt x="7848" y="449"/>
                  </a:lnTo>
                  <a:lnTo>
                    <a:pt x="7870" y="434"/>
                  </a:lnTo>
                  <a:lnTo>
                    <a:pt x="7893" y="420"/>
                  </a:lnTo>
                  <a:lnTo>
                    <a:pt x="7917" y="408"/>
                  </a:lnTo>
                  <a:lnTo>
                    <a:pt x="7942" y="396"/>
                  </a:lnTo>
                  <a:lnTo>
                    <a:pt x="7968" y="385"/>
                  </a:lnTo>
                  <a:lnTo>
                    <a:pt x="7995" y="375"/>
                  </a:lnTo>
                  <a:lnTo>
                    <a:pt x="8024" y="367"/>
                  </a:lnTo>
                  <a:lnTo>
                    <a:pt x="8053" y="361"/>
                  </a:lnTo>
                  <a:lnTo>
                    <a:pt x="8084" y="355"/>
                  </a:lnTo>
                  <a:lnTo>
                    <a:pt x="8115" y="351"/>
                  </a:lnTo>
                  <a:lnTo>
                    <a:pt x="8148" y="347"/>
                  </a:lnTo>
                  <a:lnTo>
                    <a:pt x="8182" y="345"/>
                  </a:lnTo>
                  <a:lnTo>
                    <a:pt x="8217" y="345"/>
                  </a:lnTo>
                  <a:lnTo>
                    <a:pt x="8252" y="345"/>
                  </a:lnTo>
                  <a:lnTo>
                    <a:pt x="8285" y="347"/>
                  </a:lnTo>
                  <a:lnTo>
                    <a:pt x="8318" y="351"/>
                  </a:lnTo>
                  <a:lnTo>
                    <a:pt x="8349" y="355"/>
                  </a:lnTo>
                  <a:lnTo>
                    <a:pt x="8380" y="361"/>
                  </a:lnTo>
                  <a:lnTo>
                    <a:pt x="8409" y="367"/>
                  </a:lnTo>
                  <a:lnTo>
                    <a:pt x="8438" y="375"/>
                  </a:lnTo>
                  <a:lnTo>
                    <a:pt x="8465" y="385"/>
                  </a:lnTo>
                  <a:lnTo>
                    <a:pt x="8492" y="396"/>
                  </a:lnTo>
                  <a:lnTo>
                    <a:pt x="8517" y="408"/>
                  </a:lnTo>
                  <a:lnTo>
                    <a:pt x="8540" y="420"/>
                  </a:lnTo>
                  <a:lnTo>
                    <a:pt x="8564" y="434"/>
                  </a:lnTo>
                  <a:lnTo>
                    <a:pt x="8585" y="449"/>
                  </a:lnTo>
                  <a:lnTo>
                    <a:pt x="8607" y="466"/>
                  </a:lnTo>
                  <a:lnTo>
                    <a:pt x="8626" y="483"/>
                  </a:lnTo>
                  <a:lnTo>
                    <a:pt x="8644" y="501"/>
                  </a:lnTo>
                  <a:lnTo>
                    <a:pt x="8662" y="521"/>
                  </a:lnTo>
                  <a:lnTo>
                    <a:pt x="8679" y="542"/>
                  </a:lnTo>
                  <a:lnTo>
                    <a:pt x="8694" y="563"/>
                  </a:lnTo>
                  <a:lnTo>
                    <a:pt x="8708" y="586"/>
                  </a:lnTo>
                  <a:lnTo>
                    <a:pt x="8720" y="610"/>
                  </a:lnTo>
                  <a:lnTo>
                    <a:pt x="8733" y="634"/>
                  </a:lnTo>
                  <a:lnTo>
                    <a:pt x="8744" y="660"/>
                  </a:lnTo>
                  <a:lnTo>
                    <a:pt x="8753" y="686"/>
                  </a:lnTo>
                  <a:lnTo>
                    <a:pt x="8762" y="715"/>
                  </a:lnTo>
                  <a:lnTo>
                    <a:pt x="8769" y="743"/>
                  </a:lnTo>
                  <a:lnTo>
                    <a:pt x="8775" y="773"/>
                  </a:lnTo>
                  <a:lnTo>
                    <a:pt x="8780" y="803"/>
                  </a:lnTo>
                  <a:lnTo>
                    <a:pt x="8785" y="835"/>
                  </a:lnTo>
                  <a:lnTo>
                    <a:pt x="8788" y="866"/>
                  </a:lnTo>
                  <a:lnTo>
                    <a:pt x="8790" y="900"/>
                  </a:lnTo>
                  <a:lnTo>
                    <a:pt x="8790" y="933"/>
                  </a:lnTo>
                  <a:lnTo>
                    <a:pt x="8790" y="968"/>
                  </a:lnTo>
                  <a:lnTo>
                    <a:pt x="8788" y="1001"/>
                  </a:lnTo>
                  <a:lnTo>
                    <a:pt x="8785" y="1033"/>
                  </a:lnTo>
                  <a:lnTo>
                    <a:pt x="8780" y="1065"/>
                  </a:lnTo>
                  <a:lnTo>
                    <a:pt x="8775" y="1095"/>
                  </a:lnTo>
                  <a:lnTo>
                    <a:pt x="8769" y="1125"/>
                  </a:lnTo>
                  <a:lnTo>
                    <a:pt x="8762" y="1153"/>
                  </a:lnTo>
                  <a:lnTo>
                    <a:pt x="8753" y="1181"/>
                  </a:lnTo>
                  <a:lnTo>
                    <a:pt x="8744" y="1207"/>
                  </a:lnTo>
                  <a:lnTo>
                    <a:pt x="8733" y="1233"/>
                  </a:lnTo>
                  <a:lnTo>
                    <a:pt x="8720" y="1258"/>
                  </a:lnTo>
                  <a:lnTo>
                    <a:pt x="8708" y="1281"/>
                  </a:lnTo>
                  <a:lnTo>
                    <a:pt x="8694" y="1305"/>
                  </a:lnTo>
                  <a:lnTo>
                    <a:pt x="8679" y="1326"/>
                  </a:lnTo>
                  <a:lnTo>
                    <a:pt x="8662" y="1346"/>
                  </a:lnTo>
                  <a:lnTo>
                    <a:pt x="8644" y="1366"/>
                  </a:lnTo>
                  <a:lnTo>
                    <a:pt x="8626" y="1385"/>
                  </a:lnTo>
                  <a:lnTo>
                    <a:pt x="8607" y="1402"/>
                  </a:lnTo>
                  <a:lnTo>
                    <a:pt x="8585" y="1418"/>
                  </a:lnTo>
                  <a:lnTo>
                    <a:pt x="8564" y="1434"/>
                  </a:lnTo>
                  <a:lnTo>
                    <a:pt x="8540" y="1447"/>
                  </a:lnTo>
                  <a:lnTo>
                    <a:pt x="8517" y="1460"/>
                  </a:lnTo>
                  <a:lnTo>
                    <a:pt x="8492" y="1472"/>
                  </a:lnTo>
                  <a:lnTo>
                    <a:pt x="8465" y="1483"/>
                  </a:lnTo>
                  <a:lnTo>
                    <a:pt x="8438" y="1492"/>
                  </a:lnTo>
                  <a:lnTo>
                    <a:pt x="8409" y="1500"/>
                  </a:lnTo>
                  <a:lnTo>
                    <a:pt x="8380" y="1507"/>
                  </a:lnTo>
                  <a:lnTo>
                    <a:pt x="8349" y="1513"/>
                  </a:lnTo>
                  <a:lnTo>
                    <a:pt x="8318" y="1517"/>
                  </a:lnTo>
                  <a:lnTo>
                    <a:pt x="8285" y="1520"/>
                  </a:lnTo>
                  <a:lnTo>
                    <a:pt x="8252" y="1522"/>
                  </a:lnTo>
                  <a:lnTo>
                    <a:pt x="8217" y="1523"/>
                  </a:lnTo>
                  <a:lnTo>
                    <a:pt x="8182" y="1522"/>
                  </a:lnTo>
                  <a:lnTo>
                    <a:pt x="8148" y="1520"/>
                  </a:lnTo>
                  <a:lnTo>
                    <a:pt x="8115" y="1517"/>
                  </a:lnTo>
                  <a:lnTo>
                    <a:pt x="8084" y="1513"/>
                  </a:lnTo>
                  <a:lnTo>
                    <a:pt x="8053" y="1507"/>
                  </a:lnTo>
                  <a:lnTo>
                    <a:pt x="8024" y="1500"/>
                  </a:lnTo>
                  <a:lnTo>
                    <a:pt x="7995" y="1492"/>
                  </a:lnTo>
                  <a:lnTo>
                    <a:pt x="7968" y="1483"/>
                  </a:lnTo>
                  <a:lnTo>
                    <a:pt x="7942" y="1472"/>
                  </a:lnTo>
                  <a:lnTo>
                    <a:pt x="7917" y="1460"/>
                  </a:lnTo>
                  <a:lnTo>
                    <a:pt x="7893" y="1447"/>
                  </a:lnTo>
                  <a:lnTo>
                    <a:pt x="7870" y="1434"/>
                  </a:lnTo>
                  <a:lnTo>
                    <a:pt x="7848" y="1418"/>
                  </a:lnTo>
                  <a:lnTo>
                    <a:pt x="7828" y="1402"/>
                  </a:lnTo>
                  <a:lnTo>
                    <a:pt x="7807" y="1385"/>
                  </a:lnTo>
                  <a:lnTo>
                    <a:pt x="7789" y="1366"/>
                  </a:lnTo>
                  <a:lnTo>
                    <a:pt x="7772" y="1346"/>
                  </a:lnTo>
                  <a:lnTo>
                    <a:pt x="7755" y="1326"/>
                  </a:lnTo>
                  <a:lnTo>
                    <a:pt x="7740" y="1305"/>
                  </a:lnTo>
                  <a:lnTo>
                    <a:pt x="7726" y="1281"/>
                  </a:lnTo>
                  <a:lnTo>
                    <a:pt x="7713" y="1258"/>
                  </a:lnTo>
                  <a:lnTo>
                    <a:pt x="7700" y="1233"/>
                  </a:lnTo>
                  <a:lnTo>
                    <a:pt x="7690" y="1207"/>
                  </a:lnTo>
                  <a:lnTo>
                    <a:pt x="7680" y="1181"/>
                  </a:lnTo>
                  <a:lnTo>
                    <a:pt x="7672" y="1153"/>
                  </a:lnTo>
                  <a:lnTo>
                    <a:pt x="7664" y="1125"/>
                  </a:lnTo>
                  <a:lnTo>
                    <a:pt x="7658" y="1095"/>
                  </a:lnTo>
                  <a:lnTo>
                    <a:pt x="7653" y="1065"/>
                  </a:lnTo>
                  <a:lnTo>
                    <a:pt x="7649" y="1033"/>
                  </a:lnTo>
                  <a:lnTo>
                    <a:pt x="7645" y="1001"/>
                  </a:lnTo>
                  <a:lnTo>
                    <a:pt x="7644" y="968"/>
                  </a:lnTo>
                  <a:lnTo>
                    <a:pt x="7643" y="933"/>
                  </a:lnTo>
                  <a:close/>
                  <a:moveTo>
                    <a:pt x="11327" y="477"/>
                  </a:moveTo>
                  <a:lnTo>
                    <a:pt x="11310" y="447"/>
                  </a:lnTo>
                  <a:lnTo>
                    <a:pt x="11291" y="420"/>
                  </a:lnTo>
                  <a:lnTo>
                    <a:pt x="11272" y="392"/>
                  </a:lnTo>
                  <a:lnTo>
                    <a:pt x="11253" y="366"/>
                  </a:lnTo>
                  <a:lnTo>
                    <a:pt x="11232" y="341"/>
                  </a:lnTo>
                  <a:lnTo>
                    <a:pt x="11211" y="316"/>
                  </a:lnTo>
                  <a:lnTo>
                    <a:pt x="11190" y="293"/>
                  </a:lnTo>
                  <a:lnTo>
                    <a:pt x="11167" y="270"/>
                  </a:lnTo>
                  <a:lnTo>
                    <a:pt x="11144" y="248"/>
                  </a:lnTo>
                  <a:lnTo>
                    <a:pt x="11121" y="228"/>
                  </a:lnTo>
                  <a:lnTo>
                    <a:pt x="11096" y="207"/>
                  </a:lnTo>
                  <a:lnTo>
                    <a:pt x="11071" y="188"/>
                  </a:lnTo>
                  <a:lnTo>
                    <a:pt x="11045" y="171"/>
                  </a:lnTo>
                  <a:lnTo>
                    <a:pt x="11018" y="154"/>
                  </a:lnTo>
                  <a:lnTo>
                    <a:pt x="10991" y="136"/>
                  </a:lnTo>
                  <a:lnTo>
                    <a:pt x="10963" y="121"/>
                  </a:lnTo>
                  <a:lnTo>
                    <a:pt x="10934" y="107"/>
                  </a:lnTo>
                  <a:lnTo>
                    <a:pt x="10905" y="93"/>
                  </a:lnTo>
                  <a:lnTo>
                    <a:pt x="10875" y="80"/>
                  </a:lnTo>
                  <a:lnTo>
                    <a:pt x="10845" y="68"/>
                  </a:lnTo>
                  <a:lnTo>
                    <a:pt x="10813" y="58"/>
                  </a:lnTo>
                  <a:lnTo>
                    <a:pt x="10782" y="48"/>
                  </a:lnTo>
                  <a:lnTo>
                    <a:pt x="10749" y="39"/>
                  </a:lnTo>
                  <a:lnTo>
                    <a:pt x="10716" y="30"/>
                  </a:lnTo>
                  <a:lnTo>
                    <a:pt x="10682" y="23"/>
                  </a:lnTo>
                  <a:lnTo>
                    <a:pt x="10648" y="17"/>
                  </a:lnTo>
                  <a:lnTo>
                    <a:pt x="10612" y="12"/>
                  </a:lnTo>
                  <a:lnTo>
                    <a:pt x="10576" y="8"/>
                  </a:lnTo>
                  <a:lnTo>
                    <a:pt x="10540" y="4"/>
                  </a:lnTo>
                  <a:lnTo>
                    <a:pt x="10502" y="2"/>
                  </a:lnTo>
                  <a:lnTo>
                    <a:pt x="10465" y="1"/>
                  </a:lnTo>
                  <a:lnTo>
                    <a:pt x="10426" y="0"/>
                  </a:lnTo>
                  <a:lnTo>
                    <a:pt x="10373" y="1"/>
                  </a:lnTo>
                  <a:lnTo>
                    <a:pt x="10322" y="4"/>
                  </a:lnTo>
                  <a:lnTo>
                    <a:pt x="10271" y="9"/>
                  </a:lnTo>
                  <a:lnTo>
                    <a:pt x="10222" y="16"/>
                  </a:lnTo>
                  <a:lnTo>
                    <a:pt x="10174" y="25"/>
                  </a:lnTo>
                  <a:lnTo>
                    <a:pt x="10126" y="37"/>
                  </a:lnTo>
                  <a:lnTo>
                    <a:pt x="10079" y="50"/>
                  </a:lnTo>
                  <a:lnTo>
                    <a:pt x="10033" y="65"/>
                  </a:lnTo>
                  <a:lnTo>
                    <a:pt x="9990" y="81"/>
                  </a:lnTo>
                  <a:lnTo>
                    <a:pt x="9947" y="101"/>
                  </a:lnTo>
                  <a:lnTo>
                    <a:pt x="9905" y="121"/>
                  </a:lnTo>
                  <a:lnTo>
                    <a:pt x="9865" y="143"/>
                  </a:lnTo>
                  <a:lnTo>
                    <a:pt x="9826" y="168"/>
                  </a:lnTo>
                  <a:lnTo>
                    <a:pt x="9788" y="194"/>
                  </a:lnTo>
                  <a:lnTo>
                    <a:pt x="9753" y="222"/>
                  </a:lnTo>
                  <a:lnTo>
                    <a:pt x="9718" y="251"/>
                  </a:lnTo>
                  <a:lnTo>
                    <a:pt x="9686" y="282"/>
                  </a:lnTo>
                  <a:lnTo>
                    <a:pt x="9654" y="314"/>
                  </a:lnTo>
                  <a:lnTo>
                    <a:pt x="9626" y="349"/>
                  </a:lnTo>
                  <a:lnTo>
                    <a:pt x="9598" y="385"/>
                  </a:lnTo>
                  <a:lnTo>
                    <a:pt x="9572" y="423"/>
                  </a:lnTo>
                  <a:lnTo>
                    <a:pt x="9548" y="462"/>
                  </a:lnTo>
                  <a:lnTo>
                    <a:pt x="9527" y="502"/>
                  </a:lnTo>
                  <a:lnTo>
                    <a:pt x="9508" y="545"/>
                  </a:lnTo>
                  <a:lnTo>
                    <a:pt x="9489" y="589"/>
                  </a:lnTo>
                  <a:lnTo>
                    <a:pt x="9474" y="633"/>
                  </a:lnTo>
                  <a:lnTo>
                    <a:pt x="9461" y="680"/>
                  </a:lnTo>
                  <a:lnTo>
                    <a:pt x="9451" y="728"/>
                  </a:lnTo>
                  <a:lnTo>
                    <a:pt x="9441" y="778"/>
                  </a:lnTo>
                  <a:lnTo>
                    <a:pt x="9435" y="829"/>
                  </a:lnTo>
                  <a:lnTo>
                    <a:pt x="9432" y="881"/>
                  </a:lnTo>
                  <a:lnTo>
                    <a:pt x="9430" y="933"/>
                  </a:lnTo>
                  <a:lnTo>
                    <a:pt x="9431" y="987"/>
                  </a:lnTo>
                  <a:lnTo>
                    <a:pt x="9435" y="1039"/>
                  </a:lnTo>
                  <a:lnTo>
                    <a:pt x="9441" y="1090"/>
                  </a:lnTo>
                  <a:lnTo>
                    <a:pt x="9450" y="1139"/>
                  </a:lnTo>
                  <a:lnTo>
                    <a:pt x="9461" y="1188"/>
                  </a:lnTo>
                  <a:lnTo>
                    <a:pt x="9474" y="1234"/>
                  </a:lnTo>
                  <a:lnTo>
                    <a:pt x="9488" y="1279"/>
                  </a:lnTo>
                  <a:lnTo>
                    <a:pt x="9506" y="1323"/>
                  </a:lnTo>
                  <a:lnTo>
                    <a:pt x="9525" y="1365"/>
                  </a:lnTo>
                  <a:lnTo>
                    <a:pt x="9546" y="1405"/>
                  </a:lnTo>
                  <a:lnTo>
                    <a:pt x="9570" y="1445"/>
                  </a:lnTo>
                  <a:lnTo>
                    <a:pt x="9595" y="1483"/>
                  </a:lnTo>
                  <a:lnTo>
                    <a:pt x="9623" y="1518"/>
                  </a:lnTo>
                  <a:lnTo>
                    <a:pt x="9651" y="1553"/>
                  </a:lnTo>
                  <a:lnTo>
                    <a:pt x="9681" y="1585"/>
                  </a:lnTo>
                  <a:lnTo>
                    <a:pt x="9714" y="1617"/>
                  </a:lnTo>
                  <a:lnTo>
                    <a:pt x="9749" y="1646"/>
                  </a:lnTo>
                  <a:lnTo>
                    <a:pt x="9784" y="1674"/>
                  </a:lnTo>
                  <a:lnTo>
                    <a:pt x="9822" y="1700"/>
                  </a:lnTo>
                  <a:lnTo>
                    <a:pt x="9860" y="1724"/>
                  </a:lnTo>
                  <a:lnTo>
                    <a:pt x="9900" y="1746"/>
                  </a:lnTo>
                  <a:lnTo>
                    <a:pt x="9942" y="1767"/>
                  </a:lnTo>
                  <a:lnTo>
                    <a:pt x="9986" y="1786"/>
                  </a:lnTo>
                  <a:lnTo>
                    <a:pt x="10029" y="1803"/>
                  </a:lnTo>
                  <a:lnTo>
                    <a:pt x="10075" y="1818"/>
                  </a:lnTo>
                  <a:lnTo>
                    <a:pt x="10122" y="1830"/>
                  </a:lnTo>
                  <a:lnTo>
                    <a:pt x="10170" y="1841"/>
                  </a:lnTo>
                  <a:lnTo>
                    <a:pt x="10219" y="1851"/>
                  </a:lnTo>
                  <a:lnTo>
                    <a:pt x="10269" y="1858"/>
                  </a:lnTo>
                  <a:lnTo>
                    <a:pt x="10320" y="1863"/>
                  </a:lnTo>
                  <a:lnTo>
                    <a:pt x="10372" y="1867"/>
                  </a:lnTo>
                  <a:lnTo>
                    <a:pt x="10426" y="1868"/>
                  </a:lnTo>
                  <a:lnTo>
                    <a:pt x="10465" y="1867"/>
                  </a:lnTo>
                  <a:lnTo>
                    <a:pt x="10502" y="1866"/>
                  </a:lnTo>
                  <a:lnTo>
                    <a:pt x="10540" y="1863"/>
                  </a:lnTo>
                  <a:lnTo>
                    <a:pt x="10576" y="1860"/>
                  </a:lnTo>
                  <a:lnTo>
                    <a:pt x="10612" y="1856"/>
                  </a:lnTo>
                  <a:lnTo>
                    <a:pt x="10648" y="1851"/>
                  </a:lnTo>
                  <a:lnTo>
                    <a:pt x="10682" y="1845"/>
                  </a:lnTo>
                  <a:lnTo>
                    <a:pt x="10716" y="1837"/>
                  </a:lnTo>
                  <a:lnTo>
                    <a:pt x="10749" y="1829"/>
                  </a:lnTo>
                  <a:lnTo>
                    <a:pt x="10782" y="1820"/>
                  </a:lnTo>
                  <a:lnTo>
                    <a:pt x="10813" y="1810"/>
                  </a:lnTo>
                  <a:lnTo>
                    <a:pt x="10845" y="1799"/>
                  </a:lnTo>
                  <a:lnTo>
                    <a:pt x="10875" y="1788"/>
                  </a:lnTo>
                  <a:lnTo>
                    <a:pt x="10905" y="1774"/>
                  </a:lnTo>
                  <a:lnTo>
                    <a:pt x="10934" y="1761"/>
                  </a:lnTo>
                  <a:lnTo>
                    <a:pt x="10963" y="1746"/>
                  </a:lnTo>
                  <a:lnTo>
                    <a:pt x="10991" y="1731"/>
                  </a:lnTo>
                  <a:lnTo>
                    <a:pt x="11018" y="1714"/>
                  </a:lnTo>
                  <a:lnTo>
                    <a:pt x="11045" y="1697"/>
                  </a:lnTo>
                  <a:lnTo>
                    <a:pt x="11071" y="1679"/>
                  </a:lnTo>
                  <a:lnTo>
                    <a:pt x="11096" y="1659"/>
                  </a:lnTo>
                  <a:lnTo>
                    <a:pt x="11121" y="1640"/>
                  </a:lnTo>
                  <a:lnTo>
                    <a:pt x="11144" y="1619"/>
                  </a:lnTo>
                  <a:lnTo>
                    <a:pt x="11167" y="1597"/>
                  </a:lnTo>
                  <a:lnTo>
                    <a:pt x="11190" y="1574"/>
                  </a:lnTo>
                  <a:lnTo>
                    <a:pt x="11211" y="1551"/>
                  </a:lnTo>
                  <a:lnTo>
                    <a:pt x="11232" y="1526"/>
                  </a:lnTo>
                  <a:lnTo>
                    <a:pt x="11253" y="1501"/>
                  </a:lnTo>
                  <a:lnTo>
                    <a:pt x="11272" y="1474"/>
                  </a:lnTo>
                  <a:lnTo>
                    <a:pt x="11291" y="1448"/>
                  </a:lnTo>
                  <a:lnTo>
                    <a:pt x="11310" y="1419"/>
                  </a:lnTo>
                  <a:lnTo>
                    <a:pt x="11327" y="1391"/>
                  </a:lnTo>
                  <a:lnTo>
                    <a:pt x="11015" y="1211"/>
                  </a:lnTo>
                  <a:lnTo>
                    <a:pt x="11002" y="1228"/>
                  </a:lnTo>
                  <a:lnTo>
                    <a:pt x="10988" y="1246"/>
                  </a:lnTo>
                  <a:lnTo>
                    <a:pt x="10975" y="1263"/>
                  </a:lnTo>
                  <a:lnTo>
                    <a:pt x="10962" y="1279"/>
                  </a:lnTo>
                  <a:lnTo>
                    <a:pt x="10948" y="1294"/>
                  </a:lnTo>
                  <a:lnTo>
                    <a:pt x="10933" y="1310"/>
                  </a:lnTo>
                  <a:lnTo>
                    <a:pt x="10919" y="1325"/>
                  </a:lnTo>
                  <a:lnTo>
                    <a:pt x="10904" y="1339"/>
                  </a:lnTo>
                  <a:lnTo>
                    <a:pt x="10890" y="1352"/>
                  </a:lnTo>
                  <a:lnTo>
                    <a:pt x="10873" y="1366"/>
                  </a:lnTo>
                  <a:lnTo>
                    <a:pt x="10858" y="1378"/>
                  </a:lnTo>
                  <a:lnTo>
                    <a:pt x="10842" y="1390"/>
                  </a:lnTo>
                  <a:lnTo>
                    <a:pt x="10825" y="1402"/>
                  </a:lnTo>
                  <a:lnTo>
                    <a:pt x="10807" y="1412"/>
                  </a:lnTo>
                  <a:lnTo>
                    <a:pt x="10790" y="1423"/>
                  </a:lnTo>
                  <a:lnTo>
                    <a:pt x="10773" y="1433"/>
                  </a:lnTo>
                  <a:lnTo>
                    <a:pt x="10754" y="1442"/>
                  </a:lnTo>
                  <a:lnTo>
                    <a:pt x="10735" y="1451"/>
                  </a:lnTo>
                  <a:lnTo>
                    <a:pt x="10716" y="1459"/>
                  </a:lnTo>
                  <a:lnTo>
                    <a:pt x="10696" y="1466"/>
                  </a:lnTo>
                  <a:lnTo>
                    <a:pt x="10676" y="1473"/>
                  </a:lnTo>
                  <a:lnTo>
                    <a:pt x="10656" y="1479"/>
                  </a:lnTo>
                  <a:lnTo>
                    <a:pt x="10634" y="1486"/>
                  </a:lnTo>
                  <a:lnTo>
                    <a:pt x="10613" y="1491"/>
                  </a:lnTo>
                  <a:lnTo>
                    <a:pt x="10591" y="1495"/>
                  </a:lnTo>
                  <a:lnTo>
                    <a:pt x="10567" y="1499"/>
                  </a:lnTo>
                  <a:lnTo>
                    <a:pt x="10544" y="1502"/>
                  </a:lnTo>
                  <a:lnTo>
                    <a:pt x="10521" y="1505"/>
                  </a:lnTo>
                  <a:lnTo>
                    <a:pt x="10496" y="1507"/>
                  </a:lnTo>
                  <a:lnTo>
                    <a:pt x="10471" y="1509"/>
                  </a:lnTo>
                  <a:lnTo>
                    <a:pt x="10445" y="1510"/>
                  </a:lnTo>
                  <a:lnTo>
                    <a:pt x="10419" y="1510"/>
                  </a:lnTo>
                  <a:lnTo>
                    <a:pt x="10386" y="1509"/>
                  </a:lnTo>
                  <a:lnTo>
                    <a:pt x="10355" y="1507"/>
                  </a:lnTo>
                  <a:lnTo>
                    <a:pt x="10324" y="1504"/>
                  </a:lnTo>
                  <a:lnTo>
                    <a:pt x="10294" y="1500"/>
                  </a:lnTo>
                  <a:lnTo>
                    <a:pt x="10264" y="1494"/>
                  </a:lnTo>
                  <a:lnTo>
                    <a:pt x="10236" y="1487"/>
                  </a:lnTo>
                  <a:lnTo>
                    <a:pt x="10207" y="1478"/>
                  </a:lnTo>
                  <a:lnTo>
                    <a:pt x="10180" y="1468"/>
                  </a:lnTo>
                  <a:lnTo>
                    <a:pt x="10153" y="1458"/>
                  </a:lnTo>
                  <a:lnTo>
                    <a:pt x="10128" y="1446"/>
                  </a:lnTo>
                  <a:lnTo>
                    <a:pt x="10104" y="1433"/>
                  </a:lnTo>
                  <a:lnTo>
                    <a:pt x="10080" y="1418"/>
                  </a:lnTo>
                  <a:lnTo>
                    <a:pt x="10057" y="1403"/>
                  </a:lnTo>
                  <a:lnTo>
                    <a:pt x="10035" y="1387"/>
                  </a:lnTo>
                  <a:lnTo>
                    <a:pt x="10014" y="1370"/>
                  </a:lnTo>
                  <a:lnTo>
                    <a:pt x="9994" y="1351"/>
                  </a:lnTo>
                  <a:lnTo>
                    <a:pt x="9975" y="1332"/>
                  </a:lnTo>
                  <a:lnTo>
                    <a:pt x="9957" y="1312"/>
                  </a:lnTo>
                  <a:lnTo>
                    <a:pt x="9941" y="1289"/>
                  </a:lnTo>
                  <a:lnTo>
                    <a:pt x="9925" y="1268"/>
                  </a:lnTo>
                  <a:lnTo>
                    <a:pt x="9910" y="1245"/>
                  </a:lnTo>
                  <a:lnTo>
                    <a:pt x="9896" y="1220"/>
                  </a:lnTo>
                  <a:lnTo>
                    <a:pt x="9884" y="1195"/>
                  </a:lnTo>
                  <a:lnTo>
                    <a:pt x="9873" y="1169"/>
                  </a:lnTo>
                  <a:lnTo>
                    <a:pt x="9864" y="1143"/>
                  </a:lnTo>
                  <a:lnTo>
                    <a:pt x="9854" y="1114"/>
                  </a:lnTo>
                  <a:lnTo>
                    <a:pt x="9847" y="1087"/>
                  </a:lnTo>
                  <a:lnTo>
                    <a:pt x="9841" y="1057"/>
                  </a:lnTo>
                  <a:lnTo>
                    <a:pt x="9836" y="1028"/>
                  </a:lnTo>
                  <a:lnTo>
                    <a:pt x="9833" y="998"/>
                  </a:lnTo>
                  <a:lnTo>
                    <a:pt x="9831" y="966"/>
                  </a:lnTo>
                  <a:lnTo>
                    <a:pt x="9830" y="933"/>
                  </a:lnTo>
                  <a:lnTo>
                    <a:pt x="9831" y="901"/>
                  </a:lnTo>
                  <a:lnTo>
                    <a:pt x="9833" y="869"/>
                  </a:lnTo>
                  <a:lnTo>
                    <a:pt x="9836" y="839"/>
                  </a:lnTo>
                  <a:lnTo>
                    <a:pt x="9840" y="808"/>
                  </a:lnTo>
                  <a:lnTo>
                    <a:pt x="9846" y="779"/>
                  </a:lnTo>
                  <a:lnTo>
                    <a:pt x="9853" y="750"/>
                  </a:lnTo>
                  <a:lnTo>
                    <a:pt x="9863" y="723"/>
                  </a:lnTo>
                  <a:lnTo>
                    <a:pt x="9872" y="696"/>
                  </a:lnTo>
                  <a:lnTo>
                    <a:pt x="9883" y="670"/>
                  </a:lnTo>
                  <a:lnTo>
                    <a:pt x="9894" y="645"/>
                  </a:lnTo>
                  <a:lnTo>
                    <a:pt x="9907" y="620"/>
                  </a:lnTo>
                  <a:lnTo>
                    <a:pt x="9923" y="597"/>
                  </a:lnTo>
                  <a:lnTo>
                    <a:pt x="9938" y="575"/>
                  </a:lnTo>
                  <a:lnTo>
                    <a:pt x="9954" y="553"/>
                  </a:lnTo>
                  <a:lnTo>
                    <a:pt x="9971" y="533"/>
                  </a:lnTo>
                  <a:lnTo>
                    <a:pt x="9991" y="513"/>
                  </a:lnTo>
                  <a:lnTo>
                    <a:pt x="10010" y="496"/>
                  </a:lnTo>
                  <a:lnTo>
                    <a:pt x="10031" y="479"/>
                  </a:lnTo>
                  <a:lnTo>
                    <a:pt x="10053" y="463"/>
                  </a:lnTo>
                  <a:lnTo>
                    <a:pt x="10075" y="447"/>
                  </a:lnTo>
                  <a:lnTo>
                    <a:pt x="10099" y="433"/>
                  </a:lnTo>
                  <a:lnTo>
                    <a:pt x="10124" y="420"/>
                  </a:lnTo>
                  <a:lnTo>
                    <a:pt x="10149" y="409"/>
                  </a:lnTo>
                  <a:lnTo>
                    <a:pt x="10176" y="399"/>
                  </a:lnTo>
                  <a:lnTo>
                    <a:pt x="10203" y="388"/>
                  </a:lnTo>
                  <a:lnTo>
                    <a:pt x="10232" y="380"/>
                  </a:lnTo>
                  <a:lnTo>
                    <a:pt x="10261" y="373"/>
                  </a:lnTo>
                  <a:lnTo>
                    <a:pt x="10291" y="368"/>
                  </a:lnTo>
                  <a:lnTo>
                    <a:pt x="10322" y="363"/>
                  </a:lnTo>
                  <a:lnTo>
                    <a:pt x="10354" y="360"/>
                  </a:lnTo>
                  <a:lnTo>
                    <a:pt x="10386" y="358"/>
                  </a:lnTo>
                  <a:lnTo>
                    <a:pt x="10419" y="358"/>
                  </a:lnTo>
                  <a:lnTo>
                    <a:pt x="10445" y="358"/>
                  </a:lnTo>
                  <a:lnTo>
                    <a:pt x="10471" y="359"/>
                  </a:lnTo>
                  <a:lnTo>
                    <a:pt x="10496" y="360"/>
                  </a:lnTo>
                  <a:lnTo>
                    <a:pt x="10521" y="362"/>
                  </a:lnTo>
                  <a:lnTo>
                    <a:pt x="10544" y="365"/>
                  </a:lnTo>
                  <a:lnTo>
                    <a:pt x="10567" y="368"/>
                  </a:lnTo>
                  <a:lnTo>
                    <a:pt x="10591" y="372"/>
                  </a:lnTo>
                  <a:lnTo>
                    <a:pt x="10613" y="377"/>
                  </a:lnTo>
                  <a:lnTo>
                    <a:pt x="10634" y="382"/>
                  </a:lnTo>
                  <a:lnTo>
                    <a:pt x="10656" y="388"/>
                  </a:lnTo>
                  <a:lnTo>
                    <a:pt x="10676" y="395"/>
                  </a:lnTo>
                  <a:lnTo>
                    <a:pt x="10696" y="402"/>
                  </a:lnTo>
                  <a:lnTo>
                    <a:pt x="10716" y="409"/>
                  </a:lnTo>
                  <a:lnTo>
                    <a:pt x="10735" y="417"/>
                  </a:lnTo>
                  <a:lnTo>
                    <a:pt x="10754" y="425"/>
                  </a:lnTo>
                  <a:lnTo>
                    <a:pt x="10773" y="435"/>
                  </a:lnTo>
                  <a:lnTo>
                    <a:pt x="10790" y="444"/>
                  </a:lnTo>
                  <a:lnTo>
                    <a:pt x="10807" y="455"/>
                  </a:lnTo>
                  <a:lnTo>
                    <a:pt x="10825" y="466"/>
                  </a:lnTo>
                  <a:lnTo>
                    <a:pt x="10842" y="477"/>
                  </a:lnTo>
                  <a:lnTo>
                    <a:pt x="10858" y="489"/>
                  </a:lnTo>
                  <a:lnTo>
                    <a:pt x="10873" y="502"/>
                  </a:lnTo>
                  <a:lnTo>
                    <a:pt x="10890" y="515"/>
                  </a:lnTo>
                  <a:lnTo>
                    <a:pt x="10904" y="529"/>
                  </a:lnTo>
                  <a:lnTo>
                    <a:pt x="10919" y="543"/>
                  </a:lnTo>
                  <a:lnTo>
                    <a:pt x="10933" y="557"/>
                  </a:lnTo>
                  <a:lnTo>
                    <a:pt x="10948" y="572"/>
                  </a:lnTo>
                  <a:lnTo>
                    <a:pt x="10962" y="589"/>
                  </a:lnTo>
                  <a:lnTo>
                    <a:pt x="10975" y="605"/>
                  </a:lnTo>
                  <a:lnTo>
                    <a:pt x="10988" y="621"/>
                  </a:lnTo>
                  <a:lnTo>
                    <a:pt x="11002" y="639"/>
                  </a:lnTo>
                  <a:lnTo>
                    <a:pt x="11015" y="657"/>
                  </a:lnTo>
                  <a:lnTo>
                    <a:pt x="11327" y="4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2" name="Freeform 6"/>
            <p:cNvSpPr>
              <a:spLocks noEditPoints="1"/>
            </p:cNvSpPr>
            <p:nvPr userDrawn="1"/>
          </p:nvSpPr>
          <p:spPr bwMode="auto">
            <a:xfrm>
              <a:off x="490538" y="487363"/>
              <a:ext cx="466725" cy="455612"/>
            </a:xfrm>
            <a:custGeom>
              <a:avLst/>
              <a:gdLst>
                <a:gd name="T0" fmla="*/ 1853 w 3532"/>
                <a:gd name="T1" fmla="*/ 1336 h 3444"/>
                <a:gd name="T2" fmla="*/ 1828 w 3532"/>
                <a:gd name="T3" fmla="*/ 1351 h 3444"/>
                <a:gd name="T4" fmla="*/ 1795 w 3532"/>
                <a:gd name="T5" fmla="*/ 1349 h 3444"/>
                <a:gd name="T6" fmla="*/ 1104 w 3532"/>
                <a:gd name="T7" fmla="*/ 1069 h 3444"/>
                <a:gd name="T8" fmla="*/ 1071 w 3532"/>
                <a:gd name="T9" fmla="*/ 1010 h 3444"/>
                <a:gd name="T10" fmla="*/ 1204 w 3532"/>
                <a:gd name="T11" fmla="*/ 141 h 3444"/>
                <a:gd name="T12" fmla="*/ 1231 w 3532"/>
                <a:gd name="T13" fmla="*/ 77 h 3444"/>
                <a:gd name="T14" fmla="*/ 1287 w 3532"/>
                <a:gd name="T15" fmla="*/ 37 h 3444"/>
                <a:gd name="T16" fmla="*/ 2026 w 3532"/>
                <a:gd name="T17" fmla="*/ 0 h 3444"/>
                <a:gd name="T18" fmla="*/ 2055 w 3532"/>
                <a:gd name="T19" fmla="*/ 11 h 3444"/>
                <a:gd name="T20" fmla="*/ 2072 w 3532"/>
                <a:gd name="T21" fmla="*/ 37 h 3444"/>
                <a:gd name="T22" fmla="*/ 1399 w 3532"/>
                <a:gd name="T23" fmla="*/ 1554 h 3444"/>
                <a:gd name="T24" fmla="*/ 1417 w 3532"/>
                <a:gd name="T25" fmla="*/ 1578 h 3444"/>
                <a:gd name="T26" fmla="*/ 1414 w 3532"/>
                <a:gd name="T27" fmla="*/ 1610 h 3444"/>
                <a:gd name="T28" fmla="*/ 958 w 3532"/>
                <a:gd name="T29" fmla="*/ 2172 h 3444"/>
                <a:gd name="T30" fmla="*/ 893 w 3532"/>
                <a:gd name="T31" fmla="*/ 2208 h 3444"/>
                <a:gd name="T32" fmla="*/ 826 w 3532"/>
                <a:gd name="T33" fmla="*/ 2201 h 3444"/>
                <a:gd name="T34" fmla="*/ 45 w 3532"/>
                <a:gd name="T35" fmla="*/ 1796 h 3444"/>
                <a:gd name="T36" fmla="*/ 6 w 3532"/>
                <a:gd name="T37" fmla="*/ 1741 h 3444"/>
                <a:gd name="T38" fmla="*/ 4 w 3532"/>
                <a:gd name="T39" fmla="*/ 1664 h 3444"/>
                <a:gd name="T40" fmla="*/ 200 w 3532"/>
                <a:gd name="T41" fmla="*/ 976 h 3444"/>
                <a:gd name="T42" fmla="*/ 226 w 3532"/>
                <a:gd name="T43" fmla="*/ 959 h 3444"/>
                <a:gd name="T44" fmla="*/ 255 w 3532"/>
                <a:gd name="T45" fmla="*/ 963 h 3444"/>
                <a:gd name="T46" fmla="*/ 1491 w 3532"/>
                <a:gd name="T47" fmla="*/ 2055 h 3444"/>
                <a:gd name="T48" fmla="*/ 1521 w 3532"/>
                <a:gd name="T49" fmla="*/ 2057 h 3444"/>
                <a:gd name="T50" fmla="*/ 1546 w 3532"/>
                <a:gd name="T51" fmla="*/ 2077 h 3444"/>
                <a:gd name="T52" fmla="*/ 1940 w 3532"/>
                <a:gd name="T53" fmla="*/ 2711 h 3444"/>
                <a:gd name="T54" fmla="*/ 1933 w 3532"/>
                <a:gd name="T55" fmla="*/ 2779 h 3444"/>
                <a:gd name="T56" fmla="*/ 1315 w 3532"/>
                <a:gd name="T57" fmla="*/ 3402 h 3444"/>
                <a:gd name="T58" fmla="*/ 1256 w 3532"/>
                <a:gd name="T59" fmla="*/ 3439 h 3444"/>
                <a:gd name="T60" fmla="*/ 1187 w 3532"/>
                <a:gd name="T61" fmla="*/ 3439 h 3444"/>
                <a:gd name="T62" fmla="*/ 567 w 3532"/>
                <a:gd name="T63" fmla="*/ 3035 h 3444"/>
                <a:gd name="T64" fmla="*/ 549 w 3532"/>
                <a:gd name="T65" fmla="*/ 3009 h 3444"/>
                <a:gd name="T66" fmla="*/ 551 w 3532"/>
                <a:gd name="T67" fmla="*/ 2978 h 3444"/>
                <a:gd name="T68" fmla="*/ 1987 w 3532"/>
                <a:gd name="T69" fmla="*/ 2144 h 3444"/>
                <a:gd name="T70" fmla="*/ 1988 w 3532"/>
                <a:gd name="T71" fmla="*/ 2114 h 3444"/>
                <a:gd name="T72" fmla="*/ 2009 w 3532"/>
                <a:gd name="T73" fmla="*/ 2091 h 3444"/>
                <a:gd name="T74" fmla="*/ 2707 w 3532"/>
                <a:gd name="T75" fmla="*/ 1899 h 3444"/>
                <a:gd name="T76" fmla="*/ 2780 w 3532"/>
                <a:gd name="T77" fmla="*/ 1910 h 3444"/>
                <a:gd name="T78" fmla="*/ 2832 w 3532"/>
                <a:gd name="T79" fmla="*/ 1953 h 3444"/>
                <a:gd name="T80" fmla="*/ 3229 w 3532"/>
                <a:gd name="T81" fmla="*/ 2739 h 3444"/>
                <a:gd name="T82" fmla="*/ 3227 w 3532"/>
                <a:gd name="T83" fmla="*/ 2806 h 3444"/>
                <a:gd name="T84" fmla="*/ 3184 w 3532"/>
                <a:gd name="T85" fmla="*/ 2871 h 3444"/>
                <a:gd name="T86" fmla="*/ 2624 w 3532"/>
                <a:gd name="T87" fmla="*/ 3314 h 3444"/>
                <a:gd name="T88" fmla="*/ 2593 w 3532"/>
                <a:gd name="T89" fmla="*/ 3313 h 3444"/>
                <a:gd name="T90" fmla="*/ 2570 w 3532"/>
                <a:gd name="T91" fmla="*/ 3292 h 3444"/>
                <a:gd name="T92" fmla="*/ 2206 w 3532"/>
                <a:gd name="T93" fmla="*/ 1686 h 3444"/>
                <a:gd name="T94" fmla="*/ 2183 w 3532"/>
                <a:gd name="T95" fmla="*/ 1667 h 3444"/>
                <a:gd name="T96" fmla="*/ 2176 w 3532"/>
                <a:gd name="T97" fmla="*/ 1635 h 3444"/>
                <a:gd name="T98" fmla="*/ 2229 w 3532"/>
                <a:gd name="T99" fmla="*/ 892 h 3444"/>
                <a:gd name="T100" fmla="*/ 2275 w 3532"/>
                <a:gd name="T101" fmla="*/ 841 h 3444"/>
                <a:gd name="T102" fmla="*/ 3142 w 3532"/>
                <a:gd name="T103" fmla="*/ 700 h 3444"/>
                <a:gd name="T104" fmla="*/ 3211 w 3532"/>
                <a:gd name="T105" fmla="*/ 706 h 3444"/>
                <a:gd name="T106" fmla="*/ 3268 w 3532"/>
                <a:gd name="T107" fmla="*/ 746 h 3444"/>
                <a:gd name="T108" fmla="*/ 3530 w 3532"/>
                <a:gd name="T109" fmla="*/ 1438 h 3444"/>
                <a:gd name="T110" fmla="*/ 3529 w 3532"/>
                <a:gd name="T111" fmla="*/ 1469 h 3444"/>
                <a:gd name="T112" fmla="*/ 3510 w 3532"/>
                <a:gd name="T113" fmla="*/ 1493 h 3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32" h="3444">
                  <a:moveTo>
                    <a:pt x="2072" y="52"/>
                  </a:moveTo>
                  <a:lnTo>
                    <a:pt x="1861" y="1317"/>
                  </a:lnTo>
                  <a:lnTo>
                    <a:pt x="1860" y="1322"/>
                  </a:lnTo>
                  <a:lnTo>
                    <a:pt x="1858" y="1327"/>
                  </a:lnTo>
                  <a:lnTo>
                    <a:pt x="1856" y="1332"/>
                  </a:lnTo>
                  <a:lnTo>
                    <a:pt x="1853" y="1336"/>
                  </a:lnTo>
                  <a:lnTo>
                    <a:pt x="1849" y="1340"/>
                  </a:lnTo>
                  <a:lnTo>
                    <a:pt x="1846" y="1343"/>
                  </a:lnTo>
                  <a:lnTo>
                    <a:pt x="1842" y="1346"/>
                  </a:lnTo>
                  <a:lnTo>
                    <a:pt x="1837" y="1348"/>
                  </a:lnTo>
                  <a:lnTo>
                    <a:pt x="1833" y="1350"/>
                  </a:lnTo>
                  <a:lnTo>
                    <a:pt x="1828" y="1351"/>
                  </a:lnTo>
                  <a:lnTo>
                    <a:pt x="1822" y="1352"/>
                  </a:lnTo>
                  <a:lnTo>
                    <a:pt x="1817" y="1353"/>
                  </a:lnTo>
                  <a:lnTo>
                    <a:pt x="1811" y="1352"/>
                  </a:lnTo>
                  <a:lnTo>
                    <a:pt x="1806" y="1352"/>
                  </a:lnTo>
                  <a:lnTo>
                    <a:pt x="1801" y="1351"/>
                  </a:lnTo>
                  <a:lnTo>
                    <a:pt x="1795" y="1349"/>
                  </a:lnTo>
                  <a:lnTo>
                    <a:pt x="1163" y="1105"/>
                  </a:lnTo>
                  <a:lnTo>
                    <a:pt x="1149" y="1099"/>
                  </a:lnTo>
                  <a:lnTo>
                    <a:pt x="1136" y="1092"/>
                  </a:lnTo>
                  <a:lnTo>
                    <a:pt x="1125" y="1085"/>
                  </a:lnTo>
                  <a:lnTo>
                    <a:pt x="1114" y="1077"/>
                  </a:lnTo>
                  <a:lnTo>
                    <a:pt x="1104" y="1069"/>
                  </a:lnTo>
                  <a:lnTo>
                    <a:pt x="1096" y="1060"/>
                  </a:lnTo>
                  <a:lnTo>
                    <a:pt x="1089" y="1050"/>
                  </a:lnTo>
                  <a:lnTo>
                    <a:pt x="1083" y="1041"/>
                  </a:lnTo>
                  <a:lnTo>
                    <a:pt x="1078" y="1031"/>
                  </a:lnTo>
                  <a:lnTo>
                    <a:pt x="1074" y="1020"/>
                  </a:lnTo>
                  <a:lnTo>
                    <a:pt x="1071" y="1010"/>
                  </a:lnTo>
                  <a:lnTo>
                    <a:pt x="1068" y="999"/>
                  </a:lnTo>
                  <a:lnTo>
                    <a:pt x="1067" y="986"/>
                  </a:lnTo>
                  <a:lnTo>
                    <a:pt x="1067" y="975"/>
                  </a:lnTo>
                  <a:lnTo>
                    <a:pt x="1068" y="963"/>
                  </a:lnTo>
                  <a:lnTo>
                    <a:pt x="1069" y="951"/>
                  </a:lnTo>
                  <a:lnTo>
                    <a:pt x="1204" y="141"/>
                  </a:lnTo>
                  <a:lnTo>
                    <a:pt x="1206" y="130"/>
                  </a:lnTo>
                  <a:lnTo>
                    <a:pt x="1209" y="118"/>
                  </a:lnTo>
                  <a:lnTo>
                    <a:pt x="1213" y="107"/>
                  </a:lnTo>
                  <a:lnTo>
                    <a:pt x="1218" y="97"/>
                  </a:lnTo>
                  <a:lnTo>
                    <a:pt x="1224" y="86"/>
                  </a:lnTo>
                  <a:lnTo>
                    <a:pt x="1231" y="77"/>
                  </a:lnTo>
                  <a:lnTo>
                    <a:pt x="1238" y="69"/>
                  </a:lnTo>
                  <a:lnTo>
                    <a:pt x="1246" y="61"/>
                  </a:lnTo>
                  <a:lnTo>
                    <a:pt x="1255" y="54"/>
                  </a:lnTo>
                  <a:lnTo>
                    <a:pt x="1265" y="47"/>
                  </a:lnTo>
                  <a:lnTo>
                    <a:pt x="1275" y="42"/>
                  </a:lnTo>
                  <a:lnTo>
                    <a:pt x="1287" y="37"/>
                  </a:lnTo>
                  <a:lnTo>
                    <a:pt x="1300" y="33"/>
                  </a:lnTo>
                  <a:lnTo>
                    <a:pt x="1313" y="29"/>
                  </a:lnTo>
                  <a:lnTo>
                    <a:pt x="1327" y="27"/>
                  </a:lnTo>
                  <a:lnTo>
                    <a:pt x="1342" y="26"/>
                  </a:lnTo>
                  <a:lnTo>
                    <a:pt x="2020" y="0"/>
                  </a:lnTo>
                  <a:lnTo>
                    <a:pt x="2026" y="0"/>
                  </a:lnTo>
                  <a:lnTo>
                    <a:pt x="2031" y="1"/>
                  </a:lnTo>
                  <a:lnTo>
                    <a:pt x="2036" y="2"/>
                  </a:lnTo>
                  <a:lnTo>
                    <a:pt x="2042" y="3"/>
                  </a:lnTo>
                  <a:lnTo>
                    <a:pt x="2046" y="5"/>
                  </a:lnTo>
                  <a:lnTo>
                    <a:pt x="2051" y="8"/>
                  </a:lnTo>
                  <a:lnTo>
                    <a:pt x="2055" y="11"/>
                  </a:lnTo>
                  <a:lnTo>
                    <a:pt x="2059" y="14"/>
                  </a:lnTo>
                  <a:lnTo>
                    <a:pt x="2062" y="18"/>
                  </a:lnTo>
                  <a:lnTo>
                    <a:pt x="2066" y="22"/>
                  </a:lnTo>
                  <a:lnTo>
                    <a:pt x="2068" y="26"/>
                  </a:lnTo>
                  <a:lnTo>
                    <a:pt x="2070" y="32"/>
                  </a:lnTo>
                  <a:lnTo>
                    <a:pt x="2072" y="37"/>
                  </a:lnTo>
                  <a:lnTo>
                    <a:pt x="2072" y="42"/>
                  </a:lnTo>
                  <a:lnTo>
                    <a:pt x="2073" y="47"/>
                  </a:lnTo>
                  <a:lnTo>
                    <a:pt x="2072" y="52"/>
                  </a:lnTo>
                  <a:close/>
                  <a:moveTo>
                    <a:pt x="255" y="963"/>
                  </a:moveTo>
                  <a:lnTo>
                    <a:pt x="1394" y="1551"/>
                  </a:lnTo>
                  <a:lnTo>
                    <a:pt x="1399" y="1554"/>
                  </a:lnTo>
                  <a:lnTo>
                    <a:pt x="1403" y="1557"/>
                  </a:lnTo>
                  <a:lnTo>
                    <a:pt x="1408" y="1561"/>
                  </a:lnTo>
                  <a:lnTo>
                    <a:pt x="1411" y="1565"/>
                  </a:lnTo>
                  <a:lnTo>
                    <a:pt x="1413" y="1569"/>
                  </a:lnTo>
                  <a:lnTo>
                    <a:pt x="1415" y="1574"/>
                  </a:lnTo>
                  <a:lnTo>
                    <a:pt x="1417" y="1578"/>
                  </a:lnTo>
                  <a:lnTo>
                    <a:pt x="1418" y="1583"/>
                  </a:lnTo>
                  <a:lnTo>
                    <a:pt x="1418" y="1588"/>
                  </a:lnTo>
                  <a:lnTo>
                    <a:pt x="1418" y="1593"/>
                  </a:lnTo>
                  <a:lnTo>
                    <a:pt x="1417" y="1599"/>
                  </a:lnTo>
                  <a:lnTo>
                    <a:pt x="1416" y="1605"/>
                  </a:lnTo>
                  <a:lnTo>
                    <a:pt x="1414" y="1610"/>
                  </a:lnTo>
                  <a:lnTo>
                    <a:pt x="1412" y="1614"/>
                  </a:lnTo>
                  <a:lnTo>
                    <a:pt x="1409" y="1619"/>
                  </a:lnTo>
                  <a:lnTo>
                    <a:pt x="1405" y="1624"/>
                  </a:lnTo>
                  <a:lnTo>
                    <a:pt x="978" y="2151"/>
                  </a:lnTo>
                  <a:lnTo>
                    <a:pt x="969" y="2162"/>
                  </a:lnTo>
                  <a:lnTo>
                    <a:pt x="958" y="2172"/>
                  </a:lnTo>
                  <a:lnTo>
                    <a:pt x="948" y="2181"/>
                  </a:lnTo>
                  <a:lnTo>
                    <a:pt x="938" y="2188"/>
                  </a:lnTo>
                  <a:lnTo>
                    <a:pt x="926" y="2195"/>
                  </a:lnTo>
                  <a:lnTo>
                    <a:pt x="915" y="2200"/>
                  </a:lnTo>
                  <a:lnTo>
                    <a:pt x="904" y="2204"/>
                  </a:lnTo>
                  <a:lnTo>
                    <a:pt x="893" y="2208"/>
                  </a:lnTo>
                  <a:lnTo>
                    <a:pt x="882" y="2209"/>
                  </a:lnTo>
                  <a:lnTo>
                    <a:pt x="871" y="2210"/>
                  </a:lnTo>
                  <a:lnTo>
                    <a:pt x="859" y="2209"/>
                  </a:lnTo>
                  <a:lnTo>
                    <a:pt x="848" y="2208"/>
                  </a:lnTo>
                  <a:lnTo>
                    <a:pt x="837" y="2206"/>
                  </a:lnTo>
                  <a:lnTo>
                    <a:pt x="826" y="2201"/>
                  </a:lnTo>
                  <a:lnTo>
                    <a:pt x="815" y="2197"/>
                  </a:lnTo>
                  <a:lnTo>
                    <a:pt x="803" y="2192"/>
                  </a:lnTo>
                  <a:lnTo>
                    <a:pt x="74" y="1816"/>
                  </a:lnTo>
                  <a:lnTo>
                    <a:pt x="64" y="1810"/>
                  </a:lnTo>
                  <a:lnTo>
                    <a:pt x="54" y="1803"/>
                  </a:lnTo>
                  <a:lnTo>
                    <a:pt x="45" y="1796"/>
                  </a:lnTo>
                  <a:lnTo>
                    <a:pt x="37" y="1789"/>
                  </a:lnTo>
                  <a:lnTo>
                    <a:pt x="28" y="1779"/>
                  </a:lnTo>
                  <a:lnTo>
                    <a:pt x="21" y="1771"/>
                  </a:lnTo>
                  <a:lnTo>
                    <a:pt x="15" y="1761"/>
                  </a:lnTo>
                  <a:lnTo>
                    <a:pt x="10" y="1751"/>
                  </a:lnTo>
                  <a:lnTo>
                    <a:pt x="6" y="1741"/>
                  </a:lnTo>
                  <a:lnTo>
                    <a:pt x="3" y="1729"/>
                  </a:lnTo>
                  <a:lnTo>
                    <a:pt x="1" y="1717"/>
                  </a:lnTo>
                  <a:lnTo>
                    <a:pt x="0" y="1704"/>
                  </a:lnTo>
                  <a:lnTo>
                    <a:pt x="0" y="1691"/>
                  </a:lnTo>
                  <a:lnTo>
                    <a:pt x="1" y="1678"/>
                  </a:lnTo>
                  <a:lnTo>
                    <a:pt x="4" y="1664"/>
                  </a:lnTo>
                  <a:lnTo>
                    <a:pt x="7" y="1648"/>
                  </a:lnTo>
                  <a:lnTo>
                    <a:pt x="190" y="995"/>
                  </a:lnTo>
                  <a:lnTo>
                    <a:pt x="192" y="990"/>
                  </a:lnTo>
                  <a:lnTo>
                    <a:pt x="194" y="985"/>
                  </a:lnTo>
                  <a:lnTo>
                    <a:pt x="197" y="980"/>
                  </a:lnTo>
                  <a:lnTo>
                    <a:pt x="200" y="976"/>
                  </a:lnTo>
                  <a:lnTo>
                    <a:pt x="203" y="972"/>
                  </a:lnTo>
                  <a:lnTo>
                    <a:pt x="207" y="969"/>
                  </a:lnTo>
                  <a:lnTo>
                    <a:pt x="212" y="965"/>
                  </a:lnTo>
                  <a:lnTo>
                    <a:pt x="216" y="963"/>
                  </a:lnTo>
                  <a:lnTo>
                    <a:pt x="221" y="961"/>
                  </a:lnTo>
                  <a:lnTo>
                    <a:pt x="226" y="959"/>
                  </a:lnTo>
                  <a:lnTo>
                    <a:pt x="230" y="958"/>
                  </a:lnTo>
                  <a:lnTo>
                    <a:pt x="235" y="958"/>
                  </a:lnTo>
                  <a:lnTo>
                    <a:pt x="240" y="958"/>
                  </a:lnTo>
                  <a:lnTo>
                    <a:pt x="245" y="959"/>
                  </a:lnTo>
                  <a:lnTo>
                    <a:pt x="250" y="960"/>
                  </a:lnTo>
                  <a:lnTo>
                    <a:pt x="255" y="963"/>
                  </a:lnTo>
                  <a:close/>
                  <a:moveTo>
                    <a:pt x="560" y="2966"/>
                  </a:moveTo>
                  <a:lnTo>
                    <a:pt x="1474" y="2066"/>
                  </a:lnTo>
                  <a:lnTo>
                    <a:pt x="1478" y="2062"/>
                  </a:lnTo>
                  <a:lnTo>
                    <a:pt x="1482" y="2059"/>
                  </a:lnTo>
                  <a:lnTo>
                    <a:pt x="1487" y="2057"/>
                  </a:lnTo>
                  <a:lnTo>
                    <a:pt x="1491" y="2055"/>
                  </a:lnTo>
                  <a:lnTo>
                    <a:pt x="1496" y="2054"/>
                  </a:lnTo>
                  <a:lnTo>
                    <a:pt x="1501" y="2053"/>
                  </a:lnTo>
                  <a:lnTo>
                    <a:pt x="1506" y="2054"/>
                  </a:lnTo>
                  <a:lnTo>
                    <a:pt x="1511" y="2054"/>
                  </a:lnTo>
                  <a:lnTo>
                    <a:pt x="1516" y="2055"/>
                  </a:lnTo>
                  <a:lnTo>
                    <a:pt x="1521" y="2057"/>
                  </a:lnTo>
                  <a:lnTo>
                    <a:pt x="1526" y="2059"/>
                  </a:lnTo>
                  <a:lnTo>
                    <a:pt x="1531" y="2062"/>
                  </a:lnTo>
                  <a:lnTo>
                    <a:pt x="1535" y="2065"/>
                  </a:lnTo>
                  <a:lnTo>
                    <a:pt x="1539" y="2069"/>
                  </a:lnTo>
                  <a:lnTo>
                    <a:pt x="1543" y="2073"/>
                  </a:lnTo>
                  <a:lnTo>
                    <a:pt x="1546" y="2077"/>
                  </a:lnTo>
                  <a:lnTo>
                    <a:pt x="1914" y="2647"/>
                  </a:lnTo>
                  <a:lnTo>
                    <a:pt x="1922" y="2660"/>
                  </a:lnTo>
                  <a:lnTo>
                    <a:pt x="1928" y="2673"/>
                  </a:lnTo>
                  <a:lnTo>
                    <a:pt x="1933" y="2685"/>
                  </a:lnTo>
                  <a:lnTo>
                    <a:pt x="1937" y="2699"/>
                  </a:lnTo>
                  <a:lnTo>
                    <a:pt x="1940" y="2711"/>
                  </a:lnTo>
                  <a:lnTo>
                    <a:pt x="1941" y="2723"/>
                  </a:lnTo>
                  <a:lnTo>
                    <a:pt x="1942" y="2734"/>
                  </a:lnTo>
                  <a:lnTo>
                    <a:pt x="1941" y="2745"/>
                  </a:lnTo>
                  <a:lnTo>
                    <a:pt x="1939" y="2758"/>
                  </a:lnTo>
                  <a:lnTo>
                    <a:pt x="1936" y="2768"/>
                  </a:lnTo>
                  <a:lnTo>
                    <a:pt x="1933" y="2779"/>
                  </a:lnTo>
                  <a:lnTo>
                    <a:pt x="1928" y="2789"/>
                  </a:lnTo>
                  <a:lnTo>
                    <a:pt x="1922" y="2799"/>
                  </a:lnTo>
                  <a:lnTo>
                    <a:pt x="1915" y="2808"/>
                  </a:lnTo>
                  <a:lnTo>
                    <a:pt x="1908" y="2818"/>
                  </a:lnTo>
                  <a:lnTo>
                    <a:pt x="1900" y="2827"/>
                  </a:lnTo>
                  <a:lnTo>
                    <a:pt x="1315" y="3402"/>
                  </a:lnTo>
                  <a:lnTo>
                    <a:pt x="1307" y="3410"/>
                  </a:lnTo>
                  <a:lnTo>
                    <a:pt x="1297" y="3419"/>
                  </a:lnTo>
                  <a:lnTo>
                    <a:pt x="1288" y="3425"/>
                  </a:lnTo>
                  <a:lnTo>
                    <a:pt x="1277" y="3431"/>
                  </a:lnTo>
                  <a:lnTo>
                    <a:pt x="1267" y="3435"/>
                  </a:lnTo>
                  <a:lnTo>
                    <a:pt x="1256" y="3439"/>
                  </a:lnTo>
                  <a:lnTo>
                    <a:pt x="1245" y="3442"/>
                  </a:lnTo>
                  <a:lnTo>
                    <a:pt x="1234" y="3443"/>
                  </a:lnTo>
                  <a:lnTo>
                    <a:pt x="1222" y="3444"/>
                  </a:lnTo>
                  <a:lnTo>
                    <a:pt x="1211" y="3443"/>
                  </a:lnTo>
                  <a:lnTo>
                    <a:pt x="1199" y="3442"/>
                  </a:lnTo>
                  <a:lnTo>
                    <a:pt x="1187" y="3439"/>
                  </a:lnTo>
                  <a:lnTo>
                    <a:pt x="1174" y="3435"/>
                  </a:lnTo>
                  <a:lnTo>
                    <a:pt x="1161" y="3430"/>
                  </a:lnTo>
                  <a:lnTo>
                    <a:pt x="1148" y="3423"/>
                  </a:lnTo>
                  <a:lnTo>
                    <a:pt x="1136" y="3415"/>
                  </a:lnTo>
                  <a:lnTo>
                    <a:pt x="572" y="3038"/>
                  </a:lnTo>
                  <a:lnTo>
                    <a:pt x="567" y="3035"/>
                  </a:lnTo>
                  <a:lnTo>
                    <a:pt x="563" y="3031"/>
                  </a:lnTo>
                  <a:lnTo>
                    <a:pt x="559" y="3027"/>
                  </a:lnTo>
                  <a:lnTo>
                    <a:pt x="556" y="3023"/>
                  </a:lnTo>
                  <a:lnTo>
                    <a:pt x="553" y="3018"/>
                  </a:lnTo>
                  <a:lnTo>
                    <a:pt x="551" y="3014"/>
                  </a:lnTo>
                  <a:lnTo>
                    <a:pt x="549" y="3009"/>
                  </a:lnTo>
                  <a:lnTo>
                    <a:pt x="548" y="3004"/>
                  </a:lnTo>
                  <a:lnTo>
                    <a:pt x="548" y="2999"/>
                  </a:lnTo>
                  <a:lnTo>
                    <a:pt x="548" y="2994"/>
                  </a:lnTo>
                  <a:lnTo>
                    <a:pt x="548" y="2988"/>
                  </a:lnTo>
                  <a:lnTo>
                    <a:pt x="549" y="2983"/>
                  </a:lnTo>
                  <a:lnTo>
                    <a:pt x="551" y="2978"/>
                  </a:lnTo>
                  <a:lnTo>
                    <a:pt x="553" y="2974"/>
                  </a:lnTo>
                  <a:lnTo>
                    <a:pt x="556" y="2970"/>
                  </a:lnTo>
                  <a:lnTo>
                    <a:pt x="560" y="2966"/>
                  </a:lnTo>
                  <a:close/>
                  <a:moveTo>
                    <a:pt x="2570" y="3292"/>
                  </a:moveTo>
                  <a:lnTo>
                    <a:pt x="1990" y="2150"/>
                  </a:lnTo>
                  <a:lnTo>
                    <a:pt x="1987" y="2144"/>
                  </a:lnTo>
                  <a:lnTo>
                    <a:pt x="1986" y="2139"/>
                  </a:lnTo>
                  <a:lnTo>
                    <a:pt x="1985" y="2134"/>
                  </a:lnTo>
                  <a:lnTo>
                    <a:pt x="1985" y="2128"/>
                  </a:lnTo>
                  <a:lnTo>
                    <a:pt x="1986" y="2124"/>
                  </a:lnTo>
                  <a:lnTo>
                    <a:pt x="1987" y="2119"/>
                  </a:lnTo>
                  <a:lnTo>
                    <a:pt x="1988" y="2114"/>
                  </a:lnTo>
                  <a:lnTo>
                    <a:pt x="1990" y="2110"/>
                  </a:lnTo>
                  <a:lnTo>
                    <a:pt x="1993" y="2105"/>
                  </a:lnTo>
                  <a:lnTo>
                    <a:pt x="1996" y="2101"/>
                  </a:lnTo>
                  <a:lnTo>
                    <a:pt x="2000" y="2098"/>
                  </a:lnTo>
                  <a:lnTo>
                    <a:pt x="2003" y="2094"/>
                  </a:lnTo>
                  <a:lnTo>
                    <a:pt x="2009" y="2091"/>
                  </a:lnTo>
                  <a:lnTo>
                    <a:pt x="2013" y="2088"/>
                  </a:lnTo>
                  <a:lnTo>
                    <a:pt x="2018" y="2086"/>
                  </a:lnTo>
                  <a:lnTo>
                    <a:pt x="2024" y="2084"/>
                  </a:lnTo>
                  <a:lnTo>
                    <a:pt x="2678" y="1906"/>
                  </a:lnTo>
                  <a:lnTo>
                    <a:pt x="2693" y="1902"/>
                  </a:lnTo>
                  <a:lnTo>
                    <a:pt x="2707" y="1899"/>
                  </a:lnTo>
                  <a:lnTo>
                    <a:pt x="2720" y="1898"/>
                  </a:lnTo>
                  <a:lnTo>
                    <a:pt x="2734" y="1898"/>
                  </a:lnTo>
                  <a:lnTo>
                    <a:pt x="2746" y="1900"/>
                  </a:lnTo>
                  <a:lnTo>
                    <a:pt x="2758" y="1902"/>
                  </a:lnTo>
                  <a:lnTo>
                    <a:pt x="2769" y="1906"/>
                  </a:lnTo>
                  <a:lnTo>
                    <a:pt x="2780" y="1910"/>
                  </a:lnTo>
                  <a:lnTo>
                    <a:pt x="2791" y="1915"/>
                  </a:lnTo>
                  <a:lnTo>
                    <a:pt x="2800" y="1921"/>
                  </a:lnTo>
                  <a:lnTo>
                    <a:pt x="2809" y="1928"/>
                  </a:lnTo>
                  <a:lnTo>
                    <a:pt x="2817" y="1936"/>
                  </a:lnTo>
                  <a:lnTo>
                    <a:pt x="2825" y="1944"/>
                  </a:lnTo>
                  <a:lnTo>
                    <a:pt x="2832" y="1953"/>
                  </a:lnTo>
                  <a:lnTo>
                    <a:pt x="2838" y="1963"/>
                  </a:lnTo>
                  <a:lnTo>
                    <a:pt x="2845" y="1974"/>
                  </a:lnTo>
                  <a:lnTo>
                    <a:pt x="3216" y="2706"/>
                  </a:lnTo>
                  <a:lnTo>
                    <a:pt x="3221" y="2717"/>
                  </a:lnTo>
                  <a:lnTo>
                    <a:pt x="3225" y="2727"/>
                  </a:lnTo>
                  <a:lnTo>
                    <a:pt x="3229" y="2739"/>
                  </a:lnTo>
                  <a:lnTo>
                    <a:pt x="3231" y="2751"/>
                  </a:lnTo>
                  <a:lnTo>
                    <a:pt x="3232" y="2762"/>
                  </a:lnTo>
                  <a:lnTo>
                    <a:pt x="3233" y="2773"/>
                  </a:lnTo>
                  <a:lnTo>
                    <a:pt x="3232" y="2784"/>
                  </a:lnTo>
                  <a:lnTo>
                    <a:pt x="3230" y="2795"/>
                  </a:lnTo>
                  <a:lnTo>
                    <a:pt x="3227" y="2806"/>
                  </a:lnTo>
                  <a:lnTo>
                    <a:pt x="3223" y="2818"/>
                  </a:lnTo>
                  <a:lnTo>
                    <a:pt x="3218" y="2829"/>
                  </a:lnTo>
                  <a:lnTo>
                    <a:pt x="3212" y="2839"/>
                  </a:lnTo>
                  <a:lnTo>
                    <a:pt x="3204" y="2850"/>
                  </a:lnTo>
                  <a:lnTo>
                    <a:pt x="3194" y="2860"/>
                  </a:lnTo>
                  <a:lnTo>
                    <a:pt x="3184" y="2871"/>
                  </a:lnTo>
                  <a:lnTo>
                    <a:pt x="3173" y="2881"/>
                  </a:lnTo>
                  <a:lnTo>
                    <a:pt x="2643" y="3304"/>
                  </a:lnTo>
                  <a:lnTo>
                    <a:pt x="2638" y="3307"/>
                  </a:lnTo>
                  <a:lnTo>
                    <a:pt x="2633" y="3310"/>
                  </a:lnTo>
                  <a:lnTo>
                    <a:pt x="2629" y="3312"/>
                  </a:lnTo>
                  <a:lnTo>
                    <a:pt x="2624" y="3314"/>
                  </a:lnTo>
                  <a:lnTo>
                    <a:pt x="2619" y="3315"/>
                  </a:lnTo>
                  <a:lnTo>
                    <a:pt x="2613" y="3316"/>
                  </a:lnTo>
                  <a:lnTo>
                    <a:pt x="2608" y="3316"/>
                  </a:lnTo>
                  <a:lnTo>
                    <a:pt x="2603" y="3315"/>
                  </a:lnTo>
                  <a:lnTo>
                    <a:pt x="2598" y="3314"/>
                  </a:lnTo>
                  <a:lnTo>
                    <a:pt x="2593" y="3313"/>
                  </a:lnTo>
                  <a:lnTo>
                    <a:pt x="2588" y="3311"/>
                  </a:lnTo>
                  <a:lnTo>
                    <a:pt x="2584" y="3308"/>
                  </a:lnTo>
                  <a:lnTo>
                    <a:pt x="2580" y="3305"/>
                  </a:lnTo>
                  <a:lnTo>
                    <a:pt x="2576" y="3302"/>
                  </a:lnTo>
                  <a:lnTo>
                    <a:pt x="2573" y="3297"/>
                  </a:lnTo>
                  <a:lnTo>
                    <a:pt x="2570" y="3292"/>
                  </a:lnTo>
                  <a:close/>
                  <a:moveTo>
                    <a:pt x="3494" y="1498"/>
                  </a:moveTo>
                  <a:lnTo>
                    <a:pt x="2227" y="1688"/>
                  </a:lnTo>
                  <a:lnTo>
                    <a:pt x="2222" y="1688"/>
                  </a:lnTo>
                  <a:lnTo>
                    <a:pt x="2216" y="1688"/>
                  </a:lnTo>
                  <a:lnTo>
                    <a:pt x="2211" y="1687"/>
                  </a:lnTo>
                  <a:lnTo>
                    <a:pt x="2206" y="1686"/>
                  </a:lnTo>
                  <a:lnTo>
                    <a:pt x="2202" y="1684"/>
                  </a:lnTo>
                  <a:lnTo>
                    <a:pt x="2198" y="1681"/>
                  </a:lnTo>
                  <a:lnTo>
                    <a:pt x="2194" y="1678"/>
                  </a:lnTo>
                  <a:lnTo>
                    <a:pt x="2190" y="1675"/>
                  </a:lnTo>
                  <a:lnTo>
                    <a:pt x="2187" y="1671"/>
                  </a:lnTo>
                  <a:lnTo>
                    <a:pt x="2183" y="1667"/>
                  </a:lnTo>
                  <a:lnTo>
                    <a:pt x="2181" y="1661"/>
                  </a:lnTo>
                  <a:lnTo>
                    <a:pt x="2179" y="1657"/>
                  </a:lnTo>
                  <a:lnTo>
                    <a:pt x="2177" y="1652"/>
                  </a:lnTo>
                  <a:lnTo>
                    <a:pt x="2176" y="1646"/>
                  </a:lnTo>
                  <a:lnTo>
                    <a:pt x="2176" y="1641"/>
                  </a:lnTo>
                  <a:lnTo>
                    <a:pt x="2176" y="1635"/>
                  </a:lnTo>
                  <a:lnTo>
                    <a:pt x="2213" y="959"/>
                  </a:lnTo>
                  <a:lnTo>
                    <a:pt x="2214" y="944"/>
                  </a:lnTo>
                  <a:lnTo>
                    <a:pt x="2217" y="929"/>
                  </a:lnTo>
                  <a:lnTo>
                    <a:pt x="2220" y="915"/>
                  </a:lnTo>
                  <a:lnTo>
                    <a:pt x="2224" y="903"/>
                  </a:lnTo>
                  <a:lnTo>
                    <a:pt x="2229" y="892"/>
                  </a:lnTo>
                  <a:lnTo>
                    <a:pt x="2235" y="881"/>
                  </a:lnTo>
                  <a:lnTo>
                    <a:pt x="2241" y="871"/>
                  </a:lnTo>
                  <a:lnTo>
                    <a:pt x="2250" y="862"/>
                  </a:lnTo>
                  <a:lnTo>
                    <a:pt x="2257" y="854"/>
                  </a:lnTo>
                  <a:lnTo>
                    <a:pt x="2266" y="847"/>
                  </a:lnTo>
                  <a:lnTo>
                    <a:pt x="2275" y="841"/>
                  </a:lnTo>
                  <a:lnTo>
                    <a:pt x="2285" y="836"/>
                  </a:lnTo>
                  <a:lnTo>
                    <a:pt x="2296" y="831"/>
                  </a:lnTo>
                  <a:lnTo>
                    <a:pt x="2307" y="827"/>
                  </a:lnTo>
                  <a:lnTo>
                    <a:pt x="2319" y="824"/>
                  </a:lnTo>
                  <a:lnTo>
                    <a:pt x="2331" y="822"/>
                  </a:lnTo>
                  <a:lnTo>
                    <a:pt x="3142" y="700"/>
                  </a:lnTo>
                  <a:lnTo>
                    <a:pt x="3154" y="699"/>
                  </a:lnTo>
                  <a:lnTo>
                    <a:pt x="3166" y="699"/>
                  </a:lnTo>
                  <a:lnTo>
                    <a:pt x="3177" y="699"/>
                  </a:lnTo>
                  <a:lnTo>
                    <a:pt x="3189" y="700"/>
                  </a:lnTo>
                  <a:lnTo>
                    <a:pt x="3200" y="702"/>
                  </a:lnTo>
                  <a:lnTo>
                    <a:pt x="3211" y="706"/>
                  </a:lnTo>
                  <a:lnTo>
                    <a:pt x="3222" y="710"/>
                  </a:lnTo>
                  <a:lnTo>
                    <a:pt x="3232" y="715"/>
                  </a:lnTo>
                  <a:lnTo>
                    <a:pt x="3241" y="721"/>
                  </a:lnTo>
                  <a:lnTo>
                    <a:pt x="3250" y="728"/>
                  </a:lnTo>
                  <a:lnTo>
                    <a:pt x="3259" y="737"/>
                  </a:lnTo>
                  <a:lnTo>
                    <a:pt x="3268" y="746"/>
                  </a:lnTo>
                  <a:lnTo>
                    <a:pt x="3275" y="758"/>
                  </a:lnTo>
                  <a:lnTo>
                    <a:pt x="3282" y="769"/>
                  </a:lnTo>
                  <a:lnTo>
                    <a:pt x="3289" y="782"/>
                  </a:lnTo>
                  <a:lnTo>
                    <a:pt x="3294" y="796"/>
                  </a:lnTo>
                  <a:lnTo>
                    <a:pt x="3529" y="1433"/>
                  </a:lnTo>
                  <a:lnTo>
                    <a:pt x="3530" y="1438"/>
                  </a:lnTo>
                  <a:lnTo>
                    <a:pt x="3531" y="1443"/>
                  </a:lnTo>
                  <a:lnTo>
                    <a:pt x="3532" y="1449"/>
                  </a:lnTo>
                  <a:lnTo>
                    <a:pt x="3532" y="1454"/>
                  </a:lnTo>
                  <a:lnTo>
                    <a:pt x="3531" y="1459"/>
                  </a:lnTo>
                  <a:lnTo>
                    <a:pt x="3530" y="1464"/>
                  </a:lnTo>
                  <a:lnTo>
                    <a:pt x="3529" y="1469"/>
                  </a:lnTo>
                  <a:lnTo>
                    <a:pt x="3527" y="1474"/>
                  </a:lnTo>
                  <a:lnTo>
                    <a:pt x="3525" y="1478"/>
                  </a:lnTo>
                  <a:lnTo>
                    <a:pt x="3522" y="1483"/>
                  </a:lnTo>
                  <a:lnTo>
                    <a:pt x="3518" y="1487"/>
                  </a:lnTo>
                  <a:lnTo>
                    <a:pt x="3515" y="1490"/>
                  </a:lnTo>
                  <a:lnTo>
                    <a:pt x="3510" y="1493"/>
                  </a:lnTo>
                  <a:lnTo>
                    <a:pt x="3506" y="1495"/>
                  </a:lnTo>
                  <a:lnTo>
                    <a:pt x="3501" y="1497"/>
                  </a:lnTo>
                  <a:lnTo>
                    <a:pt x="3494" y="1498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09594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Вертикальный заголовок и текст">
    <p:bg>
      <p:bgPr>
        <a:blipFill dpi="0" rotWithShape="1">
          <a:blip r:embed="rId2" cstate="print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4715" y="2028092"/>
            <a:ext cx="7401315" cy="4829908"/>
          </a:xfrm>
          <a:prstGeom prst="rect">
            <a:avLst/>
          </a:prstGeom>
        </p:spPr>
      </p:pic>
      <p:grpSp>
        <p:nvGrpSpPr>
          <p:cNvPr id="7" name="Группа 6"/>
          <p:cNvGrpSpPr/>
          <p:nvPr userDrawn="1"/>
        </p:nvGrpSpPr>
        <p:grpSpPr>
          <a:xfrm>
            <a:off x="531416" y="487363"/>
            <a:ext cx="2332038" cy="455612"/>
            <a:chOff x="490538" y="487363"/>
            <a:chExt cx="2152650" cy="455612"/>
          </a:xfrm>
        </p:grpSpPr>
        <p:sp>
          <p:nvSpPr>
            <p:cNvPr id="8" name="Freeform 5"/>
            <p:cNvSpPr>
              <a:spLocks noEditPoints="1"/>
            </p:cNvSpPr>
            <p:nvPr userDrawn="1"/>
          </p:nvSpPr>
          <p:spPr bwMode="auto">
            <a:xfrm>
              <a:off x="1144588" y="590550"/>
              <a:ext cx="1498600" cy="247650"/>
            </a:xfrm>
            <a:custGeom>
              <a:avLst/>
              <a:gdLst>
                <a:gd name="T0" fmla="*/ 2465 w 11327"/>
                <a:gd name="T1" fmla="*/ 803 h 1868"/>
                <a:gd name="T2" fmla="*/ 2667 w 11327"/>
                <a:gd name="T3" fmla="*/ 466 h 1868"/>
                <a:gd name="T4" fmla="*/ 3049 w 11327"/>
                <a:gd name="T5" fmla="*/ 345 h 1868"/>
                <a:gd name="T6" fmla="*/ 3430 w 11327"/>
                <a:gd name="T7" fmla="*/ 466 h 1868"/>
                <a:gd name="T8" fmla="*/ 3632 w 11327"/>
                <a:gd name="T9" fmla="*/ 803 h 1868"/>
                <a:gd name="T10" fmla="*/ 3574 w 11327"/>
                <a:gd name="T11" fmla="*/ 1233 h 1868"/>
                <a:gd name="T12" fmla="*/ 3284 w 11327"/>
                <a:gd name="T13" fmla="*/ 1483 h 1868"/>
                <a:gd name="T14" fmla="*/ 2870 w 11327"/>
                <a:gd name="T15" fmla="*/ 1500 h 1868"/>
                <a:gd name="T16" fmla="*/ 2553 w 11327"/>
                <a:gd name="T17" fmla="*/ 1281 h 1868"/>
                <a:gd name="T18" fmla="*/ 4046 w 11327"/>
                <a:gd name="T19" fmla="*/ 882 h 1868"/>
                <a:gd name="T20" fmla="*/ 3784 w 11327"/>
                <a:gd name="T21" fmla="*/ 289 h 1868"/>
                <a:gd name="T22" fmla="*/ 3199 w 11327"/>
                <a:gd name="T23" fmla="*/ 10 h 1868"/>
                <a:gd name="T24" fmla="*/ 2536 w 11327"/>
                <a:gd name="T25" fmla="*/ 125 h 1868"/>
                <a:gd name="T26" fmla="*/ 2113 w 11327"/>
                <a:gd name="T27" fmla="*/ 595 h 1868"/>
                <a:gd name="T28" fmla="*/ 2113 w 11327"/>
                <a:gd name="T29" fmla="*/ 1273 h 1868"/>
                <a:gd name="T30" fmla="*/ 2536 w 11327"/>
                <a:gd name="T31" fmla="*/ 1743 h 1868"/>
                <a:gd name="T32" fmla="*/ 3199 w 11327"/>
                <a:gd name="T33" fmla="*/ 1858 h 1868"/>
                <a:gd name="T34" fmla="*/ 3784 w 11327"/>
                <a:gd name="T35" fmla="*/ 1579 h 1868"/>
                <a:gd name="T36" fmla="*/ 4046 w 11327"/>
                <a:gd name="T37" fmla="*/ 985 h 1868"/>
                <a:gd name="T38" fmla="*/ 4444 w 11327"/>
                <a:gd name="T39" fmla="*/ 1443 h 1868"/>
                <a:gd name="T40" fmla="*/ 4540 w 11327"/>
                <a:gd name="T41" fmla="*/ 1808 h 1868"/>
                <a:gd name="T42" fmla="*/ 4811 w 11327"/>
                <a:gd name="T43" fmla="*/ 1650 h 1868"/>
                <a:gd name="T44" fmla="*/ 5796 w 11327"/>
                <a:gd name="T45" fmla="*/ 403 h 1868"/>
                <a:gd name="T46" fmla="*/ 7304 w 11327"/>
                <a:gd name="T47" fmla="*/ 1292 h 1868"/>
                <a:gd name="T48" fmla="*/ 7673 w 11327"/>
                <a:gd name="T49" fmla="*/ 1730 h 1868"/>
                <a:gd name="T50" fmla="*/ 8267 w 11327"/>
                <a:gd name="T51" fmla="*/ 1867 h 1868"/>
                <a:gd name="T52" fmla="*/ 8871 w 11327"/>
                <a:gd name="T53" fmla="*/ 1653 h 1868"/>
                <a:gd name="T54" fmla="*/ 9178 w 11327"/>
                <a:gd name="T55" fmla="*/ 1094 h 1868"/>
                <a:gd name="T56" fmla="*/ 9049 w 11327"/>
                <a:gd name="T57" fmla="*/ 414 h 1868"/>
                <a:gd name="T58" fmla="*/ 8552 w 11327"/>
                <a:gd name="T59" fmla="*/ 48 h 1868"/>
                <a:gd name="T60" fmla="*/ 7924 w 11327"/>
                <a:gd name="T61" fmla="*/ 36 h 1868"/>
                <a:gd name="T62" fmla="*/ 7459 w 11327"/>
                <a:gd name="T63" fmla="*/ 313 h 1868"/>
                <a:gd name="T64" fmla="*/ 6585 w 11327"/>
                <a:gd name="T65" fmla="*/ 42 h 1868"/>
                <a:gd name="T66" fmla="*/ 7740 w 11327"/>
                <a:gd name="T67" fmla="*/ 563 h 1868"/>
                <a:gd name="T68" fmla="*/ 8053 w 11327"/>
                <a:gd name="T69" fmla="*/ 361 h 1868"/>
                <a:gd name="T70" fmla="*/ 8492 w 11327"/>
                <a:gd name="T71" fmla="*/ 396 h 1868"/>
                <a:gd name="T72" fmla="*/ 8744 w 11327"/>
                <a:gd name="T73" fmla="*/ 660 h 1868"/>
                <a:gd name="T74" fmla="*/ 8775 w 11327"/>
                <a:gd name="T75" fmla="*/ 1095 h 1868"/>
                <a:gd name="T76" fmla="*/ 8585 w 11327"/>
                <a:gd name="T77" fmla="*/ 1418 h 1868"/>
                <a:gd name="T78" fmla="*/ 8182 w 11327"/>
                <a:gd name="T79" fmla="*/ 1522 h 1868"/>
                <a:gd name="T80" fmla="*/ 7807 w 11327"/>
                <a:gd name="T81" fmla="*/ 1385 h 1868"/>
                <a:gd name="T82" fmla="*/ 7649 w 11327"/>
                <a:gd name="T83" fmla="*/ 1033 h 1868"/>
                <a:gd name="T84" fmla="*/ 11121 w 11327"/>
                <a:gd name="T85" fmla="*/ 228 h 1868"/>
                <a:gd name="T86" fmla="*/ 10716 w 11327"/>
                <a:gd name="T87" fmla="*/ 30 h 1868"/>
                <a:gd name="T88" fmla="*/ 10126 w 11327"/>
                <a:gd name="T89" fmla="*/ 37 h 1868"/>
                <a:gd name="T90" fmla="*/ 9598 w 11327"/>
                <a:gd name="T91" fmla="*/ 385 h 1868"/>
                <a:gd name="T92" fmla="*/ 9435 w 11327"/>
                <a:gd name="T93" fmla="*/ 1039 h 1868"/>
                <a:gd name="T94" fmla="*/ 9714 w 11327"/>
                <a:gd name="T95" fmla="*/ 1617 h 1868"/>
                <a:gd name="T96" fmla="*/ 10320 w 11327"/>
                <a:gd name="T97" fmla="*/ 1863 h 1868"/>
                <a:gd name="T98" fmla="*/ 10845 w 11327"/>
                <a:gd name="T99" fmla="*/ 1799 h 1868"/>
                <a:gd name="T100" fmla="*/ 11211 w 11327"/>
                <a:gd name="T101" fmla="*/ 1551 h 1868"/>
                <a:gd name="T102" fmla="*/ 10919 w 11327"/>
                <a:gd name="T103" fmla="*/ 1325 h 1868"/>
                <a:gd name="T104" fmla="*/ 10676 w 11327"/>
                <a:gd name="T105" fmla="*/ 1473 h 1868"/>
                <a:gd name="T106" fmla="*/ 10324 w 11327"/>
                <a:gd name="T107" fmla="*/ 1504 h 1868"/>
                <a:gd name="T108" fmla="*/ 9975 w 11327"/>
                <a:gd name="T109" fmla="*/ 1332 h 1868"/>
                <a:gd name="T110" fmla="*/ 9831 w 11327"/>
                <a:gd name="T111" fmla="*/ 966 h 1868"/>
                <a:gd name="T112" fmla="*/ 9938 w 11327"/>
                <a:gd name="T113" fmla="*/ 575 h 1868"/>
                <a:gd name="T114" fmla="*/ 10261 w 11327"/>
                <a:gd name="T115" fmla="*/ 373 h 1868"/>
                <a:gd name="T116" fmla="*/ 10634 w 11327"/>
                <a:gd name="T117" fmla="*/ 382 h 1868"/>
                <a:gd name="T118" fmla="*/ 10890 w 11327"/>
                <a:gd name="T119" fmla="*/ 515 h 1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27" h="1868">
                  <a:moveTo>
                    <a:pt x="0" y="42"/>
                  </a:moveTo>
                  <a:lnTo>
                    <a:pt x="0" y="1822"/>
                  </a:lnTo>
                  <a:lnTo>
                    <a:pt x="399" y="1822"/>
                  </a:lnTo>
                  <a:lnTo>
                    <a:pt x="399" y="400"/>
                  </a:lnTo>
                  <a:lnTo>
                    <a:pt x="1352" y="400"/>
                  </a:lnTo>
                  <a:lnTo>
                    <a:pt x="1352" y="1822"/>
                  </a:lnTo>
                  <a:lnTo>
                    <a:pt x="1755" y="1822"/>
                  </a:lnTo>
                  <a:lnTo>
                    <a:pt x="1755" y="42"/>
                  </a:lnTo>
                  <a:lnTo>
                    <a:pt x="0" y="42"/>
                  </a:lnTo>
                  <a:close/>
                  <a:moveTo>
                    <a:pt x="2454" y="933"/>
                  </a:moveTo>
                  <a:lnTo>
                    <a:pt x="2454" y="900"/>
                  </a:lnTo>
                  <a:lnTo>
                    <a:pt x="2457" y="866"/>
                  </a:lnTo>
                  <a:lnTo>
                    <a:pt x="2460" y="835"/>
                  </a:lnTo>
                  <a:lnTo>
                    <a:pt x="2465" y="803"/>
                  </a:lnTo>
                  <a:lnTo>
                    <a:pt x="2472" y="773"/>
                  </a:lnTo>
                  <a:lnTo>
                    <a:pt x="2480" y="743"/>
                  </a:lnTo>
                  <a:lnTo>
                    <a:pt x="2489" y="715"/>
                  </a:lnTo>
                  <a:lnTo>
                    <a:pt x="2499" y="686"/>
                  </a:lnTo>
                  <a:lnTo>
                    <a:pt x="2511" y="660"/>
                  </a:lnTo>
                  <a:lnTo>
                    <a:pt x="2524" y="634"/>
                  </a:lnTo>
                  <a:lnTo>
                    <a:pt x="2538" y="610"/>
                  </a:lnTo>
                  <a:lnTo>
                    <a:pt x="2553" y="586"/>
                  </a:lnTo>
                  <a:lnTo>
                    <a:pt x="2570" y="563"/>
                  </a:lnTo>
                  <a:lnTo>
                    <a:pt x="2588" y="542"/>
                  </a:lnTo>
                  <a:lnTo>
                    <a:pt x="2606" y="521"/>
                  </a:lnTo>
                  <a:lnTo>
                    <a:pt x="2626" y="501"/>
                  </a:lnTo>
                  <a:lnTo>
                    <a:pt x="2646" y="483"/>
                  </a:lnTo>
                  <a:lnTo>
                    <a:pt x="2667" y="466"/>
                  </a:lnTo>
                  <a:lnTo>
                    <a:pt x="2691" y="449"/>
                  </a:lnTo>
                  <a:lnTo>
                    <a:pt x="2713" y="434"/>
                  </a:lnTo>
                  <a:lnTo>
                    <a:pt x="2737" y="420"/>
                  </a:lnTo>
                  <a:lnTo>
                    <a:pt x="2763" y="408"/>
                  </a:lnTo>
                  <a:lnTo>
                    <a:pt x="2788" y="396"/>
                  </a:lnTo>
                  <a:lnTo>
                    <a:pt x="2815" y="385"/>
                  </a:lnTo>
                  <a:lnTo>
                    <a:pt x="2842" y="375"/>
                  </a:lnTo>
                  <a:lnTo>
                    <a:pt x="2870" y="367"/>
                  </a:lnTo>
                  <a:lnTo>
                    <a:pt x="2898" y="361"/>
                  </a:lnTo>
                  <a:lnTo>
                    <a:pt x="2928" y="355"/>
                  </a:lnTo>
                  <a:lnTo>
                    <a:pt x="2957" y="351"/>
                  </a:lnTo>
                  <a:lnTo>
                    <a:pt x="2988" y="347"/>
                  </a:lnTo>
                  <a:lnTo>
                    <a:pt x="3018" y="345"/>
                  </a:lnTo>
                  <a:lnTo>
                    <a:pt x="3049" y="345"/>
                  </a:lnTo>
                  <a:lnTo>
                    <a:pt x="3080" y="345"/>
                  </a:lnTo>
                  <a:lnTo>
                    <a:pt x="3111" y="347"/>
                  </a:lnTo>
                  <a:lnTo>
                    <a:pt x="3141" y="351"/>
                  </a:lnTo>
                  <a:lnTo>
                    <a:pt x="3171" y="355"/>
                  </a:lnTo>
                  <a:lnTo>
                    <a:pt x="3200" y="361"/>
                  </a:lnTo>
                  <a:lnTo>
                    <a:pt x="3229" y="367"/>
                  </a:lnTo>
                  <a:lnTo>
                    <a:pt x="3256" y="375"/>
                  </a:lnTo>
                  <a:lnTo>
                    <a:pt x="3284" y="385"/>
                  </a:lnTo>
                  <a:lnTo>
                    <a:pt x="3310" y="396"/>
                  </a:lnTo>
                  <a:lnTo>
                    <a:pt x="3335" y="408"/>
                  </a:lnTo>
                  <a:lnTo>
                    <a:pt x="3361" y="420"/>
                  </a:lnTo>
                  <a:lnTo>
                    <a:pt x="3384" y="434"/>
                  </a:lnTo>
                  <a:lnTo>
                    <a:pt x="3408" y="449"/>
                  </a:lnTo>
                  <a:lnTo>
                    <a:pt x="3430" y="466"/>
                  </a:lnTo>
                  <a:lnTo>
                    <a:pt x="3452" y="483"/>
                  </a:lnTo>
                  <a:lnTo>
                    <a:pt x="3473" y="501"/>
                  </a:lnTo>
                  <a:lnTo>
                    <a:pt x="3492" y="521"/>
                  </a:lnTo>
                  <a:lnTo>
                    <a:pt x="3510" y="542"/>
                  </a:lnTo>
                  <a:lnTo>
                    <a:pt x="3528" y="563"/>
                  </a:lnTo>
                  <a:lnTo>
                    <a:pt x="3545" y="586"/>
                  </a:lnTo>
                  <a:lnTo>
                    <a:pt x="3560" y="610"/>
                  </a:lnTo>
                  <a:lnTo>
                    <a:pt x="3574" y="634"/>
                  </a:lnTo>
                  <a:lnTo>
                    <a:pt x="3587" y="660"/>
                  </a:lnTo>
                  <a:lnTo>
                    <a:pt x="3599" y="686"/>
                  </a:lnTo>
                  <a:lnTo>
                    <a:pt x="3609" y="715"/>
                  </a:lnTo>
                  <a:lnTo>
                    <a:pt x="3618" y="743"/>
                  </a:lnTo>
                  <a:lnTo>
                    <a:pt x="3626" y="773"/>
                  </a:lnTo>
                  <a:lnTo>
                    <a:pt x="3632" y="803"/>
                  </a:lnTo>
                  <a:lnTo>
                    <a:pt x="3637" y="835"/>
                  </a:lnTo>
                  <a:lnTo>
                    <a:pt x="3642" y="866"/>
                  </a:lnTo>
                  <a:lnTo>
                    <a:pt x="3644" y="900"/>
                  </a:lnTo>
                  <a:lnTo>
                    <a:pt x="3645" y="933"/>
                  </a:lnTo>
                  <a:lnTo>
                    <a:pt x="3644" y="968"/>
                  </a:lnTo>
                  <a:lnTo>
                    <a:pt x="3642" y="1001"/>
                  </a:lnTo>
                  <a:lnTo>
                    <a:pt x="3637" y="1033"/>
                  </a:lnTo>
                  <a:lnTo>
                    <a:pt x="3632" y="1065"/>
                  </a:lnTo>
                  <a:lnTo>
                    <a:pt x="3626" y="1095"/>
                  </a:lnTo>
                  <a:lnTo>
                    <a:pt x="3618" y="1125"/>
                  </a:lnTo>
                  <a:lnTo>
                    <a:pt x="3609" y="1153"/>
                  </a:lnTo>
                  <a:lnTo>
                    <a:pt x="3599" y="1181"/>
                  </a:lnTo>
                  <a:lnTo>
                    <a:pt x="3587" y="1207"/>
                  </a:lnTo>
                  <a:lnTo>
                    <a:pt x="3574" y="1233"/>
                  </a:lnTo>
                  <a:lnTo>
                    <a:pt x="3560" y="1258"/>
                  </a:lnTo>
                  <a:lnTo>
                    <a:pt x="3545" y="1281"/>
                  </a:lnTo>
                  <a:lnTo>
                    <a:pt x="3528" y="1305"/>
                  </a:lnTo>
                  <a:lnTo>
                    <a:pt x="3510" y="1326"/>
                  </a:lnTo>
                  <a:lnTo>
                    <a:pt x="3492" y="1346"/>
                  </a:lnTo>
                  <a:lnTo>
                    <a:pt x="3473" y="1366"/>
                  </a:lnTo>
                  <a:lnTo>
                    <a:pt x="3452" y="1385"/>
                  </a:lnTo>
                  <a:lnTo>
                    <a:pt x="3430" y="1402"/>
                  </a:lnTo>
                  <a:lnTo>
                    <a:pt x="3408" y="1418"/>
                  </a:lnTo>
                  <a:lnTo>
                    <a:pt x="3384" y="1434"/>
                  </a:lnTo>
                  <a:lnTo>
                    <a:pt x="3361" y="1447"/>
                  </a:lnTo>
                  <a:lnTo>
                    <a:pt x="3335" y="1460"/>
                  </a:lnTo>
                  <a:lnTo>
                    <a:pt x="3310" y="1472"/>
                  </a:lnTo>
                  <a:lnTo>
                    <a:pt x="3284" y="1483"/>
                  </a:lnTo>
                  <a:lnTo>
                    <a:pt x="3256" y="1492"/>
                  </a:lnTo>
                  <a:lnTo>
                    <a:pt x="3229" y="1500"/>
                  </a:lnTo>
                  <a:lnTo>
                    <a:pt x="3200" y="1507"/>
                  </a:lnTo>
                  <a:lnTo>
                    <a:pt x="3171" y="1513"/>
                  </a:lnTo>
                  <a:lnTo>
                    <a:pt x="3141" y="1517"/>
                  </a:lnTo>
                  <a:lnTo>
                    <a:pt x="3111" y="1520"/>
                  </a:lnTo>
                  <a:lnTo>
                    <a:pt x="3080" y="1522"/>
                  </a:lnTo>
                  <a:lnTo>
                    <a:pt x="3049" y="1523"/>
                  </a:lnTo>
                  <a:lnTo>
                    <a:pt x="3018" y="1522"/>
                  </a:lnTo>
                  <a:lnTo>
                    <a:pt x="2988" y="1520"/>
                  </a:lnTo>
                  <a:lnTo>
                    <a:pt x="2957" y="1517"/>
                  </a:lnTo>
                  <a:lnTo>
                    <a:pt x="2928" y="1513"/>
                  </a:lnTo>
                  <a:lnTo>
                    <a:pt x="2898" y="1507"/>
                  </a:lnTo>
                  <a:lnTo>
                    <a:pt x="2870" y="1500"/>
                  </a:lnTo>
                  <a:lnTo>
                    <a:pt x="2842" y="1492"/>
                  </a:lnTo>
                  <a:lnTo>
                    <a:pt x="2815" y="1483"/>
                  </a:lnTo>
                  <a:lnTo>
                    <a:pt x="2788" y="1472"/>
                  </a:lnTo>
                  <a:lnTo>
                    <a:pt x="2763" y="1460"/>
                  </a:lnTo>
                  <a:lnTo>
                    <a:pt x="2737" y="1447"/>
                  </a:lnTo>
                  <a:lnTo>
                    <a:pt x="2713" y="1434"/>
                  </a:lnTo>
                  <a:lnTo>
                    <a:pt x="2691" y="1418"/>
                  </a:lnTo>
                  <a:lnTo>
                    <a:pt x="2667" y="1402"/>
                  </a:lnTo>
                  <a:lnTo>
                    <a:pt x="2646" y="1385"/>
                  </a:lnTo>
                  <a:lnTo>
                    <a:pt x="2626" y="1366"/>
                  </a:lnTo>
                  <a:lnTo>
                    <a:pt x="2606" y="1346"/>
                  </a:lnTo>
                  <a:lnTo>
                    <a:pt x="2588" y="1326"/>
                  </a:lnTo>
                  <a:lnTo>
                    <a:pt x="2570" y="1305"/>
                  </a:lnTo>
                  <a:lnTo>
                    <a:pt x="2553" y="1281"/>
                  </a:lnTo>
                  <a:lnTo>
                    <a:pt x="2538" y="1258"/>
                  </a:lnTo>
                  <a:lnTo>
                    <a:pt x="2524" y="1233"/>
                  </a:lnTo>
                  <a:lnTo>
                    <a:pt x="2511" y="1207"/>
                  </a:lnTo>
                  <a:lnTo>
                    <a:pt x="2499" y="1181"/>
                  </a:lnTo>
                  <a:lnTo>
                    <a:pt x="2489" y="1153"/>
                  </a:lnTo>
                  <a:lnTo>
                    <a:pt x="2480" y="1125"/>
                  </a:lnTo>
                  <a:lnTo>
                    <a:pt x="2472" y="1095"/>
                  </a:lnTo>
                  <a:lnTo>
                    <a:pt x="2465" y="1065"/>
                  </a:lnTo>
                  <a:lnTo>
                    <a:pt x="2460" y="1033"/>
                  </a:lnTo>
                  <a:lnTo>
                    <a:pt x="2457" y="1001"/>
                  </a:lnTo>
                  <a:lnTo>
                    <a:pt x="2454" y="968"/>
                  </a:lnTo>
                  <a:lnTo>
                    <a:pt x="2454" y="933"/>
                  </a:lnTo>
                  <a:close/>
                  <a:moveTo>
                    <a:pt x="4047" y="933"/>
                  </a:moveTo>
                  <a:lnTo>
                    <a:pt x="4046" y="882"/>
                  </a:lnTo>
                  <a:lnTo>
                    <a:pt x="4042" y="831"/>
                  </a:lnTo>
                  <a:lnTo>
                    <a:pt x="4035" y="781"/>
                  </a:lnTo>
                  <a:lnTo>
                    <a:pt x="4026" y="733"/>
                  </a:lnTo>
                  <a:lnTo>
                    <a:pt x="4015" y="685"/>
                  </a:lnTo>
                  <a:lnTo>
                    <a:pt x="4002" y="640"/>
                  </a:lnTo>
                  <a:lnTo>
                    <a:pt x="3985" y="595"/>
                  </a:lnTo>
                  <a:lnTo>
                    <a:pt x="3967" y="551"/>
                  </a:lnTo>
                  <a:lnTo>
                    <a:pt x="3947" y="509"/>
                  </a:lnTo>
                  <a:lnTo>
                    <a:pt x="3924" y="469"/>
                  </a:lnTo>
                  <a:lnTo>
                    <a:pt x="3900" y="430"/>
                  </a:lnTo>
                  <a:lnTo>
                    <a:pt x="3874" y="392"/>
                  </a:lnTo>
                  <a:lnTo>
                    <a:pt x="3846" y="356"/>
                  </a:lnTo>
                  <a:lnTo>
                    <a:pt x="3815" y="321"/>
                  </a:lnTo>
                  <a:lnTo>
                    <a:pt x="3784" y="289"/>
                  </a:lnTo>
                  <a:lnTo>
                    <a:pt x="3751" y="257"/>
                  </a:lnTo>
                  <a:lnTo>
                    <a:pt x="3716" y="227"/>
                  </a:lnTo>
                  <a:lnTo>
                    <a:pt x="3679" y="199"/>
                  </a:lnTo>
                  <a:lnTo>
                    <a:pt x="3642" y="173"/>
                  </a:lnTo>
                  <a:lnTo>
                    <a:pt x="3603" y="147"/>
                  </a:lnTo>
                  <a:lnTo>
                    <a:pt x="3562" y="125"/>
                  </a:lnTo>
                  <a:lnTo>
                    <a:pt x="3521" y="104"/>
                  </a:lnTo>
                  <a:lnTo>
                    <a:pt x="3477" y="84"/>
                  </a:lnTo>
                  <a:lnTo>
                    <a:pt x="3433" y="67"/>
                  </a:lnTo>
                  <a:lnTo>
                    <a:pt x="3388" y="52"/>
                  </a:lnTo>
                  <a:lnTo>
                    <a:pt x="3342" y="39"/>
                  </a:lnTo>
                  <a:lnTo>
                    <a:pt x="3295" y="26"/>
                  </a:lnTo>
                  <a:lnTo>
                    <a:pt x="3247" y="17"/>
                  </a:lnTo>
                  <a:lnTo>
                    <a:pt x="3199" y="10"/>
                  </a:lnTo>
                  <a:lnTo>
                    <a:pt x="3149" y="4"/>
                  </a:lnTo>
                  <a:lnTo>
                    <a:pt x="3099" y="1"/>
                  </a:lnTo>
                  <a:lnTo>
                    <a:pt x="3049" y="0"/>
                  </a:lnTo>
                  <a:lnTo>
                    <a:pt x="2999" y="1"/>
                  </a:lnTo>
                  <a:lnTo>
                    <a:pt x="2949" y="4"/>
                  </a:lnTo>
                  <a:lnTo>
                    <a:pt x="2899" y="10"/>
                  </a:lnTo>
                  <a:lnTo>
                    <a:pt x="2851" y="17"/>
                  </a:lnTo>
                  <a:lnTo>
                    <a:pt x="2804" y="26"/>
                  </a:lnTo>
                  <a:lnTo>
                    <a:pt x="2756" y="39"/>
                  </a:lnTo>
                  <a:lnTo>
                    <a:pt x="2710" y="52"/>
                  </a:lnTo>
                  <a:lnTo>
                    <a:pt x="2665" y="67"/>
                  </a:lnTo>
                  <a:lnTo>
                    <a:pt x="2620" y="84"/>
                  </a:lnTo>
                  <a:lnTo>
                    <a:pt x="2578" y="104"/>
                  </a:lnTo>
                  <a:lnTo>
                    <a:pt x="2536" y="125"/>
                  </a:lnTo>
                  <a:lnTo>
                    <a:pt x="2495" y="147"/>
                  </a:lnTo>
                  <a:lnTo>
                    <a:pt x="2457" y="173"/>
                  </a:lnTo>
                  <a:lnTo>
                    <a:pt x="2418" y="199"/>
                  </a:lnTo>
                  <a:lnTo>
                    <a:pt x="2382" y="227"/>
                  </a:lnTo>
                  <a:lnTo>
                    <a:pt x="2347" y="257"/>
                  </a:lnTo>
                  <a:lnTo>
                    <a:pt x="2313" y="289"/>
                  </a:lnTo>
                  <a:lnTo>
                    <a:pt x="2282" y="321"/>
                  </a:lnTo>
                  <a:lnTo>
                    <a:pt x="2252" y="356"/>
                  </a:lnTo>
                  <a:lnTo>
                    <a:pt x="2224" y="392"/>
                  </a:lnTo>
                  <a:lnTo>
                    <a:pt x="2197" y="430"/>
                  </a:lnTo>
                  <a:lnTo>
                    <a:pt x="2173" y="469"/>
                  </a:lnTo>
                  <a:lnTo>
                    <a:pt x="2152" y="509"/>
                  </a:lnTo>
                  <a:lnTo>
                    <a:pt x="2131" y="551"/>
                  </a:lnTo>
                  <a:lnTo>
                    <a:pt x="2113" y="595"/>
                  </a:lnTo>
                  <a:lnTo>
                    <a:pt x="2097" y="640"/>
                  </a:lnTo>
                  <a:lnTo>
                    <a:pt x="2083" y="685"/>
                  </a:lnTo>
                  <a:lnTo>
                    <a:pt x="2071" y="733"/>
                  </a:lnTo>
                  <a:lnTo>
                    <a:pt x="2063" y="781"/>
                  </a:lnTo>
                  <a:lnTo>
                    <a:pt x="2056" y="831"/>
                  </a:lnTo>
                  <a:lnTo>
                    <a:pt x="2052" y="882"/>
                  </a:lnTo>
                  <a:lnTo>
                    <a:pt x="2051" y="933"/>
                  </a:lnTo>
                  <a:lnTo>
                    <a:pt x="2052" y="985"/>
                  </a:lnTo>
                  <a:lnTo>
                    <a:pt x="2056" y="1036"/>
                  </a:lnTo>
                  <a:lnTo>
                    <a:pt x="2063" y="1086"/>
                  </a:lnTo>
                  <a:lnTo>
                    <a:pt x="2071" y="1135"/>
                  </a:lnTo>
                  <a:lnTo>
                    <a:pt x="2083" y="1182"/>
                  </a:lnTo>
                  <a:lnTo>
                    <a:pt x="2097" y="1228"/>
                  </a:lnTo>
                  <a:lnTo>
                    <a:pt x="2113" y="1273"/>
                  </a:lnTo>
                  <a:lnTo>
                    <a:pt x="2131" y="1316"/>
                  </a:lnTo>
                  <a:lnTo>
                    <a:pt x="2152" y="1357"/>
                  </a:lnTo>
                  <a:lnTo>
                    <a:pt x="2173" y="1398"/>
                  </a:lnTo>
                  <a:lnTo>
                    <a:pt x="2197" y="1438"/>
                  </a:lnTo>
                  <a:lnTo>
                    <a:pt x="2224" y="1475"/>
                  </a:lnTo>
                  <a:lnTo>
                    <a:pt x="2252" y="1512"/>
                  </a:lnTo>
                  <a:lnTo>
                    <a:pt x="2282" y="1547"/>
                  </a:lnTo>
                  <a:lnTo>
                    <a:pt x="2313" y="1579"/>
                  </a:lnTo>
                  <a:lnTo>
                    <a:pt x="2347" y="1611"/>
                  </a:lnTo>
                  <a:lnTo>
                    <a:pt x="2382" y="1640"/>
                  </a:lnTo>
                  <a:lnTo>
                    <a:pt x="2418" y="1669"/>
                  </a:lnTo>
                  <a:lnTo>
                    <a:pt x="2457" y="1695"/>
                  </a:lnTo>
                  <a:lnTo>
                    <a:pt x="2495" y="1719"/>
                  </a:lnTo>
                  <a:lnTo>
                    <a:pt x="2536" y="1743"/>
                  </a:lnTo>
                  <a:lnTo>
                    <a:pt x="2578" y="1764"/>
                  </a:lnTo>
                  <a:lnTo>
                    <a:pt x="2620" y="1782"/>
                  </a:lnTo>
                  <a:lnTo>
                    <a:pt x="2665" y="1801"/>
                  </a:lnTo>
                  <a:lnTo>
                    <a:pt x="2710" y="1816"/>
                  </a:lnTo>
                  <a:lnTo>
                    <a:pt x="2756" y="1829"/>
                  </a:lnTo>
                  <a:lnTo>
                    <a:pt x="2804" y="1840"/>
                  </a:lnTo>
                  <a:lnTo>
                    <a:pt x="2851" y="1851"/>
                  </a:lnTo>
                  <a:lnTo>
                    <a:pt x="2899" y="1858"/>
                  </a:lnTo>
                  <a:lnTo>
                    <a:pt x="2949" y="1863"/>
                  </a:lnTo>
                  <a:lnTo>
                    <a:pt x="2999" y="1866"/>
                  </a:lnTo>
                  <a:lnTo>
                    <a:pt x="3049" y="1868"/>
                  </a:lnTo>
                  <a:lnTo>
                    <a:pt x="3099" y="1866"/>
                  </a:lnTo>
                  <a:lnTo>
                    <a:pt x="3149" y="1863"/>
                  </a:lnTo>
                  <a:lnTo>
                    <a:pt x="3199" y="1858"/>
                  </a:lnTo>
                  <a:lnTo>
                    <a:pt x="3247" y="1851"/>
                  </a:lnTo>
                  <a:lnTo>
                    <a:pt x="3295" y="1840"/>
                  </a:lnTo>
                  <a:lnTo>
                    <a:pt x="3342" y="1829"/>
                  </a:lnTo>
                  <a:lnTo>
                    <a:pt x="3388" y="1816"/>
                  </a:lnTo>
                  <a:lnTo>
                    <a:pt x="3433" y="1801"/>
                  </a:lnTo>
                  <a:lnTo>
                    <a:pt x="3477" y="1782"/>
                  </a:lnTo>
                  <a:lnTo>
                    <a:pt x="3521" y="1764"/>
                  </a:lnTo>
                  <a:lnTo>
                    <a:pt x="3562" y="1743"/>
                  </a:lnTo>
                  <a:lnTo>
                    <a:pt x="3603" y="1719"/>
                  </a:lnTo>
                  <a:lnTo>
                    <a:pt x="3642" y="1695"/>
                  </a:lnTo>
                  <a:lnTo>
                    <a:pt x="3679" y="1669"/>
                  </a:lnTo>
                  <a:lnTo>
                    <a:pt x="3716" y="1640"/>
                  </a:lnTo>
                  <a:lnTo>
                    <a:pt x="3751" y="1611"/>
                  </a:lnTo>
                  <a:lnTo>
                    <a:pt x="3784" y="1579"/>
                  </a:lnTo>
                  <a:lnTo>
                    <a:pt x="3815" y="1547"/>
                  </a:lnTo>
                  <a:lnTo>
                    <a:pt x="3846" y="1512"/>
                  </a:lnTo>
                  <a:lnTo>
                    <a:pt x="3874" y="1475"/>
                  </a:lnTo>
                  <a:lnTo>
                    <a:pt x="3900" y="1438"/>
                  </a:lnTo>
                  <a:lnTo>
                    <a:pt x="3924" y="1398"/>
                  </a:lnTo>
                  <a:lnTo>
                    <a:pt x="3947" y="1357"/>
                  </a:lnTo>
                  <a:lnTo>
                    <a:pt x="3967" y="1316"/>
                  </a:lnTo>
                  <a:lnTo>
                    <a:pt x="3985" y="1273"/>
                  </a:lnTo>
                  <a:lnTo>
                    <a:pt x="4002" y="1228"/>
                  </a:lnTo>
                  <a:lnTo>
                    <a:pt x="4015" y="1182"/>
                  </a:lnTo>
                  <a:lnTo>
                    <a:pt x="4026" y="1135"/>
                  </a:lnTo>
                  <a:lnTo>
                    <a:pt x="4035" y="1086"/>
                  </a:lnTo>
                  <a:lnTo>
                    <a:pt x="4042" y="1036"/>
                  </a:lnTo>
                  <a:lnTo>
                    <a:pt x="4046" y="985"/>
                  </a:lnTo>
                  <a:lnTo>
                    <a:pt x="4047" y="933"/>
                  </a:lnTo>
                  <a:close/>
                  <a:moveTo>
                    <a:pt x="4779" y="42"/>
                  </a:moveTo>
                  <a:lnTo>
                    <a:pt x="4540" y="1317"/>
                  </a:lnTo>
                  <a:lnTo>
                    <a:pt x="4535" y="1334"/>
                  </a:lnTo>
                  <a:lnTo>
                    <a:pt x="4530" y="1350"/>
                  </a:lnTo>
                  <a:lnTo>
                    <a:pt x="4524" y="1366"/>
                  </a:lnTo>
                  <a:lnTo>
                    <a:pt x="4517" y="1379"/>
                  </a:lnTo>
                  <a:lnTo>
                    <a:pt x="4510" y="1392"/>
                  </a:lnTo>
                  <a:lnTo>
                    <a:pt x="4501" y="1403"/>
                  </a:lnTo>
                  <a:lnTo>
                    <a:pt x="4491" y="1413"/>
                  </a:lnTo>
                  <a:lnTo>
                    <a:pt x="4481" y="1423"/>
                  </a:lnTo>
                  <a:lnTo>
                    <a:pt x="4469" y="1431"/>
                  </a:lnTo>
                  <a:lnTo>
                    <a:pt x="4457" y="1437"/>
                  </a:lnTo>
                  <a:lnTo>
                    <a:pt x="4444" y="1443"/>
                  </a:lnTo>
                  <a:lnTo>
                    <a:pt x="4430" y="1447"/>
                  </a:lnTo>
                  <a:lnTo>
                    <a:pt x="4415" y="1451"/>
                  </a:lnTo>
                  <a:lnTo>
                    <a:pt x="4399" y="1453"/>
                  </a:lnTo>
                  <a:lnTo>
                    <a:pt x="4383" y="1455"/>
                  </a:lnTo>
                  <a:lnTo>
                    <a:pt x="4366" y="1455"/>
                  </a:lnTo>
                  <a:lnTo>
                    <a:pt x="4172" y="1455"/>
                  </a:lnTo>
                  <a:lnTo>
                    <a:pt x="4172" y="1822"/>
                  </a:lnTo>
                  <a:lnTo>
                    <a:pt x="4385" y="1822"/>
                  </a:lnTo>
                  <a:lnTo>
                    <a:pt x="4412" y="1822"/>
                  </a:lnTo>
                  <a:lnTo>
                    <a:pt x="4439" y="1821"/>
                  </a:lnTo>
                  <a:lnTo>
                    <a:pt x="4465" y="1819"/>
                  </a:lnTo>
                  <a:lnTo>
                    <a:pt x="4491" y="1816"/>
                  </a:lnTo>
                  <a:lnTo>
                    <a:pt x="4515" y="1812"/>
                  </a:lnTo>
                  <a:lnTo>
                    <a:pt x="4540" y="1808"/>
                  </a:lnTo>
                  <a:lnTo>
                    <a:pt x="4563" y="1802"/>
                  </a:lnTo>
                  <a:lnTo>
                    <a:pt x="4586" y="1796"/>
                  </a:lnTo>
                  <a:lnTo>
                    <a:pt x="4609" y="1789"/>
                  </a:lnTo>
                  <a:lnTo>
                    <a:pt x="4630" y="1780"/>
                  </a:lnTo>
                  <a:lnTo>
                    <a:pt x="4651" y="1771"/>
                  </a:lnTo>
                  <a:lnTo>
                    <a:pt x="4672" y="1762"/>
                  </a:lnTo>
                  <a:lnTo>
                    <a:pt x="4692" y="1751"/>
                  </a:lnTo>
                  <a:lnTo>
                    <a:pt x="4710" y="1740"/>
                  </a:lnTo>
                  <a:lnTo>
                    <a:pt x="4730" y="1728"/>
                  </a:lnTo>
                  <a:lnTo>
                    <a:pt x="4747" y="1713"/>
                  </a:lnTo>
                  <a:lnTo>
                    <a:pt x="4764" y="1699"/>
                  </a:lnTo>
                  <a:lnTo>
                    <a:pt x="4781" y="1684"/>
                  </a:lnTo>
                  <a:lnTo>
                    <a:pt x="4796" y="1668"/>
                  </a:lnTo>
                  <a:lnTo>
                    <a:pt x="4811" y="1650"/>
                  </a:lnTo>
                  <a:lnTo>
                    <a:pt x="4825" y="1633"/>
                  </a:lnTo>
                  <a:lnTo>
                    <a:pt x="4839" y="1614"/>
                  </a:lnTo>
                  <a:lnTo>
                    <a:pt x="4852" y="1593"/>
                  </a:lnTo>
                  <a:lnTo>
                    <a:pt x="4864" y="1572"/>
                  </a:lnTo>
                  <a:lnTo>
                    <a:pt x="4875" y="1551"/>
                  </a:lnTo>
                  <a:lnTo>
                    <a:pt x="4885" y="1527"/>
                  </a:lnTo>
                  <a:lnTo>
                    <a:pt x="4895" y="1504"/>
                  </a:lnTo>
                  <a:lnTo>
                    <a:pt x="4905" y="1478"/>
                  </a:lnTo>
                  <a:lnTo>
                    <a:pt x="4913" y="1452"/>
                  </a:lnTo>
                  <a:lnTo>
                    <a:pt x="4920" y="1426"/>
                  </a:lnTo>
                  <a:lnTo>
                    <a:pt x="4927" y="1397"/>
                  </a:lnTo>
                  <a:lnTo>
                    <a:pt x="4932" y="1369"/>
                  </a:lnTo>
                  <a:lnTo>
                    <a:pt x="5113" y="403"/>
                  </a:lnTo>
                  <a:lnTo>
                    <a:pt x="5796" y="403"/>
                  </a:lnTo>
                  <a:lnTo>
                    <a:pt x="5796" y="1822"/>
                  </a:lnTo>
                  <a:lnTo>
                    <a:pt x="6198" y="1822"/>
                  </a:lnTo>
                  <a:lnTo>
                    <a:pt x="6198" y="42"/>
                  </a:lnTo>
                  <a:lnTo>
                    <a:pt x="4779" y="42"/>
                  </a:lnTo>
                  <a:close/>
                  <a:moveTo>
                    <a:pt x="6585" y="42"/>
                  </a:moveTo>
                  <a:lnTo>
                    <a:pt x="6585" y="1822"/>
                  </a:lnTo>
                  <a:lnTo>
                    <a:pt x="6980" y="1822"/>
                  </a:lnTo>
                  <a:lnTo>
                    <a:pt x="6980" y="1069"/>
                  </a:lnTo>
                  <a:lnTo>
                    <a:pt x="7251" y="1069"/>
                  </a:lnTo>
                  <a:lnTo>
                    <a:pt x="7258" y="1116"/>
                  </a:lnTo>
                  <a:lnTo>
                    <a:pt x="7266" y="1162"/>
                  </a:lnTo>
                  <a:lnTo>
                    <a:pt x="7277" y="1207"/>
                  </a:lnTo>
                  <a:lnTo>
                    <a:pt x="7290" y="1251"/>
                  </a:lnTo>
                  <a:lnTo>
                    <a:pt x="7304" y="1292"/>
                  </a:lnTo>
                  <a:lnTo>
                    <a:pt x="7320" y="1333"/>
                  </a:lnTo>
                  <a:lnTo>
                    <a:pt x="7338" y="1372"/>
                  </a:lnTo>
                  <a:lnTo>
                    <a:pt x="7358" y="1409"/>
                  </a:lnTo>
                  <a:lnTo>
                    <a:pt x="7379" y="1446"/>
                  </a:lnTo>
                  <a:lnTo>
                    <a:pt x="7402" y="1482"/>
                  </a:lnTo>
                  <a:lnTo>
                    <a:pt x="7427" y="1514"/>
                  </a:lnTo>
                  <a:lnTo>
                    <a:pt x="7452" y="1547"/>
                  </a:lnTo>
                  <a:lnTo>
                    <a:pt x="7480" y="1577"/>
                  </a:lnTo>
                  <a:lnTo>
                    <a:pt x="7509" y="1607"/>
                  </a:lnTo>
                  <a:lnTo>
                    <a:pt x="7540" y="1634"/>
                  </a:lnTo>
                  <a:lnTo>
                    <a:pt x="7571" y="1660"/>
                  </a:lnTo>
                  <a:lnTo>
                    <a:pt x="7604" y="1685"/>
                  </a:lnTo>
                  <a:lnTo>
                    <a:pt x="7637" y="1708"/>
                  </a:lnTo>
                  <a:lnTo>
                    <a:pt x="7673" y="1730"/>
                  </a:lnTo>
                  <a:lnTo>
                    <a:pt x="7710" y="1750"/>
                  </a:lnTo>
                  <a:lnTo>
                    <a:pt x="7747" y="1768"/>
                  </a:lnTo>
                  <a:lnTo>
                    <a:pt x="7786" y="1786"/>
                  </a:lnTo>
                  <a:lnTo>
                    <a:pt x="7824" y="1801"/>
                  </a:lnTo>
                  <a:lnTo>
                    <a:pt x="7865" y="1815"/>
                  </a:lnTo>
                  <a:lnTo>
                    <a:pt x="7907" y="1827"/>
                  </a:lnTo>
                  <a:lnTo>
                    <a:pt x="7949" y="1837"/>
                  </a:lnTo>
                  <a:lnTo>
                    <a:pt x="7991" y="1847"/>
                  </a:lnTo>
                  <a:lnTo>
                    <a:pt x="8035" y="1854"/>
                  </a:lnTo>
                  <a:lnTo>
                    <a:pt x="8080" y="1860"/>
                  </a:lnTo>
                  <a:lnTo>
                    <a:pt x="8124" y="1864"/>
                  </a:lnTo>
                  <a:lnTo>
                    <a:pt x="8170" y="1867"/>
                  </a:lnTo>
                  <a:lnTo>
                    <a:pt x="8217" y="1868"/>
                  </a:lnTo>
                  <a:lnTo>
                    <a:pt x="8267" y="1867"/>
                  </a:lnTo>
                  <a:lnTo>
                    <a:pt x="8317" y="1864"/>
                  </a:lnTo>
                  <a:lnTo>
                    <a:pt x="8364" y="1859"/>
                  </a:lnTo>
                  <a:lnTo>
                    <a:pt x="8413" y="1852"/>
                  </a:lnTo>
                  <a:lnTo>
                    <a:pt x="8460" y="1842"/>
                  </a:lnTo>
                  <a:lnTo>
                    <a:pt x="8506" y="1832"/>
                  </a:lnTo>
                  <a:lnTo>
                    <a:pt x="8552" y="1820"/>
                  </a:lnTo>
                  <a:lnTo>
                    <a:pt x="8595" y="1805"/>
                  </a:lnTo>
                  <a:lnTo>
                    <a:pt x="8639" y="1789"/>
                  </a:lnTo>
                  <a:lnTo>
                    <a:pt x="8681" y="1771"/>
                  </a:lnTo>
                  <a:lnTo>
                    <a:pt x="8721" y="1751"/>
                  </a:lnTo>
                  <a:lnTo>
                    <a:pt x="8761" y="1729"/>
                  </a:lnTo>
                  <a:lnTo>
                    <a:pt x="8799" y="1705"/>
                  </a:lnTo>
                  <a:lnTo>
                    <a:pt x="8835" y="1680"/>
                  </a:lnTo>
                  <a:lnTo>
                    <a:pt x="8871" y="1653"/>
                  </a:lnTo>
                  <a:lnTo>
                    <a:pt x="8905" y="1624"/>
                  </a:lnTo>
                  <a:lnTo>
                    <a:pt x="8937" y="1593"/>
                  </a:lnTo>
                  <a:lnTo>
                    <a:pt x="8968" y="1561"/>
                  </a:lnTo>
                  <a:lnTo>
                    <a:pt x="8996" y="1526"/>
                  </a:lnTo>
                  <a:lnTo>
                    <a:pt x="9023" y="1491"/>
                  </a:lnTo>
                  <a:lnTo>
                    <a:pt x="9049" y="1453"/>
                  </a:lnTo>
                  <a:lnTo>
                    <a:pt x="9072" y="1414"/>
                  </a:lnTo>
                  <a:lnTo>
                    <a:pt x="9094" y="1374"/>
                  </a:lnTo>
                  <a:lnTo>
                    <a:pt x="9113" y="1331"/>
                  </a:lnTo>
                  <a:lnTo>
                    <a:pt x="9130" y="1287"/>
                  </a:lnTo>
                  <a:lnTo>
                    <a:pt x="9146" y="1242"/>
                  </a:lnTo>
                  <a:lnTo>
                    <a:pt x="9159" y="1194"/>
                  </a:lnTo>
                  <a:lnTo>
                    <a:pt x="9169" y="1145"/>
                  </a:lnTo>
                  <a:lnTo>
                    <a:pt x="9178" y="1094"/>
                  </a:lnTo>
                  <a:lnTo>
                    <a:pt x="9184" y="1042"/>
                  </a:lnTo>
                  <a:lnTo>
                    <a:pt x="9188" y="988"/>
                  </a:lnTo>
                  <a:lnTo>
                    <a:pt x="9189" y="933"/>
                  </a:lnTo>
                  <a:lnTo>
                    <a:pt x="9188" y="879"/>
                  </a:lnTo>
                  <a:lnTo>
                    <a:pt x="9184" y="825"/>
                  </a:lnTo>
                  <a:lnTo>
                    <a:pt x="9178" y="773"/>
                  </a:lnTo>
                  <a:lnTo>
                    <a:pt x="9169" y="723"/>
                  </a:lnTo>
                  <a:lnTo>
                    <a:pt x="9159" y="674"/>
                  </a:lnTo>
                  <a:lnTo>
                    <a:pt x="9146" y="626"/>
                  </a:lnTo>
                  <a:lnTo>
                    <a:pt x="9130" y="581"/>
                  </a:lnTo>
                  <a:lnTo>
                    <a:pt x="9113" y="537"/>
                  </a:lnTo>
                  <a:lnTo>
                    <a:pt x="9094" y="494"/>
                  </a:lnTo>
                  <a:lnTo>
                    <a:pt x="9072" y="453"/>
                  </a:lnTo>
                  <a:lnTo>
                    <a:pt x="9049" y="414"/>
                  </a:lnTo>
                  <a:lnTo>
                    <a:pt x="9023" y="376"/>
                  </a:lnTo>
                  <a:lnTo>
                    <a:pt x="8996" y="341"/>
                  </a:lnTo>
                  <a:lnTo>
                    <a:pt x="8968" y="307"/>
                  </a:lnTo>
                  <a:lnTo>
                    <a:pt x="8937" y="275"/>
                  </a:lnTo>
                  <a:lnTo>
                    <a:pt x="8905" y="244"/>
                  </a:lnTo>
                  <a:lnTo>
                    <a:pt x="8871" y="215"/>
                  </a:lnTo>
                  <a:lnTo>
                    <a:pt x="8835" y="187"/>
                  </a:lnTo>
                  <a:lnTo>
                    <a:pt x="8799" y="162"/>
                  </a:lnTo>
                  <a:lnTo>
                    <a:pt x="8761" y="138"/>
                  </a:lnTo>
                  <a:lnTo>
                    <a:pt x="8721" y="117"/>
                  </a:lnTo>
                  <a:lnTo>
                    <a:pt x="8681" y="97"/>
                  </a:lnTo>
                  <a:lnTo>
                    <a:pt x="8639" y="78"/>
                  </a:lnTo>
                  <a:lnTo>
                    <a:pt x="8595" y="62"/>
                  </a:lnTo>
                  <a:lnTo>
                    <a:pt x="8552" y="48"/>
                  </a:lnTo>
                  <a:lnTo>
                    <a:pt x="8506" y="36"/>
                  </a:lnTo>
                  <a:lnTo>
                    <a:pt x="8460" y="24"/>
                  </a:lnTo>
                  <a:lnTo>
                    <a:pt x="8413" y="16"/>
                  </a:lnTo>
                  <a:lnTo>
                    <a:pt x="8364" y="9"/>
                  </a:lnTo>
                  <a:lnTo>
                    <a:pt x="8317" y="4"/>
                  </a:lnTo>
                  <a:lnTo>
                    <a:pt x="8267" y="1"/>
                  </a:lnTo>
                  <a:lnTo>
                    <a:pt x="8217" y="0"/>
                  </a:lnTo>
                  <a:lnTo>
                    <a:pt x="8173" y="1"/>
                  </a:lnTo>
                  <a:lnTo>
                    <a:pt x="8131" y="3"/>
                  </a:lnTo>
                  <a:lnTo>
                    <a:pt x="8088" y="7"/>
                  </a:lnTo>
                  <a:lnTo>
                    <a:pt x="8046" y="12"/>
                  </a:lnTo>
                  <a:lnTo>
                    <a:pt x="8004" y="18"/>
                  </a:lnTo>
                  <a:lnTo>
                    <a:pt x="7964" y="26"/>
                  </a:lnTo>
                  <a:lnTo>
                    <a:pt x="7924" y="36"/>
                  </a:lnTo>
                  <a:lnTo>
                    <a:pt x="7884" y="47"/>
                  </a:lnTo>
                  <a:lnTo>
                    <a:pt x="7846" y="59"/>
                  </a:lnTo>
                  <a:lnTo>
                    <a:pt x="7808" y="73"/>
                  </a:lnTo>
                  <a:lnTo>
                    <a:pt x="7772" y="88"/>
                  </a:lnTo>
                  <a:lnTo>
                    <a:pt x="7736" y="105"/>
                  </a:lnTo>
                  <a:lnTo>
                    <a:pt x="7700" y="122"/>
                  </a:lnTo>
                  <a:lnTo>
                    <a:pt x="7667" y="141"/>
                  </a:lnTo>
                  <a:lnTo>
                    <a:pt x="7633" y="162"/>
                  </a:lnTo>
                  <a:lnTo>
                    <a:pt x="7602" y="184"/>
                  </a:lnTo>
                  <a:lnTo>
                    <a:pt x="7571" y="207"/>
                  </a:lnTo>
                  <a:lnTo>
                    <a:pt x="7542" y="232"/>
                  </a:lnTo>
                  <a:lnTo>
                    <a:pt x="7512" y="257"/>
                  </a:lnTo>
                  <a:lnTo>
                    <a:pt x="7486" y="285"/>
                  </a:lnTo>
                  <a:lnTo>
                    <a:pt x="7459" y="313"/>
                  </a:lnTo>
                  <a:lnTo>
                    <a:pt x="7435" y="343"/>
                  </a:lnTo>
                  <a:lnTo>
                    <a:pt x="7412" y="374"/>
                  </a:lnTo>
                  <a:lnTo>
                    <a:pt x="7389" y="406"/>
                  </a:lnTo>
                  <a:lnTo>
                    <a:pt x="7369" y="439"/>
                  </a:lnTo>
                  <a:lnTo>
                    <a:pt x="7350" y="475"/>
                  </a:lnTo>
                  <a:lnTo>
                    <a:pt x="7331" y="510"/>
                  </a:lnTo>
                  <a:lnTo>
                    <a:pt x="7315" y="548"/>
                  </a:lnTo>
                  <a:lnTo>
                    <a:pt x="7301" y="586"/>
                  </a:lnTo>
                  <a:lnTo>
                    <a:pt x="7287" y="625"/>
                  </a:lnTo>
                  <a:lnTo>
                    <a:pt x="7276" y="666"/>
                  </a:lnTo>
                  <a:lnTo>
                    <a:pt x="7267" y="709"/>
                  </a:lnTo>
                  <a:lnTo>
                    <a:pt x="6980" y="709"/>
                  </a:lnTo>
                  <a:lnTo>
                    <a:pt x="6980" y="42"/>
                  </a:lnTo>
                  <a:lnTo>
                    <a:pt x="6585" y="42"/>
                  </a:lnTo>
                  <a:close/>
                  <a:moveTo>
                    <a:pt x="7643" y="933"/>
                  </a:moveTo>
                  <a:lnTo>
                    <a:pt x="7644" y="900"/>
                  </a:lnTo>
                  <a:lnTo>
                    <a:pt x="7645" y="866"/>
                  </a:lnTo>
                  <a:lnTo>
                    <a:pt x="7649" y="835"/>
                  </a:lnTo>
                  <a:lnTo>
                    <a:pt x="7653" y="803"/>
                  </a:lnTo>
                  <a:lnTo>
                    <a:pt x="7658" y="773"/>
                  </a:lnTo>
                  <a:lnTo>
                    <a:pt x="7664" y="743"/>
                  </a:lnTo>
                  <a:lnTo>
                    <a:pt x="7672" y="715"/>
                  </a:lnTo>
                  <a:lnTo>
                    <a:pt x="7680" y="686"/>
                  </a:lnTo>
                  <a:lnTo>
                    <a:pt x="7690" y="660"/>
                  </a:lnTo>
                  <a:lnTo>
                    <a:pt x="7700" y="634"/>
                  </a:lnTo>
                  <a:lnTo>
                    <a:pt x="7713" y="610"/>
                  </a:lnTo>
                  <a:lnTo>
                    <a:pt x="7726" y="586"/>
                  </a:lnTo>
                  <a:lnTo>
                    <a:pt x="7740" y="563"/>
                  </a:lnTo>
                  <a:lnTo>
                    <a:pt x="7755" y="542"/>
                  </a:lnTo>
                  <a:lnTo>
                    <a:pt x="7772" y="521"/>
                  </a:lnTo>
                  <a:lnTo>
                    <a:pt x="7789" y="501"/>
                  </a:lnTo>
                  <a:lnTo>
                    <a:pt x="7807" y="483"/>
                  </a:lnTo>
                  <a:lnTo>
                    <a:pt x="7828" y="466"/>
                  </a:lnTo>
                  <a:lnTo>
                    <a:pt x="7848" y="449"/>
                  </a:lnTo>
                  <a:lnTo>
                    <a:pt x="7870" y="434"/>
                  </a:lnTo>
                  <a:lnTo>
                    <a:pt x="7893" y="420"/>
                  </a:lnTo>
                  <a:lnTo>
                    <a:pt x="7917" y="408"/>
                  </a:lnTo>
                  <a:lnTo>
                    <a:pt x="7942" y="396"/>
                  </a:lnTo>
                  <a:lnTo>
                    <a:pt x="7968" y="385"/>
                  </a:lnTo>
                  <a:lnTo>
                    <a:pt x="7995" y="375"/>
                  </a:lnTo>
                  <a:lnTo>
                    <a:pt x="8024" y="367"/>
                  </a:lnTo>
                  <a:lnTo>
                    <a:pt x="8053" y="361"/>
                  </a:lnTo>
                  <a:lnTo>
                    <a:pt x="8084" y="355"/>
                  </a:lnTo>
                  <a:lnTo>
                    <a:pt x="8115" y="351"/>
                  </a:lnTo>
                  <a:lnTo>
                    <a:pt x="8148" y="347"/>
                  </a:lnTo>
                  <a:lnTo>
                    <a:pt x="8182" y="345"/>
                  </a:lnTo>
                  <a:lnTo>
                    <a:pt x="8217" y="345"/>
                  </a:lnTo>
                  <a:lnTo>
                    <a:pt x="8252" y="345"/>
                  </a:lnTo>
                  <a:lnTo>
                    <a:pt x="8285" y="347"/>
                  </a:lnTo>
                  <a:lnTo>
                    <a:pt x="8318" y="351"/>
                  </a:lnTo>
                  <a:lnTo>
                    <a:pt x="8349" y="355"/>
                  </a:lnTo>
                  <a:lnTo>
                    <a:pt x="8380" y="361"/>
                  </a:lnTo>
                  <a:lnTo>
                    <a:pt x="8409" y="367"/>
                  </a:lnTo>
                  <a:lnTo>
                    <a:pt x="8438" y="375"/>
                  </a:lnTo>
                  <a:lnTo>
                    <a:pt x="8465" y="385"/>
                  </a:lnTo>
                  <a:lnTo>
                    <a:pt x="8492" y="396"/>
                  </a:lnTo>
                  <a:lnTo>
                    <a:pt x="8517" y="408"/>
                  </a:lnTo>
                  <a:lnTo>
                    <a:pt x="8540" y="420"/>
                  </a:lnTo>
                  <a:lnTo>
                    <a:pt x="8564" y="434"/>
                  </a:lnTo>
                  <a:lnTo>
                    <a:pt x="8585" y="449"/>
                  </a:lnTo>
                  <a:lnTo>
                    <a:pt x="8607" y="466"/>
                  </a:lnTo>
                  <a:lnTo>
                    <a:pt x="8626" y="483"/>
                  </a:lnTo>
                  <a:lnTo>
                    <a:pt x="8644" y="501"/>
                  </a:lnTo>
                  <a:lnTo>
                    <a:pt x="8662" y="521"/>
                  </a:lnTo>
                  <a:lnTo>
                    <a:pt x="8679" y="542"/>
                  </a:lnTo>
                  <a:lnTo>
                    <a:pt x="8694" y="563"/>
                  </a:lnTo>
                  <a:lnTo>
                    <a:pt x="8708" y="586"/>
                  </a:lnTo>
                  <a:lnTo>
                    <a:pt x="8720" y="610"/>
                  </a:lnTo>
                  <a:lnTo>
                    <a:pt x="8733" y="634"/>
                  </a:lnTo>
                  <a:lnTo>
                    <a:pt x="8744" y="660"/>
                  </a:lnTo>
                  <a:lnTo>
                    <a:pt x="8753" y="686"/>
                  </a:lnTo>
                  <a:lnTo>
                    <a:pt x="8762" y="715"/>
                  </a:lnTo>
                  <a:lnTo>
                    <a:pt x="8769" y="743"/>
                  </a:lnTo>
                  <a:lnTo>
                    <a:pt x="8775" y="773"/>
                  </a:lnTo>
                  <a:lnTo>
                    <a:pt x="8780" y="803"/>
                  </a:lnTo>
                  <a:lnTo>
                    <a:pt x="8785" y="835"/>
                  </a:lnTo>
                  <a:lnTo>
                    <a:pt x="8788" y="866"/>
                  </a:lnTo>
                  <a:lnTo>
                    <a:pt x="8790" y="900"/>
                  </a:lnTo>
                  <a:lnTo>
                    <a:pt x="8790" y="933"/>
                  </a:lnTo>
                  <a:lnTo>
                    <a:pt x="8790" y="968"/>
                  </a:lnTo>
                  <a:lnTo>
                    <a:pt x="8788" y="1001"/>
                  </a:lnTo>
                  <a:lnTo>
                    <a:pt x="8785" y="1033"/>
                  </a:lnTo>
                  <a:lnTo>
                    <a:pt x="8780" y="1065"/>
                  </a:lnTo>
                  <a:lnTo>
                    <a:pt x="8775" y="1095"/>
                  </a:lnTo>
                  <a:lnTo>
                    <a:pt x="8769" y="1125"/>
                  </a:lnTo>
                  <a:lnTo>
                    <a:pt x="8762" y="1153"/>
                  </a:lnTo>
                  <a:lnTo>
                    <a:pt x="8753" y="1181"/>
                  </a:lnTo>
                  <a:lnTo>
                    <a:pt x="8744" y="1207"/>
                  </a:lnTo>
                  <a:lnTo>
                    <a:pt x="8733" y="1233"/>
                  </a:lnTo>
                  <a:lnTo>
                    <a:pt x="8720" y="1258"/>
                  </a:lnTo>
                  <a:lnTo>
                    <a:pt x="8708" y="1281"/>
                  </a:lnTo>
                  <a:lnTo>
                    <a:pt x="8694" y="1305"/>
                  </a:lnTo>
                  <a:lnTo>
                    <a:pt x="8679" y="1326"/>
                  </a:lnTo>
                  <a:lnTo>
                    <a:pt x="8662" y="1346"/>
                  </a:lnTo>
                  <a:lnTo>
                    <a:pt x="8644" y="1366"/>
                  </a:lnTo>
                  <a:lnTo>
                    <a:pt x="8626" y="1385"/>
                  </a:lnTo>
                  <a:lnTo>
                    <a:pt x="8607" y="1402"/>
                  </a:lnTo>
                  <a:lnTo>
                    <a:pt x="8585" y="1418"/>
                  </a:lnTo>
                  <a:lnTo>
                    <a:pt x="8564" y="1434"/>
                  </a:lnTo>
                  <a:lnTo>
                    <a:pt x="8540" y="1447"/>
                  </a:lnTo>
                  <a:lnTo>
                    <a:pt x="8517" y="1460"/>
                  </a:lnTo>
                  <a:lnTo>
                    <a:pt x="8492" y="1472"/>
                  </a:lnTo>
                  <a:lnTo>
                    <a:pt x="8465" y="1483"/>
                  </a:lnTo>
                  <a:lnTo>
                    <a:pt x="8438" y="1492"/>
                  </a:lnTo>
                  <a:lnTo>
                    <a:pt x="8409" y="1500"/>
                  </a:lnTo>
                  <a:lnTo>
                    <a:pt x="8380" y="1507"/>
                  </a:lnTo>
                  <a:lnTo>
                    <a:pt x="8349" y="1513"/>
                  </a:lnTo>
                  <a:lnTo>
                    <a:pt x="8318" y="1517"/>
                  </a:lnTo>
                  <a:lnTo>
                    <a:pt x="8285" y="1520"/>
                  </a:lnTo>
                  <a:lnTo>
                    <a:pt x="8252" y="1522"/>
                  </a:lnTo>
                  <a:lnTo>
                    <a:pt x="8217" y="1523"/>
                  </a:lnTo>
                  <a:lnTo>
                    <a:pt x="8182" y="1522"/>
                  </a:lnTo>
                  <a:lnTo>
                    <a:pt x="8148" y="1520"/>
                  </a:lnTo>
                  <a:lnTo>
                    <a:pt x="8115" y="1517"/>
                  </a:lnTo>
                  <a:lnTo>
                    <a:pt x="8084" y="1513"/>
                  </a:lnTo>
                  <a:lnTo>
                    <a:pt x="8053" y="1507"/>
                  </a:lnTo>
                  <a:lnTo>
                    <a:pt x="8024" y="1500"/>
                  </a:lnTo>
                  <a:lnTo>
                    <a:pt x="7995" y="1492"/>
                  </a:lnTo>
                  <a:lnTo>
                    <a:pt x="7968" y="1483"/>
                  </a:lnTo>
                  <a:lnTo>
                    <a:pt x="7942" y="1472"/>
                  </a:lnTo>
                  <a:lnTo>
                    <a:pt x="7917" y="1460"/>
                  </a:lnTo>
                  <a:lnTo>
                    <a:pt x="7893" y="1447"/>
                  </a:lnTo>
                  <a:lnTo>
                    <a:pt x="7870" y="1434"/>
                  </a:lnTo>
                  <a:lnTo>
                    <a:pt x="7848" y="1418"/>
                  </a:lnTo>
                  <a:lnTo>
                    <a:pt x="7828" y="1402"/>
                  </a:lnTo>
                  <a:lnTo>
                    <a:pt x="7807" y="1385"/>
                  </a:lnTo>
                  <a:lnTo>
                    <a:pt x="7789" y="1366"/>
                  </a:lnTo>
                  <a:lnTo>
                    <a:pt x="7772" y="1346"/>
                  </a:lnTo>
                  <a:lnTo>
                    <a:pt x="7755" y="1326"/>
                  </a:lnTo>
                  <a:lnTo>
                    <a:pt x="7740" y="1305"/>
                  </a:lnTo>
                  <a:lnTo>
                    <a:pt x="7726" y="1281"/>
                  </a:lnTo>
                  <a:lnTo>
                    <a:pt x="7713" y="1258"/>
                  </a:lnTo>
                  <a:lnTo>
                    <a:pt x="7700" y="1233"/>
                  </a:lnTo>
                  <a:lnTo>
                    <a:pt x="7690" y="1207"/>
                  </a:lnTo>
                  <a:lnTo>
                    <a:pt x="7680" y="1181"/>
                  </a:lnTo>
                  <a:lnTo>
                    <a:pt x="7672" y="1153"/>
                  </a:lnTo>
                  <a:lnTo>
                    <a:pt x="7664" y="1125"/>
                  </a:lnTo>
                  <a:lnTo>
                    <a:pt x="7658" y="1095"/>
                  </a:lnTo>
                  <a:lnTo>
                    <a:pt x="7653" y="1065"/>
                  </a:lnTo>
                  <a:lnTo>
                    <a:pt x="7649" y="1033"/>
                  </a:lnTo>
                  <a:lnTo>
                    <a:pt x="7645" y="1001"/>
                  </a:lnTo>
                  <a:lnTo>
                    <a:pt x="7644" y="968"/>
                  </a:lnTo>
                  <a:lnTo>
                    <a:pt x="7643" y="933"/>
                  </a:lnTo>
                  <a:close/>
                  <a:moveTo>
                    <a:pt x="11327" y="477"/>
                  </a:moveTo>
                  <a:lnTo>
                    <a:pt x="11310" y="447"/>
                  </a:lnTo>
                  <a:lnTo>
                    <a:pt x="11291" y="420"/>
                  </a:lnTo>
                  <a:lnTo>
                    <a:pt x="11272" y="392"/>
                  </a:lnTo>
                  <a:lnTo>
                    <a:pt x="11253" y="366"/>
                  </a:lnTo>
                  <a:lnTo>
                    <a:pt x="11232" y="341"/>
                  </a:lnTo>
                  <a:lnTo>
                    <a:pt x="11211" y="316"/>
                  </a:lnTo>
                  <a:lnTo>
                    <a:pt x="11190" y="293"/>
                  </a:lnTo>
                  <a:lnTo>
                    <a:pt x="11167" y="270"/>
                  </a:lnTo>
                  <a:lnTo>
                    <a:pt x="11144" y="248"/>
                  </a:lnTo>
                  <a:lnTo>
                    <a:pt x="11121" y="228"/>
                  </a:lnTo>
                  <a:lnTo>
                    <a:pt x="11096" y="207"/>
                  </a:lnTo>
                  <a:lnTo>
                    <a:pt x="11071" y="188"/>
                  </a:lnTo>
                  <a:lnTo>
                    <a:pt x="11045" y="171"/>
                  </a:lnTo>
                  <a:lnTo>
                    <a:pt x="11018" y="154"/>
                  </a:lnTo>
                  <a:lnTo>
                    <a:pt x="10991" y="136"/>
                  </a:lnTo>
                  <a:lnTo>
                    <a:pt x="10963" y="121"/>
                  </a:lnTo>
                  <a:lnTo>
                    <a:pt x="10934" y="107"/>
                  </a:lnTo>
                  <a:lnTo>
                    <a:pt x="10905" y="93"/>
                  </a:lnTo>
                  <a:lnTo>
                    <a:pt x="10875" y="80"/>
                  </a:lnTo>
                  <a:lnTo>
                    <a:pt x="10845" y="68"/>
                  </a:lnTo>
                  <a:lnTo>
                    <a:pt x="10813" y="58"/>
                  </a:lnTo>
                  <a:lnTo>
                    <a:pt x="10782" y="48"/>
                  </a:lnTo>
                  <a:lnTo>
                    <a:pt x="10749" y="39"/>
                  </a:lnTo>
                  <a:lnTo>
                    <a:pt x="10716" y="30"/>
                  </a:lnTo>
                  <a:lnTo>
                    <a:pt x="10682" y="23"/>
                  </a:lnTo>
                  <a:lnTo>
                    <a:pt x="10648" y="17"/>
                  </a:lnTo>
                  <a:lnTo>
                    <a:pt x="10612" y="12"/>
                  </a:lnTo>
                  <a:lnTo>
                    <a:pt x="10576" y="8"/>
                  </a:lnTo>
                  <a:lnTo>
                    <a:pt x="10540" y="4"/>
                  </a:lnTo>
                  <a:lnTo>
                    <a:pt x="10502" y="2"/>
                  </a:lnTo>
                  <a:lnTo>
                    <a:pt x="10465" y="1"/>
                  </a:lnTo>
                  <a:lnTo>
                    <a:pt x="10426" y="0"/>
                  </a:lnTo>
                  <a:lnTo>
                    <a:pt x="10373" y="1"/>
                  </a:lnTo>
                  <a:lnTo>
                    <a:pt x="10322" y="4"/>
                  </a:lnTo>
                  <a:lnTo>
                    <a:pt x="10271" y="9"/>
                  </a:lnTo>
                  <a:lnTo>
                    <a:pt x="10222" y="16"/>
                  </a:lnTo>
                  <a:lnTo>
                    <a:pt x="10174" y="25"/>
                  </a:lnTo>
                  <a:lnTo>
                    <a:pt x="10126" y="37"/>
                  </a:lnTo>
                  <a:lnTo>
                    <a:pt x="10079" y="50"/>
                  </a:lnTo>
                  <a:lnTo>
                    <a:pt x="10033" y="65"/>
                  </a:lnTo>
                  <a:lnTo>
                    <a:pt x="9990" y="81"/>
                  </a:lnTo>
                  <a:lnTo>
                    <a:pt x="9947" y="101"/>
                  </a:lnTo>
                  <a:lnTo>
                    <a:pt x="9905" y="121"/>
                  </a:lnTo>
                  <a:lnTo>
                    <a:pt x="9865" y="143"/>
                  </a:lnTo>
                  <a:lnTo>
                    <a:pt x="9826" y="168"/>
                  </a:lnTo>
                  <a:lnTo>
                    <a:pt x="9788" y="194"/>
                  </a:lnTo>
                  <a:lnTo>
                    <a:pt x="9753" y="222"/>
                  </a:lnTo>
                  <a:lnTo>
                    <a:pt x="9718" y="251"/>
                  </a:lnTo>
                  <a:lnTo>
                    <a:pt x="9686" y="282"/>
                  </a:lnTo>
                  <a:lnTo>
                    <a:pt x="9654" y="314"/>
                  </a:lnTo>
                  <a:lnTo>
                    <a:pt x="9626" y="349"/>
                  </a:lnTo>
                  <a:lnTo>
                    <a:pt x="9598" y="385"/>
                  </a:lnTo>
                  <a:lnTo>
                    <a:pt x="9572" y="423"/>
                  </a:lnTo>
                  <a:lnTo>
                    <a:pt x="9548" y="462"/>
                  </a:lnTo>
                  <a:lnTo>
                    <a:pt x="9527" y="502"/>
                  </a:lnTo>
                  <a:lnTo>
                    <a:pt x="9508" y="545"/>
                  </a:lnTo>
                  <a:lnTo>
                    <a:pt x="9489" y="589"/>
                  </a:lnTo>
                  <a:lnTo>
                    <a:pt x="9474" y="633"/>
                  </a:lnTo>
                  <a:lnTo>
                    <a:pt x="9461" y="680"/>
                  </a:lnTo>
                  <a:lnTo>
                    <a:pt x="9451" y="728"/>
                  </a:lnTo>
                  <a:lnTo>
                    <a:pt x="9441" y="778"/>
                  </a:lnTo>
                  <a:lnTo>
                    <a:pt x="9435" y="829"/>
                  </a:lnTo>
                  <a:lnTo>
                    <a:pt x="9432" y="881"/>
                  </a:lnTo>
                  <a:lnTo>
                    <a:pt x="9430" y="933"/>
                  </a:lnTo>
                  <a:lnTo>
                    <a:pt x="9431" y="987"/>
                  </a:lnTo>
                  <a:lnTo>
                    <a:pt x="9435" y="1039"/>
                  </a:lnTo>
                  <a:lnTo>
                    <a:pt x="9441" y="1090"/>
                  </a:lnTo>
                  <a:lnTo>
                    <a:pt x="9450" y="1139"/>
                  </a:lnTo>
                  <a:lnTo>
                    <a:pt x="9461" y="1188"/>
                  </a:lnTo>
                  <a:lnTo>
                    <a:pt x="9474" y="1234"/>
                  </a:lnTo>
                  <a:lnTo>
                    <a:pt x="9488" y="1279"/>
                  </a:lnTo>
                  <a:lnTo>
                    <a:pt x="9506" y="1323"/>
                  </a:lnTo>
                  <a:lnTo>
                    <a:pt x="9525" y="1365"/>
                  </a:lnTo>
                  <a:lnTo>
                    <a:pt x="9546" y="1405"/>
                  </a:lnTo>
                  <a:lnTo>
                    <a:pt x="9570" y="1445"/>
                  </a:lnTo>
                  <a:lnTo>
                    <a:pt x="9595" y="1483"/>
                  </a:lnTo>
                  <a:lnTo>
                    <a:pt x="9623" y="1518"/>
                  </a:lnTo>
                  <a:lnTo>
                    <a:pt x="9651" y="1553"/>
                  </a:lnTo>
                  <a:lnTo>
                    <a:pt x="9681" y="1585"/>
                  </a:lnTo>
                  <a:lnTo>
                    <a:pt x="9714" y="1617"/>
                  </a:lnTo>
                  <a:lnTo>
                    <a:pt x="9749" y="1646"/>
                  </a:lnTo>
                  <a:lnTo>
                    <a:pt x="9784" y="1674"/>
                  </a:lnTo>
                  <a:lnTo>
                    <a:pt x="9822" y="1700"/>
                  </a:lnTo>
                  <a:lnTo>
                    <a:pt x="9860" y="1724"/>
                  </a:lnTo>
                  <a:lnTo>
                    <a:pt x="9900" y="1746"/>
                  </a:lnTo>
                  <a:lnTo>
                    <a:pt x="9942" y="1767"/>
                  </a:lnTo>
                  <a:lnTo>
                    <a:pt x="9986" y="1786"/>
                  </a:lnTo>
                  <a:lnTo>
                    <a:pt x="10029" y="1803"/>
                  </a:lnTo>
                  <a:lnTo>
                    <a:pt x="10075" y="1818"/>
                  </a:lnTo>
                  <a:lnTo>
                    <a:pt x="10122" y="1830"/>
                  </a:lnTo>
                  <a:lnTo>
                    <a:pt x="10170" y="1841"/>
                  </a:lnTo>
                  <a:lnTo>
                    <a:pt x="10219" y="1851"/>
                  </a:lnTo>
                  <a:lnTo>
                    <a:pt x="10269" y="1858"/>
                  </a:lnTo>
                  <a:lnTo>
                    <a:pt x="10320" y="1863"/>
                  </a:lnTo>
                  <a:lnTo>
                    <a:pt x="10372" y="1867"/>
                  </a:lnTo>
                  <a:lnTo>
                    <a:pt x="10426" y="1868"/>
                  </a:lnTo>
                  <a:lnTo>
                    <a:pt x="10465" y="1867"/>
                  </a:lnTo>
                  <a:lnTo>
                    <a:pt x="10502" y="1866"/>
                  </a:lnTo>
                  <a:lnTo>
                    <a:pt x="10540" y="1863"/>
                  </a:lnTo>
                  <a:lnTo>
                    <a:pt x="10576" y="1860"/>
                  </a:lnTo>
                  <a:lnTo>
                    <a:pt x="10612" y="1856"/>
                  </a:lnTo>
                  <a:lnTo>
                    <a:pt x="10648" y="1851"/>
                  </a:lnTo>
                  <a:lnTo>
                    <a:pt x="10682" y="1845"/>
                  </a:lnTo>
                  <a:lnTo>
                    <a:pt x="10716" y="1837"/>
                  </a:lnTo>
                  <a:lnTo>
                    <a:pt x="10749" y="1829"/>
                  </a:lnTo>
                  <a:lnTo>
                    <a:pt x="10782" y="1820"/>
                  </a:lnTo>
                  <a:lnTo>
                    <a:pt x="10813" y="1810"/>
                  </a:lnTo>
                  <a:lnTo>
                    <a:pt x="10845" y="1799"/>
                  </a:lnTo>
                  <a:lnTo>
                    <a:pt x="10875" y="1788"/>
                  </a:lnTo>
                  <a:lnTo>
                    <a:pt x="10905" y="1774"/>
                  </a:lnTo>
                  <a:lnTo>
                    <a:pt x="10934" y="1761"/>
                  </a:lnTo>
                  <a:lnTo>
                    <a:pt x="10963" y="1746"/>
                  </a:lnTo>
                  <a:lnTo>
                    <a:pt x="10991" y="1731"/>
                  </a:lnTo>
                  <a:lnTo>
                    <a:pt x="11018" y="1714"/>
                  </a:lnTo>
                  <a:lnTo>
                    <a:pt x="11045" y="1697"/>
                  </a:lnTo>
                  <a:lnTo>
                    <a:pt x="11071" y="1679"/>
                  </a:lnTo>
                  <a:lnTo>
                    <a:pt x="11096" y="1659"/>
                  </a:lnTo>
                  <a:lnTo>
                    <a:pt x="11121" y="1640"/>
                  </a:lnTo>
                  <a:lnTo>
                    <a:pt x="11144" y="1619"/>
                  </a:lnTo>
                  <a:lnTo>
                    <a:pt x="11167" y="1597"/>
                  </a:lnTo>
                  <a:lnTo>
                    <a:pt x="11190" y="1574"/>
                  </a:lnTo>
                  <a:lnTo>
                    <a:pt x="11211" y="1551"/>
                  </a:lnTo>
                  <a:lnTo>
                    <a:pt x="11232" y="1526"/>
                  </a:lnTo>
                  <a:lnTo>
                    <a:pt x="11253" y="1501"/>
                  </a:lnTo>
                  <a:lnTo>
                    <a:pt x="11272" y="1474"/>
                  </a:lnTo>
                  <a:lnTo>
                    <a:pt x="11291" y="1448"/>
                  </a:lnTo>
                  <a:lnTo>
                    <a:pt x="11310" y="1419"/>
                  </a:lnTo>
                  <a:lnTo>
                    <a:pt x="11327" y="1391"/>
                  </a:lnTo>
                  <a:lnTo>
                    <a:pt x="11015" y="1211"/>
                  </a:lnTo>
                  <a:lnTo>
                    <a:pt x="11002" y="1228"/>
                  </a:lnTo>
                  <a:lnTo>
                    <a:pt x="10988" y="1246"/>
                  </a:lnTo>
                  <a:lnTo>
                    <a:pt x="10975" y="1263"/>
                  </a:lnTo>
                  <a:lnTo>
                    <a:pt x="10962" y="1279"/>
                  </a:lnTo>
                  <a:lnTo>
                    <a:pt x="10948" y="1294"/>
                  </a:lnTo>
                  <a:lnTo>
                    <a:pt x="10933" y="1310"/>
                  </a:lnTo>
                  <a:lnTo>
                    <a:pt x="10919" y="1325"/>
                  </a:lnTo>
                  <a:lnTo>
                    <a:pt x="10904" y="1339"/>
                  </a:lnTo>
                  <a:lnTo>
                    <a:pt x="10890" y="1352"/>
                  </a:lnTo>
                  <a:lnTo>
                    <a:pt x="10873" y="1366"/>
                  </a:lnTo>
                  <a:lnTo>
                    <a:pt x="10858" y="1378"/>
                  </a:lnTo>
                  <a:lnTo>
                    <a:pt x="10842" y="1390"/>
                  </a:lnTo>
                  <a:lnTo>
                    <a:pt x="10825" y="1402"/>
                  </a:lnTo>
                  <a:lnTo>
                    <a:pt x="10807" y="1412"/>
                  </a:lnTo>
                  <a:lnTo>
                    <a:pt x="10790" y="1423"/>
                  </a:lnTo>
                  <a:lnTo>
                    <a:pt x="10773" y="1433"/>
                  </a:lnTo>
                  <a:lnTo>
                    <a:pt x="10754" y="1442"/>
                  </a:lnTo>
                  <a:lnTo>
                    <a:pt x="10735" y="1451"/>
                  </a:lnTo>
                  <a:lnTo>
                    <a:pt x="10716" y="1459"/>
                  </a:lnTo>
                  <a:lnTo>
                    <a:pt x="10696" y="1466"/>
                  </a:lnTo>
                  <a:lnTo>
                    <a:pt x="10676" y="1473"/>
                  </a:lnTo>
                  <a:lnTo>
                    <a:pt x="10656" y="1479"/>
                  </a:lnTo>
                  <a:lnTo>
                    <a:pt x="10634" y="1486"/>
                  </a:lnTo>
                  <a:lnTo>
                    <a:pt x="10613" y="1491"/>
                  </a:lnTo>
                  <a:lnTo>
                    <a:pt x="10591" y="1495"/>
                  </a:lnTo>
                  <a:lnTo>
                    <a:pt x="10567" y="1499"/>
                  </a:lnTo>
                  <a:lnTo>
                    <a:pt x="10544" y="1502"/>
                  </a:lnTo>
                  <a:lnTo>
                    <a:pt x="10521" y="1505"/>
                  </a:lnTo>
                  <a:lnTo>
                    <a:pt x="10496" y="1507"/>
                  </a:lnTo>
                  <a:lnTo>
                    <a:pt x="10471" y="1509"/>
                  </a:lnTo>
                  <a:lnTo>
                    <a:pt x="10445" y="1510"/>
                  </a:lnTo>
                  <a:lnTo>
                    <a:pt x="10419" y="1510"/>
                  </a:lnTo>
                  <a:lnTo>
                    <a:pt x="10386" y="1509"/>
                  </a:lnTo>
                  <a:lnTo>
                    <a:pt x="10355" y="1507"/>
                  </a:lnTo>
                  <a:lnTo>
                    <a:pt x="10324" y="1504"/>
                  </a:lnTo>
                  <a:lnTo>
                    <a:pt x="10294" y="1500"/>
                  </a:lnTo>
                  <a:lnTo>
                    <a:pt x="10264" y="1494"/>
                  </a:lnTo>
                  <a:lnTo>
                    <a:pt x="10236" y="1487"/>
                  </a:lnTo>
                  <a:lnTo>
                    <a:pt x="10207" y="1478"/>
                  </a:lnTo>
                  <a:lnTo>
                    <a:pt x="10180" y="1468"/>
                  </a:lnTo>
                  <a:lnTo>
                    <a:pt x="10153" y="1458"/>
                  </a:lnTo>
                  <a:lnTo>
                    <a:pt x="10128" y="1446"/>
                  </a:lnTo>
                  <a:lnTo>
                    <a:pt x="10104" y="1433"/>
                  </a:lnTo>
                  <a:lnTo>
                    <a:pt x="10080" y="1418"/>
                  </a:lnTo>
                  <a:lnTo>
                    <a:pt x="10057" y="1403"/>
                  </a:lnTo>
                  <a:lnTo>
                    <a:pt x="10035" y="1387"/>
                  </a:lnTo>
                  <a:lnTo>
                    <a:pt x="10014" y="1370"/>
                  </a:lnTo>
                  <a:lnTo>
                    <a:pt x="9994" y="1351"/>
                  </a:lnTo>
                  <a:lnTo>
                    <a:pt x="9975" y="1332"/>
                  </a:lnTo>
                  <a:lnTo>
                    <a:pt x="9957" y="1312"/>
                  </a:lnTo>
                  <a:lnTo>
                    <a:pt x="9941" y="1289"/>
                  </a:lnTo>
                  <a:lnTo>
                    <a:pt x="9925" y="1268"/>
                  </a:lnTo>
                  <a:lnTo>
                    <a:pt x="9910" y="1245"/>
                  </a:lnTo>
                  <a:lnTo>
                    <a:pt x="9896" y="1220"/>
                  </a:lnTo>
                  <a:lnTo>
                    <a:pt x="9884" y="1195"/>
                  </a:lnTo>
                  <a:lnTo>
                    <a:pt x="9873" y="1169"/>
                  </a:lnTo>
                  <a:lnTo>
                    <a:pt x="9864" y="1143"/>
                  </a:lnTo>
                  <a:lnTo>
                    <a:pt x="9854" y="1114"/>
                  </a:lnTo>
                  <a:lnTo>
                    <a:pt x="9847" y="1087"/>
                  </a:lnTo>
                  <a:lnTo>
                    <a:pt x="9841" y="1057"/>
                  </a:lnTo>
                  <a:lnTo>
                    <a:pt x="9836" y="1028"/>
                  </a:lnTo>
                  <a:lnTo>
                    <a:pt x="9833" y="998"/>
                  </a:lnTo>
                  <a:lnTo>
                    <a:pt x="9831" y="966"/>
                  </a:lnTo>
                  <a:lnTo>
                    <a:pt x="9830" y="933"/>
                  </a:lnTo>
                  <a:lnTo>
                    <a:pt x="9831" y="901"/>
                  </a:lnTo>
                  <a:lnTo>
                    <a:pt x="9833" y="869"/>
                  </a:lnTo>
                  <a:lnTo>
                    <a:pt x="9836" y="839"/>
                  </a:lnTo>
                  <a:lnTo>
                    <a:pt x="9840" y="808"/>
                  </a:lnTo>
                  <a:lnTo>
                    <a:pt x="9846" y="779"/>
                  </a:lnTo>
                  <a:lnTo>
                    <a:pt x="9853" y="750"/>
                  </a:lnTo>
                  <a:lnTo>
                    <a:pt x="9863" y="723"/>
                  </a:lnTo>
                  <a:lnTo>
                    <a:pt x="9872" y="696"/>
                  </a:lnTo>
                  <a:lnTo>
                    <a:pt x="9883" y="670"/>
                  </a:lnTo>
                  <a:lnTo>
                    <a:pt x="9894" y="645"/>
                  </a:lnTo>
                  <a:lnTo>
                    <a:pt x="9907" y="620"/>
                  </a:lnTo>
                  <a:lnTo>
                    <a:pt x="9923" y="597"/>
                  </a:lnTo>
                  <a:lnTo>
                    <a:pt x="9938" y="575"/>
                  </a:lnTo>
                  <a:lnTo>
                    <a:pt x="9954" y="553"/>
                  </a:lnTo>
                  <a:lnTo>
                    <a:pt x="9971" y="533"/>
                  </a:lnTo>
                  <a:lnTo>
                    <a:pt x="9991" y="513"/>
                  </a:lnTo>
                  <a:lnTo>
                    <a:pt x="10010" y="496"/>
                  </a:lnTo>
                  <a:lnTo>
                    <a:pt x="10031" y="479"/>
                  </a:lnTo>
                  <a:lnTo>
                    <a:pt x="10053" y="463"/>
                  </a:lnTo>
                  <a:lnTo>
                    <a:pt x="10075" y="447"/>
                  </a:lnTo>
                  <a:lnTo>
                    <a:pt x="10099" y="433"/>
                  </a:lnTo>
                  <a:lnTo>
                    <a:pt x="10124" y="420"/>
                  </a:lnTo>
                  <a:lnTo>
                    <a:pt x="10149" y="409"/>
                  </a:lnTo>
                  <a:lnTo>
                    <a:pt x="10176" y="399"/>
                  </a:lnTo>
                  <a:lnTo>
                    <a:pt x="10203" y="388"/>
                  </a:lnTo>
                  <a:lnTo>
                    <a:pt x="10232" y="380"/>
                  </a:lnTo>
                  <a:lnTo>
                    <a:pt x="10261" y="373"/>
                  </a:lnTo>
                  <a:lnTo>
                    <a:pt x="10291" y="368"/>
                  </a:lnTo>
                  <a:lnTo>
                    <a:pt x="10322" y="363"/>
                  </a:lnTo>
                  <a:lnTo>
                    <a:pt x="10354" y="360"/>
                  </a:lnTo>
                  <a:lnTo>
                    <a:pt x="10386" y="358"/>
                  </a:lnTo>
                  <a:lnTo>
                    <a:pt x="10419" y="358"/>
                  </a:lnTo>
                  <a:lnTo>
                    <a:pt x="10445" y="358"/>
                  </a:lnTo>
                  <a:lnTo>
                    <a:pt x="10471" y="359"/>
                  </a:lnTo>
                  <a:lnTo>
                    <a:pt x="10496" y="360"/>
                  </a:lnTo>
                  <a:lnTo>
                    <a:pt x="10521" y="362"/>
                  </a:lnTo>
                  <a:lnTo>
                    <a:pt x="10544" y="365"/>
                  </a:lnTo>
                  <a:lnTo>
                    <a:pt x="10567" y="368"/>
                  </a:lnTo>
                  <a:lnTo>
                    <a:pt x="10591" y="372"/>
                  </a:lnTo>
                  <a:lnTo>
                    <a:pt x="10613" y="377"/>
                  </a:lnTo>
                  <a:lnTo>
                    <a:pt x="10634" y="382"/>
                  </a:lnTo>
                  <a:lnTo>
                    <a:pt x="10656" y="388"/>
                  </a:lnTo>
                  <a:lnTo>
                    <a:pt x="10676" y="395"/>
                  </a:lnTo>
                  <a:lnTo>
                    <a:pt x="10696" y="402"/>
                  </a:lnTo>
                  <a:lnTo>
                    <a:pt x="10716" y="409"/>
                  </a:lnTo>
                  <a:lnTo>
                    <a:pt x="10735" y="417"/>
                  </a:lnTo>
                  <a:lnTo>
                    <a:pt x="10754" y="425"/>
                  </a:lnTo>
                  <a:lnTo>
                    <a:pt x="10773" y="435"/>
                  </a:lnTo>
                  <a:lnTo>
                    <a:pt x="10790" y="444"/>
                  </a:lnTo>
                  <a:lnTo>
                    <a:pt x="10807" y="455"/>
                  </a:lnTo>
                  <a:lnTo>
                    <a:pt x="10825" y="466"/>
                  </a:lnTo>
                  <a:lnTo>
                    <a:pt x="10842" y="477"/>
                  </a:lnTo>
                  <a:lnTo>
                    <a:pt x="10858" y="489"/>
                  </a:lnTo>
                  <a:lnTo>
                    <a:pt x="10873" y="502"/>
                  </a:lnTo>
                  <a:lnTo>
                    <a:pt x="10890" y="515"/>
                  </a:lnTo>
                  <a:lnTo>
                    <a:pt x="10904" y="529"/>
                  </a:lnTo>
                  <a:lnTo>
                    <a:pt x="10919" y="543"/>
                  </a:lnTo>
                  <a:lnTo>
                    <a:pt x="10933" y="557"/>
                  </a:lnTo>
                  <a:lnTo>
                    <a:pt x="10948" y="572"/>
                  </a:lnTo>
                  <a:lnTo>
                    <a:pt x="10962" y="589"/>
                  </a:lnTo>
                  <a:lnTo>
                    <a:pt x="10975" y="605"/>
                  </a:lnTo>
                  <a:lnTo>
                    <a:pt x="10988" y="621"/>
                  </a:lnTo>
                  <a:lnTo>
                    <a:pt x="11002" y="639"/>
                  </a:lnTo>
                  <a:lnTo>
                    <a:pt x="11015" y="657"/>
                  </a:lnTo>
                  <a:lnTo>
                    <a:pt x="11327" y="4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490538" y="487363"/>
              <a:ext cx="466725" cy="455612"/>
            </a:xfrm>
            <a:custGeom>
              <a:avLst/>
              <a:gdLst>
                <a:gd name="T0" fmla="*/ 1853 w 3532"/>
                <a:gd name="T1" fmla="*/ 1336 h 3444"/>
                <a:gd name="T2" fmla="*/ 1828 w 3532"/>
                <a:gd name="T3" fmla="*/ 1351 h 3444"/>
                <a:gd name="T4" fmla="*/ 1795 w 3532"/>
                <a:gd name="T5" fmla="*/ 1349 h 3444"/>
                <a:gd name="T6" fmla="*/ 1104 w 3532"/>
                <a:gd name="T7" fmla="*/ 1069 h 3444"/>
                <a:gd name="T8" fmla="*/ 1071 w 3532"/>
                <a:gd name="T9" fmla="*/ 1010 h 3444"/>
                <a:gd name="T10" fmla="*/ 1204 w 3532"/>
                <a:gd name="T11" fmla="*/ 141 h 3444"/>
                <a:gd name="T12" fmla="*/ 1231 w 3532"/>
                <a:gd name="T13" fmla="*/ 77 h 3444"/>
                <a:gd name="T14" fmla="*/ 1287 w 3532"/>
                <a:gd name="T15" fmla="*/ 37 h 3444"/>
                <a:gd name="T16" fmla="*/ 2026 w 3532"/>
                <a:gd name="T17" fmla="*/ 0 h 3444"/>
                <a:gd name="T18" fmla="*/ 2055 w 3532"/>
                <a:gd name="T19" fmla="*/ 11 h 3444"/>
                <a:gd name="T20" fmla="*/ 2072 w 3532"/>
                <a:gd name="T21" fmla="*/ 37 h 3444"/>
                <a:gd name="T22" fmla="*/ 1399 w 3532"/>
                <a:gd name="T23" fmla="*/ 1554 h 3444"/>
                <a:gd name="T24" fmla="*/ 1417 w 3532"/>
                <a:gd name="T25" fmla="*/ 1578 h 3444"/>
                <a:gd name="T26" fmla="*/ 1414 w 3532"/>
                <a:gd name="T27" fmla="*/ 1610 h 3444"/>
                <a:gd name="T28" fmla="*/ 958 w 3532"/>
                <a:gd name="T29" fmla="*/ 2172 h 3444"/>
                <a:gd name="T30" fmla="*/ 893 w 3532"/>
                <a:gd name="T31" fmla="*/ 2208 h 3444"/>
                <a:gd name="T32" fmla="*/ 826 w 3532"/>
                <a:gd name="T33" fmla="*/ 2201 h 3444"/>
                <a:gd name="T34" fmla="*/ 45 w 3532"/>
                <a:gd name="T35" fmla="*/ 1796 h 3444"/>
                <a:gd name="T36" fmla="*/ 6 w 3532"/>
                <a:gd name="T37" fmla="*/ 1741 h 3444"/>
                <a:gd name="T38" fmla="*/ 4 w 3532"/>
                <a:gd name="T39" fmla="*/ 1664 h 3444"/>
                <a:gd name="T40" fmla="*/ 200 w 3532"/>
                <a:gd name="T41" fmla="*/ 976 h 3444"/>
                <a:gd name="T42" fmla="*/ 226 w 3532"/>
                <a:gd name="T43" fmla="*/ 959 h 3444"/>
                <a:gd name="T44" fmla="*/ 255 w 3532"/>
                <a:gd name="T45" fmla="*/ 963 h 3444"/>
                <a:gd name="T46" fmla="*/ 1491 w 3532"/>
                <a:gd name="T47" fmla="*/ 2055 h 3444"/>
                <a:gd name="T48" fmla="*/ 1521 w 3532"/>
                <a:gd name="T49" fmla="*/ 2057 h 3444"/>
                <a:gd name="T50" fmla="*/ 1546 w 3532"/>
                <a:gd name="T51" fmla="*/ 2077 h 3444"/>
                <a:gd name="T52" fmla="*/ 1940 w 3532"/>
                <a:gd name="T53" fmla="*/ 2711 h 3444"/>
                <a:gd name="T54" fmla="*/ 1933 w 3532"/>
                <a:gd name="T55" fmla="*/ 2779 h 3444"/>
                <a:gd name="T56" fmla="*/ 1315 w 3532"/>
                <a:gd name="T57" fmla="*/ 3402 h 3444"/>
                <a:gd name="T58" fmla="*/ 1256 w 3532"/>
                <a:gd name="T59" fmla="*/ 3439 h 3444"/>
                <a:gd name="T60" fmla="*/ 1187 w 3532"/>
                <a:gd name="T61" fmla="*/ 3439 h 3444"/>
                <a:gd name="T62" fmla="*/ 567 w 3532"/>
                <a:gd name="T63" fmla="*/ 3035 h 3444"/>
                <a:gd name="T64" fmla="*/ 549 w 3532"/>
                <a:gd name="T65" fmla="*/ 3009 h 3444"/>
                <a:gd name="T66" fmla="*/ 551 w 3532"/>
                <a:gd name="T67" fmla="*/ 2978 h 3444"/>
                <a:gd name="T68" fmla="*/ 1987 w 3532"/>
                <a:gd name="T69" fmla="*/ 2144 h 3444"/>
                <a:gd name="T70" fmla="*/ 1988 w 3532"/>
                <a:gd name="T71" fmla="*/ 2114 h 3444"/>
                <a:gd name="T72" fmla="*/ 2009 w 3532"/>
                <a:gd name="T73" fmla="*/ 2091 h 3444"/>
                <a:gd name="T74" fmla="*/ 2707 w 3532"/>
                <a:gd name="T75" fmla="*/ 1899 h 3444"/>
                <a:gd name="T76" fmla="*/ 2780 w 3532"/>
                <a:gd name="T77" fmla="*/ 1910 h 3444"/>
                <a:gd name="T78" fmla="*/ 2832 w 3532"/>
                <a:gd name="T79" fmla="*/ 1953 h 3444"/>
                <a:gd name="T80" fmla="*/ 3229 w 3532"/>
                <a:gd name="T81" fmla="*/ 2739 h 3444"/>
                <a:gd name="T82" fmla="*/ 3227 w 3532"/>
                <a:gd name="T83" fmla="*/ 2806 h 3444"/>
                <a:gd name="T84" fmla="*/ 3184 w 3532"/>
                <a:gd name="T85" fmla="*/ 2871 h 3444"/>
                <a:gd name="T86" fmla="*/ 2624 w 3532"/>
                <a:gd name="T87" fmla="*/ 3314 h 3444"/>
                <a:gd name="T88" fmla="*/ 2593 w 3532"/>
                <a:gd name="T89" fmla="*/ 3313 h 3444"/>
                <a:gd name="T90" fmla="*/ 2570 w 3532"/>
                <a:gd name="T91" fmla="*/ 3292 h 3444"/>
                <a:gd name="T92" fmla="*/ 2206 w 3532"/>
                <a:gd name="T93" fmla="*/ 1686 h 3444"/>
                <a:gd name="T94" fmla="*/ 2183 w 3532"/>
                <a:gd name="T95" fmla="*/ 1667 h 3444"/>
                <a:gd name="T96" fmla="*/ 2176 w 3532"/>
                <a:gd name="T97" fmla="*/ 1635 h 3444"/>
                <a:gd name="T98" fmla="*/ 2229 w 3532"/>
                <a:gd name="T99" fmla="*/ 892 h 3444"/>
                <a:gd name="T100" fmla="*/ 2275 w 3532"/>
                <a:gd name="T101" fmla="*/ 841 h 3444"/>
                <a:gd name="T102" fmla="*/ 3142 w 3532"/>
                <a:gd name="T103" fmla="*/ 700 h 3444"/>
                <a:gd name="T104" fmla="*/ 3211 w 3532"/>
                <a:gd name="T105" fmla="*/ 706 h 3444"/>
                <a:gd name="T106" fmla="*/ 3268 w 3532"/>
                <a:gd name="T107" fmla="*/ 746 h 3444"/>
                <a:gd name="T108" fmla="*/ 3530 w 3532"/>
                <a:gd name="T109" fmla="*/ 1438 h 3444"/>
                <a:gd name="T110" fmla="*/ 3529 w 3532"/>
                <a:gd name="T111" fmla="*/ 1469 h 3444"/>
                <a:gd name="T112" fmla="*/ 3510 w 3532"/>
                <a:gd name="T113" fmla="*/ 1493 h 3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32" h="3444">
                  <a:moveTo>
                    <a:pt x="2072" y="52"/>
                  </a:moveTo>
                  <a:lnTo>
                    <a:pt x="1861" y="1317"/>
                  </a:lnTo>
                  <a:lnTo>
                    <a:pt x="1860" y="1322"/>
                  </a:lnTo>
                  <a:lnTo>
                    <a:pt x="1858" y="1327"/>
                  </a:lnTo>
                  <a:lnTo>
                    <a:pt x="1856" y="1332"/>
                  </a:lnTo>
                  <a:lnTo>
                    <a:pt x="1853" y="1336"/>
                  </a:lnTo>
                  <a:lnTo>
                    <a:pt x="1849" y="1340"/>
                  </a:lnTo>
                  <a:lnTo>
                    <a:pt x="1846" y="1343"/>
                  </a:lnTo>
                  <a:lnTo>
                    <a:pt x="1842" y="1346"/>
                  </a:lnTo>
                  <a:lnTo>
                    <a:pt x="1837" y="1348"/>
                  </a:lnTo>
                  <a:lnTo>
                    <a:pt x="1833" y="1350"/>
                  </a:lnTo>
                  <a:lnTo>
                    <a:pt x="1828" y="1351"/>
                  </a:lnTo>
                  <a:lnTo>
                    <a:pt x="1822" y="1352"/>
                  </a:lnTo>
                  <a:lnTo>
                    <a:pt x="1817" y="1353"/>
                  </a:lnTo>
                  <a:lnTo>
                    <a:pt x="1811" y="1352"/>
                  </a:lnTo>
                  <a:lnTo>
                    <a:pt x="1806" y="1352"/>
                  </a:lnTo>
                  <a:lnTo>
                    <a:pt x="1801" y="1351"/>
                  </a:lnTo>
                  <a:lnTo>
                    <a:pt x="1795" y="1349"/>
                  </a:lnTo>
                  <a:lnTo>
                    <a:pt x="1163" y="1105"/>
                  </a:lnTo>
                  <a:lnTo>
                    <a:pt x="1149" y="1099"/>
                  </a:lnTo>
                  <a:lnTo>
                    <a:pt x="1136" y="1092"/>
                  </a:lnTo>
                  <a:lnTo>
                    <a:pt x="1125" y="1085"/>
                  </a:lnTo>
                  <a:lnTo>
                    <a:pt x="1114" y="1077"/>
                  </a:lnTo>
                  <a:lnTo>
                    <a:pt x="1104" y="1069"/>
                  </a:lnTo>
                  <a:lnTo>
                    <a:pt x="1096" y="1060"/>
                  </a:lnTo>
                  <a:lnTo>
                    <a:pt x="1089" y="1050"/>
                  </a:lnTo>
                  <a:lnTo>
                    <a:pt x="1083" y="1041"/>
                  </a:lnTo>
                  <a:lnTo>
                    <a:pt x="1078" y="1031"/>
                  </a:lnTo>
                  <a:lnTo>
                    <a:pt x="1074" y="1020"/>
                  </a:lnTo>
                  <a:lnTo>
                    <a:pt x="1071" y="1010"/>
                  </a:lnTo>
                  <a:lnTo>
                    <a:pt x="1068" y="999"/>
                  </a:lnTo>
                  <a:lnTo>
                    <a:pt x="1067" y="986"/>
                  </a:lnTo>
                  <a:lnTo>
                    <a:pt x="1067" y="975"/>
                  </a:lnTo>
                  <a:lnTo>
                    <a:pt x="1068" y="963"/>
                  </a:lnTo>
                  <a:lnTo>
                    <a:pt x="1069" y="951"/>
                  </a:lnTo>
                  <a:lnTo>
                    <a:pt x="1204" y="141"/>
                  </a:lnTo>
                  <a:lnTo>
                    <a:pt x="1206" y="130"/>
                  </a:lnTo>
                  <a:lnTo>
                    <a:pt x="1209" y="118"/>
                  </a:lnTo>
                  <a:lnTo>
                    <a:pt x="1213" y="107"/>
                  </a:lnTo>
                  <a:lnTo>
                    <a:pt x="1218" y="97"/>
                  </a:lnTo>
                  <a:lnTo>
                    <a:pt x="1224" y="86"/>
                  </a:lnTo>
                  <a:lnTo>
                    <a:pt x="1231" y="77"/>
                  </a:lnTo>
                  <a:lnTo>
                    <a:pt x="1238" y="69"/>
                  </a:lnTo>
                  <a:lnTo>
                    <a:pt x="1246" y="61"/>
                  </a:lnTo>
                  <a:lnTo>
                    <a:pt x="1255" y="54"/>
                  </a:lnTo>
                  <a:lnTo>
                    <a:pt x="1265" y="47"/>
                  </a:lnTo>
                  <a:lnTo>
                    <a:pt x="1275" y="42"/>
                  </a:lnTo>
                  <a:lnTo>
                    <a:pt x="1287" y="37"/>
                  </a:lnTo>
                  <a:lnTo>
                    <a:pt x="1300" y="33"/>
                  </a:lnTo>
                  <a:lnTo>
                    <a:pt x="1313" y="29"/>
                  </a:lnTo>
                  <a:lnTo>
                    <a:pt x="1327" y="27"/>
                  </a:lnTo>
                  <a:lnTo>
                    <a:pt x="1342" y="26"/>
                  </a:lnTo>
                  <a:lnTo>
                    <a:pt x="2020" y="0"/>
                  </a:lnTo>
                  <a:lnTo>
                    <a:pt x="2026" y="0"/>
                  </a:lnTo>
                  <a:lnTo>
                    <a:pt x="2031" y="1"/>
                  </a:lnTo>
                  <a:lnTo>
                    <a:pt x="2036" y="2"/>
                  </a:lnTo>
                  <a:lnTo>
                    <a:pt x="2042" y="3"/>
                  </a:lnTo>
                  <a:lnTo>
                    <a:pt x="2046" y="5"/>
                  </a:lnTo>
                  <a:lnTo>
                    <a:pt x="2051" y="8"/>
                  </a:lnTo>
                  <a:lnTo>
                    <a:pt x="2055" y="11"/>
                  </a:lnTo>
                  <a:lnTo>
                    <a:pt x="2059" y="14"/>
                  </a:lnTo>
                  <a:lnTo>
                    <a:pt x="2062" y="18"/>
                  </a:lnTo>
                  <a:lnTo>
                    <a:pt x="2066" y="22"/>
                  </a:lnTo>
                  <a:lnTo>
                    <a:pt x="2068" y="26"/>
                  </a:lnTo>
                  <a:lnTo>
                    <a:pt x="2070" y="32"/>
                  </a:lnTo>
                  <a:lnTo>
                    <a:pt x="2072" y="37"/>
                  </a:lnTo>
                  <a:lnTo>
                    <a:pt x="2072" y="42"/>
                  </a:lnTo>
                  <a:lnTo>
                    <a:pt x="2073" y="47"/>
                  </a:lnTo>
                  <a:lnTo>
                    <a:pt x="2072" y="52"/>
                  </a:lnTo>
                  <a:close/>
                  <a:moveTo>
                    <a:pt x="255" y="963"/>
                  </a:moveTo>
                  <a:lnTo>
                    <a:pt x="1394" y="1551"/>
                  </a:lnTo>
                  <a:lnTo>
                    <a:pt x="1399" y="1554"/>
                  </a:lnTo>
                  <a:lnTo>
                    <a:pt x="1403" y="1557"/>
                  </a:lnTo>
                  <a:lnTo>
                    <a:pt x="1408" y="1561"/>
                  </a:lnTo>
                  <a:lnTo>
                    <a:pt x="1411" y="1565"/>
                  </a:lnTo>
                  <a:lnTo>
                    <a:pt x="1413" y="1569"/>
                  </a:lnTo>
                  <a:lnTo>
                    <a:pt x="1415" y="1574"/>
                  </a:lnTo>
                  <a:lnTo>
                    <a:pt x="1417" y="1578"/>
                  </a:lnTo>
                  <a:lnTo>
                    <a:pt x="1418" y="1583"/>
                  </a:lnTo>
                  <a:lnTo>
                    <a:pt x="1418" y="1588"/>
                  </a:lnTo>
                  <a:lnTo>
                    <a:pt x="1418" y="1593"/>
                  </a:lnTo>
                  <a:lnTo>
                    <a:pt x="1417" y="1599"/>
                  </a:lnTo>
                  <a:lnTo>
                    <a:pt x="1416" y="1605"/>
                  </a:lnTo>
                  <a:lnTo>
                    <a:pt x="1414" y="1610"/>
                  </a:lnTo>
                  <a:lnTo>
                    <a:pt x="1412" y="1614"/>
                  </a:lnTo>
                  <a:lnTo>
                    <a:pt x="1409" y="1619"/>
                  </a:lnTo>
                  <a:lnTo>
                    <a:pt x="1405" y="1624"/>
                  </a:lnTo>
                  <a:lnTo>
                    <a:pt x="978" y="2151"/>
                  </a:lnTo>
                  <a:lnTo>
                    <a:pt x="969" y="2162"/>
                  </a:lnTo>
                  <a:lnTo>
                    <a:pt x="958" y="2172"/>
                  </a:lnTo>
                  <a:lnTo>
                    <a:pt x="948" y="2181"/>
                  </a:lnTo>
                  <a:lnTo>
                    <a:pt x="938" y="2188"/>
                  </a:lnTo>
                  <a:lnTo>
                    <a:pt x="926" y="2195"/>
                  </a:lnTo>
                  <a:lnTo>
                    <a:pt x="915" y="2200"/>
                  </a:lnTo>
                  <a:lnTo>
                    <a:pt x="904" y="2204"/>
                  </a:lnTo>
                  <a:lnTo>
                    <a:pt x="893" y="2208"/>
                  </a:lnTo>
                  <a:lnTo>
                    <a:pt x="882" y="2209"/>
                  </a:lnTo>
                  <a:lnTo>
                    <a:pt x="871" y="2210"/>
                  </a:lnTo>
                  <a:lnTo>
                    <a:pt x="859" y="2209"/>
                  </a:lnTo>
                  <a:lnTo>
                    <a:pt x="848" y="2208"/>
                  </a:lnTo>
                  <a:lnTo>
                    <a:pt x="837" y="2206"/>
                  </a:lnTo>
                  <a:lnTo>
                    <a:pt x="826" y="2201"/>
                  </a:lnTo>
                  <a:lnTo>
                    <a:pt x="815" y="2197"/>
                  </a:lnTo>
                  <a:lnTo>
                    <a:pt x="803" y="2192"/>
                  </a:lnTo>
                  <a:lnTo>
                    <a:pt x="74" y="1816"/>
                  </a:lnTo>
                  <a:lnTo>
                    <a:pt x="64" y="1810"/>
                  </a:lnTo>
                  <a:lnTo>
                    <a:pt x="54" y="1803"/>
                  </a:lnTo>
                  <a:lnTo>
                    <a:pt x="45" y="1796"/>
                  </a:lnTo>
                  <a:lnTo>
                    <a:pt x="37" y="1789"/>
                  </a:lnTo>
                  <a:lnTo>
                    <a:pt x="28" y="1779"/>
                  </a:lnTo>
                  <a:lnTo>
                    <a:pt x="21" y="1771"/>
                  </a:lnTo>
                  <a:lnTo>
                    <a:pt x="15" y="1761"/>
                  </a:lnTo>
                  <a:lnTo>
                    <a:pt x="10" y="1751"/>
                  </a:lnTo>
                  <a:lnTo>
                    <a:pt x="6" y="1741"/>
                  </a:lnTo>
                  <a:lnTo>
                    <a:pt x="3" y="1729"/>
                  </a:lnTo>
                  <a:lnTo>
                    <a:pt x="1" y="1717"/>
                  </a:lnTo>
                  <a:lnTo>
                    <a:pt x="0" y="1704"/>
                  </a:lnTo>
                  <a:lnTo>
                    <a:pt x="0" y="1691"/>
                  </a:lnTo>
                  <a:lnTo>
                    <a:pt x="1" y="1678"/>
                  </a:lnTo>
                  <a:lnTo>
                    <a:pt x="4" y="1664"/>
                  </a:lnTo>
                  <a:lnTo>
                    <a:pt x="7" y="1648"/>
                  </a:lnTo>
                  <a:lnTo>
                    <a:pt x="190" y="995"/>
                  </a:lnTo>
                  <a:lnTo>
                    <a:pt x="192" y="990"/>
                  </a:lnTo>
                  <a:lnTo>
                    <a:pt x="194" y="985"/>
                  </a:lnTo>
                  <a:lnTo>
                    <a:pt x="197" y="980"/>
                  </a:lnTo>
                  <a:lnTo>
                    <a:pt x="200" y="976"/>
                  </a:lnTo>
                  <a:lnTo>
                    <a:pt x="203" y="972"/>
                  </a:lnTo>
                  <a:lnTo>
                    <a:pt x="207" y="969"/>
                  </a:lnTo>
                  <a:lnTo>
                    <a:pt x="212" y="965"/>
                  </a:lnTo>
                  <a:lnTo>
                    <a:pt x="216" y="963"/>
                  </a:lnTo>
                  <a:lnTo>
                    <a:pt x="221" y="961"/>
                  </a:lnTo>
                  <a:lnTo>
                    <a:pt x="226" y="959"/>
                  </a:lnTo>
                  <a:lnTo>
                    <a:pt x="230" y="958"/>
                  </a:lnTo>
                  <a:lnTo>
                    <a:pt x="235" y="958"/>
                  </a:lnTo>
                  <a:lnTo>
                    <a:pt x="240" y="958"/>
                  </a:lnTo>
                  <a:lnTo>
                    <a:pt x="245" y="959"/>
                  </a:lnTo>
                  <a:lnTo>
                    <a:pt x="250" y="960"/>
                  </a:lnTo>
                  <a:lnTo>
                    <a:pt x="255" y="963"/>
                  </a:lnTo>
                  <a:close/>
                  <a:moveTo>
                    <a:pt x="560" y="2966"/>
                  </a:moveTo>
                  <a:lnTo>
                    <a:pt x="1474" y="2066"/>
                  </a:lnTo>
                  <a:lnTo>
                    <a:pt x="1478" y="2062"/>
                  </a:lnTo>
                  <a:lnTo>
                    <a:pt x="1482" y="2059"/>
                  </a:lnTo>
                  <a:lnTo>
                    <a:pt x="1487" y="2057"/>
                  </a:lnTo>
                  <a:lnTo>
                    <a:pt x="1491" y="2055"/>
                  </a:lnTo>
                  <a:lnTo>
                    <a:pt x="1496" y="2054"/>
                  </a:lnTo>
                  <a:lnTo>
                    <a:pt x="1501" y="2053"/>
                  </a:lnTo>
                  <a:lnTo>
                    <a:pt x="1506" y="2054"/>
                  </a:lnTo>
                  <a:lnTo>
                    <a:pt x="1511" y="2054"/>
                  </a:lnTo>
                  <a:lnTo>
                    <a:pt x="1516" y="2055"/>
                  </a:lnTo>
                  <a:lnTo>
                    <a:pt x="1521" y="2057"/>
                  </a:lnTo>
                  <a:lnTo>
                    <a:pt x="1526" y="2059"/>
                  </a:lnTo>
                  <a:lnTo>
                    <a:pt x="1531" y="2062"/>
                  </a:lnTo>
                  <a:lnTo>
                    <a:pt x="1535" y="2065"/>
                  </a:lnTo>
                  <a:lnTo>
                    <a:pt x="1539" y="2069"/>
                  </a:lnTo>
                  <a:lnTo>
                    <a:pt x="1543" y="2073"/>
                  </a:lnTo>
                  <a:lnTo>
                    <a:pt x="1546" y="2077"/>
                  </a:lnTo>
                  <a:lnTo>
                    <a:pt x="1914" y="2647"/>
                  </a:lnTo>
                  <a:lnTo>
                    <a:pt x="1922" y="2660"/>
                  </a:lnTo>
                  <a:lnTo>
                    <a:pt x="1928" y="2673"/>
                  </a:lnTo>
                  <a:lnTo>
                    <a:pt x="1933" y="2685"/>
                  </a:lnTo>
                  <a:lnTo>
                    <a:pt x="1937" y="2699"/>
                  </a:lnTo>
                  <a:lnTo>
                    <a:pt x="1940" y="2711"/>
                  </a:lnTo>
                  <a:lnTo>
                    <a:pt x="1941" y="2723"/>
                  </a:lnTo>
                  <a:lnTo>
                    <a:pt x="1942" y="2734"/>
                  </a:lnTo>
                  <a:lnTo>
                    <a:pt x="1941" y="2745"/>
                  </a:lnTo>
                  <a:lnTo>
                    <a:pt x="1939" y="2758"/>
                  </a:lnTo>
                  <a:lnTo>
                    <a:pt x="1936" y="2768"/>
                  </a:lnTo>
                  <a:lnTo>
                    <a:pt x="1933" y="2779"/>
                  </a:lnTo>
                  <a:lnTo>
                    <a:pt x="1928" y="2789"/>
                  </a:lnTo>
                  <a:lnTo>
                    <a:pt x="1922" y="2799"/>
                  </a:lnTo>
                  <a:lnTo>
                    <a:pt x="1915" y="2808"/>
                  </a:lnTo>
                  <a:lnTo>
                    <a:pt x="1908" y="2818"/>
                  </a:lnTo>
                  <a:lnTo>
                    <a:pt x="1900" y="2827"/>
                  </a:lnTo>
                  <a:lnTo>
                    <a:pt x="1315" y="3402"/>
                  </a:lnTo>
                  <a:lnTo>
                    <a:pt x="1307" y="3410"/>
                  </a:lnTo>
                  <a:lnTo>
                    <a:pt x="1297" y="3419"/>
                  </a:lnTo>
                  <a:lnTo>
                    <a:pt x="1288" y="3425"/>
                  </a:lnTo>
                  <a:lnTo>
                    <a:pt x="1277" y="3431"/>
                  </a:lnTo>
                  <a:lnTo>
                    <a:pt x="1267" y="3435"/>
                  </a:lnTo>
                  <a:lnTo>
                    <a:pt x="1256" y="3439"/>
                  </a:lnTo>
                  <a:lnTo>
                    <a:pt x="1245" y="3442"/>
                  </a:lnTo>
                  <a:lnTo>
                    <a:pt x="1234" y="3443"/>
                  </a:lnTo>
                  <a:lnTo>
                    <a:pt x="1222" y="3444"/>
                  </a:lnTo>
                  <a:lnTo>
                    <a:pt x="1211" y="3443"/>
                  </a:lnTo>
                  <a:lnTo>
                    <a:pt x="1199" y="3442"/>
                  </a:lnTo>
                  <a:lnTo>
                    <a:pt x="1187" y="3439"/>
                  </a:lnTo>
                  <a:lnTo>
                    <a:pt x="1174" y="3435"/>
                  </a:lnTo>
                  <a:lnTo>
                    <a:pt x="1161" y="3430"/>
                  </a:lnTo>
                  <a:lnTo>
                    <a:pt x="1148" y="3423"/>
                  </a:lnTo>
                  <a:lnTo>
                    <a:pt x="1136" y="3415"/>
                  </a:lnTo>
                  <a:lnTo>
                    <a:pt x="572" y="3038"/>
                  </a:lnTo>
                  <a:lnTo>
                    <a:pt x="567" y="3035"/>
                  </a:lnTo>
                  <a:lnTo>
                    <a:pt x="563" y="3031"/>
                  </a:lnTo>
                  <a:lnTo>
                    <a:pt x="559" y="3027"/>
                  </a:lnTo>
                  <a:lnTo>
                    <a:pt x="556" y="3023"/>
                  </a:lnTo>
                  <a:lnTo>
                    <a:pt x="553" y="3018"/>
                  </a:lnTo>
                  <a:lnTo>
                    <a:pt x="551" y="3014"/>
                  </a:lnTo>
                  <a:lnTo>
                    <a:pt x="549" y="3009"/>
                  </a:lnTo>
                  <a:lnTo>
                    <a:pt x="548" y="3004"/>
                  </a:lnTo>
                  <a:lnTo>
                    <a:pt x="548" y="2999"/>
                  </a:lnTo>
                  <a:lnTo>
                    <a:pt x="548" y="2994"/>
                  </a:lnTo>
                  <a:lnTo>
                    <a:pt x="548" y="2988"/>
                  </a:lnTo>
                  <a:lnTo>
                    <a:pt x="549" y="2983"/>
                  </a:lnTo>
                  <a:lnTo>
                    <a:pt x="551" y="2978"/>
                  </a:lnTo>
                  <a:lnTo>
                    <a:pt x="553" y="2974"/>
                  </a:lnTo>
                  <a:lnTo>
                    <a:pt x="556" y="2970"/>
                  </a:lnTo>
                  <a:lnTo>
                    <a:pt x="560" y="2966"/>
                  </a:lnTo>
                  <a:close/>
                  <a:moveTo>
                    <a:pt x="2570" y="3292"/>
                  </a:moveTo>
                  <a:lnTo>
                    <a:pt x="1990" y="2150"/>
                  </a:lnTo>
                  <a:lnTo>
                    <a:pt x="1987" y="2144"/>
                  </a:lnTo>
                  <a:lnTo>
                    <a:pt x="1986" y="2139"/>
                  </a:lnTo>
                  <a:lnTo>
                    <a:pt x="1985" y="2134"/>
                  </a:lnTo>
                  <a:lnTo>
                    <a:pt x="1985" y="2128"/>
                  </a:lnTo>
                  <a:lnTo>
                    <a:pt x="1986" y="2124"/>
                  </a:lnTo>
                  <a:lnTo>
                    <a:pt x="1987" y="2119"/>
                  </a:lnTo>
                  <a:lnTo>
                    <a:pt x="1988" y="2114"/>
                  </a:lnTo>
                  <a:lnTo>
                    <a:pt x="1990" y="2110"/>
                  </a:lnTo>
                  <a:lnTo>
                    <a:pt x="1993" y="2105"/>
                  </a:lnTo>
                  <a:lnTo>
                    <a:pt x="1996" y="2101"/>
                  </a:lnTo>
                  <a:lnTo>
                    <a:pt x="2000" y="2098"/>
                  </a:lnTo>
                  <a:lnTo>
                    <a:pt x="2003" y="2094"/>
                  </a:lnTo>
                  <a:lnTo>
                    <a:pt x="2009" y="2091"/>
                  </a:lnTo>
                  <a:lnTo>
                    <a:pt x="2013" y="2088"/>
                  </a:lnTo>
                  <a:lnTo>
                    <a:pt x="2018" y="2086"/>
                  </a:lnTo>
                  <a:lnTo>
                    <a:pt x="2024" y="2084"/>
                  </a:lnTo>
                  <a:lnTo>
                    <a:pt x="2678" y="1906"/>
                  </a:lnTo>
                  <a:lnTo>
                    <a:pt x="2693" y="1902"/>
                  </a:lnTo>
                  <a:lnTo>
                    <a:pt x="2707" y="1899"/>
                  </a:lnTo>
                  <a:lnTo>
                    <a:pt x="2720" y="1898"/>
                  </a:lnTo>
                  <a:lnTo>
                    <a:pt x="2734" y="1898"/>
                  </a:lnTo>
                  <a:lnTo>
                    <a:pt x="2746" y="1900"/>
                  </a:lnTo>
                  <a:lnTo>
                    <a:pt x="2758" y="1902"/>
                  </a:lnTo>
                  <a:lnTo>
                    <a:pt x="2769" y="1906"/>
                  </a:lnTo>
                  <a:lnTo>
                    <a:pt x="2780" y="1910"/>
                  </a:lnTo>
                  <a:lnTo>
                    <a:pt x="2791" y="1915"/>
                  </a:lnTo>
                  <a:lnTo>
                    <a:pt x="2800" y="1921"/>
                  </a:lnTo>
                  <a:lnTo>
                    <a:pt x="2809" y="1928"/>
                  </a:lnTo>
                  <a:lnTo>
                    <a:pt x="2817" y="1936"/>
                  </a:lnTo>
                  <a:lnTo>
                    <a:pt x="2825" y="1944"/>
                  </a:lnTo>
                  <a:lnTo>
                    <a:pt x="2832" y="1953"/>
                  </a:lnTo>
                  <a:lnTo>
                    <a:pt x="2838" y="1963"/>
                  </a:lnTo>
                  <a:lnTo>
                    <a:pt x="2845" y="1974"/>
                  </a:lnTo>
                  <a:lnTo>
                    <a:pt x="3216" y="2706"/>
                  </a:lnTo>
                  <a:lnTo>
                    <a:pt x="3221" y="2717"/>
                  </a:lnTo>
                  <a:lnTo>
                    <a:pt x="3225" y="2727"/>
                  </a:lnTo>
                  <a:lnTo>
                    <a:pt x="3229" y="2739"/>
                  </a:lnTo>
                  <a:lnTo>
                    <a:pt x="3231" y="2751"/>
                  </a:lnTo>
                  <a:lnTo>
                    <a:pt x="3232" y="2762"/>
                  </a:lnTo>
                  <a:lnTo>
                    <a:pt x="3233" y="2773"/>
                  </a:lnTo>
                  <a:lnTo>
                    <a:pt x="3232" y="2784"/>
                  </a:lnTo>
                  <a:lnTo>
                    <a:pt x="3230" y="2795"/>
                  </a:lnTo>
                  <a:lnTo>
                    <a:pt x="3227" y="2806"/>
                  </a:lnTo>
                  <a:lnTo>
                    <a:pt x="3223" y="2818"/>
                  </a:lnTo>
                  <a:lnTo>
                    <a:pt x="3218" y="2829"/>
                  </a:lnTo>
                  <a:lnTo>
                    <a:pt x="3212" y="2839"/>
                  </a:lnTo>
                  <a:lnTo>
                    <a:pt x="3204" y="2850"/>
                  </a:lnTo>
                  <a:lnTo>
                    <a:pt x="3194" y="2860"/>
                  </a:lnTo>
                  <a:lnTo>
                    <a:pt x="3184" y="2871"/>
                  </a:lnTo>
                  <a:lnTo>
                    <a:pt x="3173" y="2881"/>
                  </a:lnTo>
                  <a:lnTo>
                    <a:pt x="2643" y="3304"/>
                  </a:lnTo>
                  <a:lnTo>
                    <a:pt x="2638" y="3307"/>
                  </a:lnTo>
                  <a:lnTo>
                    <a:pt x="2633" y="3310"/>
                  </a:lnTo>
                  <a:lnTo>
                    <a:pt x="2629" y="3312"/>
                  </a:lnTo>
                  <a:lnTo>
                    <a:pt x="2624" y="3314"/>
                  </a:lnTo>
                  <a:lnTo>
                    <a:pt x="2619" y="3315"/>
                  </a:lnTo>
                  <a:lnTo>
                    <a:pt x="2613" y="3316"/>
                  </a:lnTo>
                  <a:lnTo>
                    <a:pt x="2608" y="3316"/>
                  </a:lnTo>
                  <a:lnTo>
                    <a:pt x="2603" y="3315"/>
                  </a:lnTo>
                  <a:lnTo>
                    <a:pt x="2598" y="3314"/>
                  </a:lnTo>
                  <a:lnTo>
                    <a:pt x="2593" y="3313"/>
                  </a:lnTo>
                  <a:lnTo>
                    <a:pt x="2588" y="3311"/>
                  </a:lnTo>
                  <a:lnTo>
                    <a:pt x="2584" y="3308"/>
                  </a:lnTo>
                  <a:lnTo>
                    <a:pt x="2580" y="3305"/>
                  </a:lnTo>
                  <a:lnTo>
                    <a:pt x="2576" y="3302"/>
                  </a:lnTo>
                  <a:lnTo>
                    <a:pt x="2573" y="3297"/>
                  </a:lnTo>
                  <a:lnTo>
                    <a:pt x="2570" y="3292"/>
                  </a:lnTo>
                  <a:close/>
                  <a:moveTo>
                    <a:pt x="3494" y="1498"/>
                  </a:moveTo>
                  <a:lnTo>
                    <a:pt x="2227" y="1688"/>
                  </a:lnTo>
                  <a:lnTo>
                    <a:pt x="2222" y="1688"/>
                  </a:lnTo>
                  <a:lnTo>
                    <a:pt x="2216" y="1688"/>
                  </a:lnTo>
                  <a:lnTo>
                    <a:pt x="2211" y="1687"/>
                  </a:lnTo>
                  <a:lnTo>
                    <a:pt x="2206" y="1686"/>
                  </a:lnTo>
                  <a:lnTo>
                    <a:pt x="2202" y="1684"/>
                  </a:lnTo>
                  <a:lnTo>
                    <a:pt x="2198" y="1681"/>
                  </a:lnTo>
                  <a:lnTo>
                    <a:pt x="2194" y="1678"/>
                  </a:lnTo>
                  <a:lnTo>
                    <a:pt x="2190" y="1675"/>
                  </a:lnTo>
                  <a:lnTo>
                    <a:pt x="2187" y="1671"/>
                  </a:lnTo>
                  <a:lnTo>
                    <a:pt x="2183" y="1667"/>
                  </a:lnTo>
                  <a:lnTo>
                    <a:pt x="2181" y="1661"/>
                  </a:lnTo>
                  <a:lnTo>
                    <a:pt x="2179" y="1657"/>
                  </a:lnTo>
                  <a:lnTo>
                    <a:pt x="2177" y="1652"/>
                  </a:lnTo>
                  <a:lnTo>
                    <a:pt x="2176" y="1646"/>
                  </a:lnTo>
                  <a:lnTo>
                    <a:pt x="2176" y="1641"/>
                  </a:lnTo>
                  <a:lnTo>
                    <a:pt x="2176" y="1635"/>
                  </a:lnTo>
                  <a:lnTo>
                    <a:pt x="2213" y="959"/>
                  </a:lnTo>
                  <a:lnTo>
                    <a:pt x="2214" y="944"/>
                  </a:lnTo>
                  <a:lnTo>
                    <a:pt x="2217" y="929"/>
                  </a:lnTo>
                  <a:lnTo>
                    <a:pt x="2220" y="915"/>
                  </a:lnTo>
                  <a:lnTo>
                    <a:pt x="2224" y="903"/>
                  </a:lnTo>
                  <a:lnTo>
                    <a:pt x="2229" y="892"/>
                  </a:lnTo>
                  <a:lnTo>
                    <a:pt x="2235" y="881"/>
                  </a:lnTo>
                  <a:lnTo>
                    <a:pt x="2241" y="871"/>
                  </a:lnTo>
                  <a:lnTo>
                    <a:pt x="2250" y="862"/>
                  </a:lnTo>
                  <a:lnTo>
                    <a:pt x="2257" y="854"/>
                  </a:lnTo>
                  <a:lnTo>
                    <a:pt x="2266" y="847"/>
                  </a:lnTo>
                  <a:lnTo>
                    <a:pt x="2275" y="841"/>
                  </a:lnTo>
                  <a:lnTo>
                    <a:pt x="2285" y="836"/>
                  </a:lnTo>
                  <a:lnTo>
                    <a:pt x="2296" y="831"/>
                  </a:lnTo>
                  <a:lnTo>
                    <a:pt x="2307" y="827"/>
                  </a:lnTo>
                  <a:lnTo>
                    <a:pt x="2319" y="824"/>
                  </a:lnTo>
                  <a:lnTo>
                    <a:pt x="2331" y="822"/>
                  </a:lnTo>
                  <a:lnTo>
                    <a:pt x="3142" y="700"/>
                  </a:lnTo>
                  <a:lnTo>
                    <a:pt x="3154" y="699"/>
                  </a:lnTo>
                  <a:lnTo>
                    <a:pt x="3166" y="699"/>
                  </a:lnTo>
                  <a:lnTo>
                    <a:pt x="3177" y="699"/>
                  </a:lnTo>
                  <a:lnTo>
                    <a:pt x="3189" y="700"/>
                  </a:lnTo>
                  <a:lnTo>
                    <a:pt x="3200" y="702"/>
                  </a:lnTo>
                  <a:lnTo>
                    <a:pt x="3211" y="706"/>
                  </a:lnTo>
                  <a:lnTo>
                    <a:pt x="3222" y="710"/>
                  </a:lnTo>
                  <a:lnTo>
                    <a:pt x="3232" y="715"/>
                  </a:lnTo>
                  <a:lnTo>
                    <a:pt x="3241" y="721"/>
                  </a:lnTo>
                  <a:lnTo>
                    <a:pt x="3250" y="728"/>
                  </a:lnTo>
                  <a:lnTo>
                    <a:pt x="3259" y="737"/>
                  </a:lnTo>
                  <a:lnTo>
                    <a:pt x="3268" y="746"/>
                  </a:lnTo>
                  <a:lnTo>
                    <a:pt x="3275" y="758"/>
                  </a:lnTo>
                  <a:lnTo>
                    <a:pt x="3282" y="769"/>
                  </a:lnTo>
                  <a:lnTo>
                    <a:pt x="3289" y="782"/>
                  </a:lnTo>
                  <a:lnTo>
                    <a:pt x="3294" y="796"/>
                  </a:lnTo>
                  <a:lnTo>
                    <a:pt x="3529" y="1433"/>
                  </a:lnTo>
                  <a:lnTo>
                    <a:pt x="3530" y="1438"/>
                  </a:lnTo>
                  <a:lnTo>
                    <a:pt x="3531" y="1443"/>
                  </a:lnTo>
                  <a:lnTo>
                    <a:pt x="3532" y="1449"/>
                  </a:lnTo>
                  <a:lnTo>
                    <a:pt x="3532" y="1454"/>
                  </a:lnTo>
                  <a:lnTo>
                    <a:pt x="3531" y="1459"/>
                  </a:lnTo>
                  <a:lnTo>
                    <a:pt x="3530" y="1464"/>
                  </a:lnTo>
                  <a:lnTo>
                    <a:pt x="3529" y="1469"/>
                  </a:lnTo>
                  <a:lnTo>
                    <a:pt x="3527" y="1474"/>
                  </a:lnTo>
                  <a:lnTo>
                    <a:pt x="3525" y="1478"/>
                  </a:lnTo>
                  <a:lnTo>
                    <a:pt x="3522" y="1483"/>
                  </a:lnTo>
                  <a:lnTo>
                    <a:pt x="3518" y="1487"/>
                  </a:lnTo>
                  <a:lnTo>
                    <a:pt x="3515" y="1490"/>
                  </a:lnTo>
                  <a:lnTo>
                    <a:pt x="3510" y="1493"/>
                  </a:lnTo>
                  <a:lnTo>
                    <a:pt x="3506" y="1495"/>
                  </a:lnTo>
                  <a:lnTo>
                    <a:pt x="3501" y="1497"/>
                  </a:lnTo>
                  <a:lnTo>
                    <a:pt x="3494" y="1498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074589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Вертикальный заголовок и текст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3"/>
          <p:cNvSpPr>
            <a:spLocks noChangeAspect="1" noChangeArrowheads="1" noTextEdit="1"/>
          </p:cNvSpPr>
          <p:nvPr userDrawn="1"/>
        </p:nvSpPr>
        <p:spPr bwMode="auto">
          <a:xfrm>
            <a:off x="1910701" y="1639888"/>
            <a:ext cx="7995311" cy="521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Freeform 6"/>
          <p:cNvSpPr>
            <a:spLocks/>
          </p:cNvSpPr>
          <p:nvPr userDrawn="1"/>
        </p:nvSpPr>
        <p:spPr bwMode="auto">
          <a:xfrm>
            <a:off x="7334927" y="3109913"/>
            <a:ext cx="797983" cy="1746250"/>
          </a:xfrm>
          <a:custGeom>
            <a:avLst/>
            <a:gdLst>
              <a:gd name="T0" fmla="*/ 1858 w 1858"/>
              <a:gd name="T1" fmla="*/ 4402 h 4402"/>
              <a:gd name="T2" fmla="*/ 382 w 1858"/>
              <a:gd name="T3" fmla="*/ 3832 h 4402"/>
              <a:gd name="T4" fmla="*/ 353 w 1858"/>
              <a:gd name="T5" fmla="*/ 3820 h 4402"/>
              <a:gd name="T6" fmla="*/ 327 w 1858"/>
              <a:gd name="T7" fmla="*/ 3807 h 4402"/>
              <a:gd name="T8" fmla="*/ 300 w 1858"/>
              <a:gd name="T9" fmla="*/ 3794 h 4402"/>
              <a:gd name="T10" fmla="*/ 276 w 1858"/>
              <a:gd name="T11" fmla="*/ 3782 h 4402"/>
              <a:gd name="T12" fmla="*/ 251 w 1858"/>
              <a:gd name="T13" fmla="*/ 3768 h 4402"/>
              <a:gd name="T14" fmla="*/ 229 w 1858"/>
              <a:gd name="T15" fmla="*/ 3753 h 4402"/>
              <a:gd name="T16" fmla="*/ 207 w 1858"/>
              <a:gd name="T17" fmla="*/ 3737 h 4402"/>
              <a:gd name="T18" fmla="*/ 187 w 1858"/>
              <a:gd name="T19" fmla="*/ 3721 h 4402"/>
              <a:gd name="T20" fmla="*/ 167 w 1858"/>
              <a:gd name="T21" fmla="*/ 3705 h 4402"/>
              <a:gd name="T22" fmla="*/ 150 w 1858"/>
              <a:gd name="T23" fmla="*/ 3689 h 4402"/>
              <a:gd name="T24" fmla="*/ 133 w 1858"/>
              <a:gd name="T25" fmla="*/ 3671 h 4402"/>
              <a:gd name="T26" fmla="*/ 116 w 1858"/>
              <a:gd name="T27" fmla="*/ 3653 h 4402"/>
              <a:gd name="T28" fmla="*/ 101 w 1858"/>
              <a:gd name="T29" fmla="*/ 3635 h 4402"/>
              <a:gd name="T30" fmla="*/ 87 w 1858"/>
              <a:gd name="T31" fmla="*/ 3615 h 4402"/>
              <a:gd name="T32" fmla="*/ 74 w 1858"/>
              <a:gd name="T33" fmla="*/ 3597 h 4402"/>
              <a:gd name="T34" fmla="*/ 63 w 1858"/>
              <a:gd name="T35" fmla="*/ 3577 h 4402"/>
              <a:gd name="T36" fmla="*/ 52 w 1858"/>
              <a:gd name="T37" fmla="*/ 3557 h 4402"/>
              <a:gd name="T38" fmla="*/ 43 w 1858"/>
              <a:gd name="T39" fmla="*/ 3536 h 4402"/>
              <a:gd name="T40" fmla="*/ 34 w 1858"/>
              <a:gd name="T41" fmla="*/ 3515 h 4402"/>
              <a:gd name="T42" fmla="*/ 27 w 1858"/>
              <a:gd name="T43" fmla="*/ 3495 h 4402"/>
              <a:gd name="T44" fmla="*/ 20 w 1858"/>
              <a:gd name="T45" fmla="*/ 3472 h 4402"/>
              <a:gd name="T46" fmla="*/ 14 w 1858"/>
              <a:gd name="T47" fmla="*/ 3452 h 4402"/>
              <a:gd name="T48" fmla="*/ 9 w 1858"/>
              <a:gd name="T49" fmla="*/ 3429 h 4402"/>
              <a:gd name="T50" fmla="*/ 6 w 1858"/>
              <a:gd name="T51" fmla="*/ 3406 h 4402"/>
              <a:gd name="T52" fmla="*/ 4 w 1858"/>
              <a:gd name="T53" fmla="*/ 3384 h 4402"/>
              <a:gd name="T54" fmla="*/ 1 w 1858"/>
              <a:gd name="T55" fmla="*/ 3361 h 4402"/>
              <a:gd name="T56" fmla="*/ 0 w 1858"/>
              <a:gd name="T57" fmla="*/ 3338 h 4402"/>
              <a:gd name="T58" fmla="*/ 0 w 1858"/>
              <a:gd name="T59" fmla="*/ 3314 h 4402"/>
              <a:gd name="T60" fmla="*/ 1 w 1858"/>
              <a:gd name="T61" fmla="*/ 3291 h 4402"/>
              <a:gd name="T62" fmla="*/ 4 w 1858"/>
              <a:gd name="T63" fmla="*/ 3267 h 4402"/>
              <a:gd name="T64" fmla="*/ 6 w 1858"/>
              <a:gd name="T65" fmla="*/ 3243 h 4402"/>
              <a:gd name="T66" fmla="*/ 9 w 1858"/>
              <a:gd name="T67" fmla="*/ 3219 h 4402"/>
              <a:gd name="T68" fmla="*/ 546 w 1858"/>
              <a:gd name="T69" fmla="*/ 0 h 4402"/>
              <a:gd name="T70" fmla="*/ 518 w 1858"/>
              <a:gd name="T71" fmla="*/ 3019 h 4402"/>
              <a:gd name="T72" fmla="*/ 520 w 1858"/>
              <a:gd name="T73" fmla="*/ 3047 h 4402"/>
              <a:gd name="T74" fmla="*/ 521 w 1858"/>
              <a:gd name="T75" fmla="*/ 3076 h 4402"/>
              <a:gd name="T76" fmla="*/ 524 w 1858"/>
              <a:gd name="T77" fmla="*/ 3104 h 4402"/>
              <a:gd name="T78" fmla="*/ 529 w 1858"/>
              <a:gd name="T79" fmla="*/ 3132 h 4402"/>
              <a:gd name="T80" fmla="*/ 535 w 1858"/>
              <a:gd name="T81" fmla="*/ 3161 h 4402"/>
              <a:gd name="T82" fmla="*/ 542 w 1858"/>
              <a:gd name="T83" fmla="*/ 3189 h 4402"/>
              <a:gd name="T84" fmla="*/ 550 w 1858"/>
              <a:gd name="T85" fmla="*/ 3217 h 4402"/>
              <a:gd name="T86" fmla="*/ 560 w 1858"/>
              <a:gd name="T87" fmla="*/ 3245 h 4402"/>
              <a:gd name="T88" fmla="*/ 571 w 1858"/>
              <a:gd name="T89" fmla="*/ 3270 h 4402"/>
              <a:gd name="T90" fmla="*/ 584 w 1858"/>
              <a:gd name="T91" fmla="*/ 3297 h 4402"/>
              <a:gd name="T92" fmla="*/ 597 w 1858"/>
              <a:gd name="T93" fmla="*/ 3321 h 4402"/>
              <a:gd name="T94" fmla="*/ 613 w 1858"/>
              <a:gd name="T95" fmla="*/ 3346 h 4402"/>
              <a:gd name="T96" fmla="*/ 629 w 1858"/>
              <a:gd name="T97" fmla="*/ 3369 h 4402"/>
              <a:gd name="T98" fmla="*/ 647 w 1858"/>
              <a:gd name="T99" fmla="*/ 3390 h 4402"/>
              <a:gd name="T100" fmla="*/ 666 w 1858"/>
              <a:gd name="T101" fmla="*/ 3410 h 4402"/>
              <a:gd name="T102" fmla="*/ 687 w 1858"/>
              <a:gd name="T103" fmla="*/ 3428 h 4402"/>
              <a:gd name="T104" fmla="*/ 1858 w 1858"/>
              <a:gd name="T105" fmla="*/ 4402 h 44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858" h="4402">
                <a:moveTo>
                  <a:pt x="1858" y="4402"/>
                </a:moveTo>
                <a:lnTo>
                  <a:pt x="382" y="3832"/>
                </a:lnTo>
                <a:lnTo>
                  <a:pt x="353" y="3820"/>
                </a:lnTo>
                <a:lnTo>
                  <a:pt x="327" y="3807"/>
                </a:lnTo>
                <a:lnTo>
                  <a:pt x="300" y="3794"/>
                </a:lnTo>
                <a:lnTo>
                  <a:pt x="276" y="3782"/>
                </a:lnTo>
                <a:lnTo>
                  <a:pt x="251" y="3768"/>
                </a:lnTo>
                <a:lnTo>
                  <a:pt x="229" y="3753"/>
                </a:lnTo>
                <a:lnTo>
                  <a:pt x="207" y="3737"/>
                </a:lnTo>
                <a:lnTo>
                  <a:pt x="187" y="3721"/>
                </a:lnTo>
                <a:lnTo>
                  <a:pt x="167" y="3705"/>
                </a:lnTo>
                <a:lnTo>
                  <a:pt x="150" y="3689"/>
                </a:lnTo>
                <a:lnTo>
                  <a:pt x="133" y="3671"/>
                </a:lnTo>
                <a:lnTo>
                  <a:pt x="116" y="3653"/>
                </a:lnTo>
                <a:lnTo>
                  <a:pt x="101" y="3635"/>
                </a:lnTo>
                <a:lnTo>
                  <a:pt x="87" y="3615"/>
                </a:lnTo>
                <a:lnTo>
                  <a:pt x="74" y="3597"/>
                </a:lnTo>
                <a:lnTo>
                  <a:pt x="63" y="3577"/>
                </a:lnTo>
                <a:lnTo>
                  <a:pt x="52" y="3557"/>
                </a:lnTo>
                <a:lnTo>
                  <a:pt x="43" y="3536"/>
                </a:lnTo>
                <a:lnTo>
                  <a:pt x="34" y="3515"/>
                </a:lnTo>
                <a:lnTo>
                  <a:pt x="27" y="3495"/>
                </a:lnTo>
                <a:lnTo>
                  <a:pt x="20" y="3472"/>
                </a:lnTo>
                <a:lnTo>
                  <a:pt x="14" y="3452"/>
                </a:lnTo>
                <a:lnTo>
                  <a:pt x="9" y="3429"/>
                </a:lnTo>
                <a:lnTo>
                  <a:pt x="6" y="3406"/>
                </a:lnTo>
                <a:lnTo>
                  <a:pt x="4" y="3384"/>
                </a:lnTo>
                <a:lnTo>
                  <a:pt x="1" y="3361"/>
                </a:lnTo>
                <a:lnTo>
                  <a:pt x="0" y="3338"/>
                </a:lnTo>
                <a:lnTo>
                  <a:pt x="0" y="3314"/>
                </a:lnTo>
                <a:lnTo>
                  <a:pt x="1" y="3291"/>
                </a:lnTo>
                <a:lnTo>
                  <a:pt x="4" y="3267"/>
                </a:lnTo>
                <a:lnTo>
                  <a:pt x="6" y="3243"/>
                </a:lnTo>
                <a:lnTo>
                  <a:pt x="9" y="3219"/>
                </a:lnTo>
                <a:lnTo>
                  <a:pt x="546" y="0"/>
                </a:lnTo>
                <a:lnTo>
                  <a:pt x="518" y="3019"/>
                </a:lnTo>
                <a:lnTo>
                  <a:pt x="520" y="3047"/>
                </a:lnTo>
                <a:lnTo>
                  <a:pt x="521" y="3076"/>
                </a:lnTo>
                <a:lnTo>
                  <a:pt x="524" y="3104"/>
                </a:lnTo>
                <a:lnTo>
                  <a:pt x="529" y="3132"/>
                </a:lnTo>
                <a:lnTo>
                  <a:pt x="535" y="3161"/>
                </a:lnTo>
                <a:lnTo>
                  <a:pt x="542" y="3189"/>
                </a:lnTo>
                <a:lnTo>
                  <a:pt x="550" y="3217"/>
                </a:lnTo>
                <a:lnTo>
                  <a:pt x="560" y="3245"/>
                </a:lnTo>
                <a:lnTo>
                  <a:pt x="571" y="3270"/>
                </a:lnTo>
                <a:lnTo>
                  <a:pt x="584" y="3297"/>
                </a:lnTo>
                <a:lnTo>
                  <a:pt x="597" y="3321"/>
                </a:lnTo>
                <a:lnTo>
                  <a:pt x="613" y="3346"/>
                </a:lnTo>
                <a:lnTo>
                  <a:pt x="629" y="3369"/>
                </a:lnTo>
                <a:lnTo>
                  <a:pt x="647" y="3390"/>
                </a:lnTo>
                <a:lnTo>
                  <a:pt x="666" y="3410"/>
                </a:lnTo>
                <a:lnTo>
                  <a:pt x="687" y="3428"/>
                </a:lnTo>
                <a:lnTo>
                  <a:pt x="1858" y="4402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Freeform 8"/>
          <p:cNvSpPr>
            <a:spLocks/>
          </p:cNvSpPr>
          <p:nvPr userDrawn="1"/>
        </p:nvSpPr>
        <p:spPr bwMode="auto">
          <a:xfrm>
            <a:off x="9257730" y="4125913"/>
            <a:ext cx="648361" cy="900112"/>
          </a:xfrm>
          <a:custGeom>
            <a:avLst/>
            <a:gdLst>
              <a:gd name="T0" fmla="*/ 0 w 1507"/>
              <a:gd name="T1" fmla="*/ 2267 h 2267"/>
              <a:gd name="T2" fmla="*/ 87 w 1507"/>
              <a:gd name="T3" fmla="*/ 687 h 2267"/>
              <a:gd name="T4" fmla="*/ 88 w 1507"/>
              <a:gd name="T5" fmla="*/ 656 h 2267"/>
              <a:gd name="T6" fmla="*/ 91 w 1507"/>
              <a:gd name="T7" fmla="*/ 626 h 2267"/>
              <a:gd name="T8" fmla="*/ 96 w 1507"/>
              <a:gd name="T9" fmla="*/ 598 h 2267"/>
              <a:gd name="T10" fmla="*/ 101 w 1507"/>
              <a:gd name="T11" fmla="*/ 570 h 2267"/>
              <a:gd name="T12" fmla="*/ 106 w 1507"/>
              <a:gd name="T13" fmla="*/ 542 h 2267"/>
              <a:gd name="T14" fmla="*/ 113 w 1507"/>
              <a:gd name="T15" fmla="*/ 516 h 2267"/>
              <a:gd name="T16" fmla="*/ 122 w 1507"/>
              <a:gd name="T17" fmla="*/ 491 h 2267"/>
              <a:gd name="T18" fmla="*/ 131 w 1507"/>
              <a:gd name="T19" fmla="*/ 466 h 2267"/>
              <a:gd name="T20" fmla="*/ 140 w 1507"/>
              <a:gd name="T21" fmla="*/ 443 h 2267"/>
              <a:gd name="T22" fmla="*/ 151 w 1507"/>
              <a:gd name="T23" fmla="*/ 421 h 2267"/>
              <a:gd name="T24" fmla="*/ 162 w 1507"/>
              <a:gd name="T25" fmla="*/ 399 h 2267"/>
              <a:gd name="T26" fmla="*/ 174 w 1507"/>
              <a:gd name="T27" fmla="*/ 378 h 2267"/>
              <a:gd name="T28" fmla="*/ 187 w 1507"/>
              <a:gd name="T29" fmla="*/ 358 h 2267"/>
              <a:gd name="T30" fmla="*/ 201 w 1507"/>
              <a:gd name="T31" fmla="*/ 340 h 2267"/>
              <a:gd name="T32" fmla="*/ 215 w 1507"/>
              <a:gd name="T33" fmla="*/ 322 h 2267"/>
              <a:gd name="T34" fmla="*/ 230 w 1507"/>
              <a:gd name="T35" fmla="*/ 305 h 2267"/>
              <a:gd name="T36" fmla="*/ 246 w 1507"/>
              <a:gd name="T37" fmla="*/ 289 h 2267"/>
              <a:gd name="T38" fmla="*/ 262 w 1507"/>
              <a:gd name="T39" fmla="*/ 272 h 2267"/>
              <a:gd name="T40" fmla="*/ 279 w 1507"/>
              <a:gd name="T41" fmla="*/ 258 h 2267"/>
              <a:gd name="T42" fmla="*/ 297 w 1507"/>
              <a:gd name="T43" fmla="*/ 244 h 2267"/>
              <a:gd name="T44" fmla="*/ 316 w 1507"/>
              <a:gd name="T45" fmla="*/ 232 h 2267"/>
              <a:gd name="T46" fmla="*/ 334 w 1507"/>
              <a:gd name="T47" fmla="*/ 219 h 2267"/>
              <a:gd name="T48" fmla="*/ 354 w 1507"/>
              <a:gd name="T49" fmla="*/ 208 h 2267"/>
              <a:gd name="T50" fmla="*/ 374 w 1507"/>
              <a:gd name="T51" fmla="*/ 198 h 2267"/>
              <a:gd name="T52" fmla="*/ 395 w 1507"/>
              <a:gd name="T53" fmla="*/ 188 h 2267"/>
              <a:gd name="T54" fmla="*/ 416 w 1507"/>
              <a:gd name="T55" fmla="*/ 179 h 2267"/>
              <a:gd name="T56" fmla="*/ 438 w 1507"/>
              <a:gd name="T57" fmla="*/ 171 h 2267"/>
              <a:gd name="T58" fmla="*/ 460 w 1507"/>
              <a:gd name="T59" fmla="*/ 164 h 2267"/>
              <a:gd name="T60" fmla="*/ 483 w 1507"/>
              <a:gd name="T61" fmla="*/ 157 h 2267"/>
              <a:gd name="T62" fmla="*/ 506 w 1507"/>
              <a:gd name="T63" fmla="*/ 152 h 2267"/>
              <a:gd name="T64" fmla="*/ 530 w 1507"/>
              <a:gd name="T65" fmla="*/ 147 h 2267"/>
              <a:gd name="T66" fmla="*/ 554 w 1507"/>
              <a:gd name="T67" fmla="*/ 143 h 2267"/>
              <a:gd name="T68" fmla="*/ 1507 w 1507"/>
              <a:gd name="T69" fmla="*/ 0 h 2267"/>
              <a:gd name="T70" fmla="*/ 1507 w 1507"/>
              <a:gd name="T71" fmla="*/ 375 h 2267"/>
              <a:gd name="T72" fmla="*/ 900 w 1507"/>
              <a:gd name="T73" fmla="*/ 565 h 2267"/>
              <a:gd name="T74" fmla="*/ 875 w 1507"/>
              <a:gd name="T75" fmla="*/ 575 h 2267"/>
              <a:gd name="T76" fmla="*/ 848 w 1507"/>
              <a:gd name="T77" fmla="*/ 585 h 2267"/>
              <a:gd name="T78" fmla="*/ 822 w 1507"/>
              <a:gd name="T79" fmla="*/ 597 h 2267"/>
              <a:gd name="T80" fmla="*/ 796 w 1507"/>
              <a:gd name="T81" fmla="*/ 609 h 2267"/>
              <a:gd name="T82" fmla="*/ 771 w 1507"/>
              <a:gd name="T83" fmla="*/ 625 h 2267"/>
              <a:gd name="T84" fmla="*/ 747 w 1507"/>
              <a:gd name="T85" fmla="*/ 640 h 2267"/>
              <a:gd name="T86" fmla="*/ 722 w 1507"/>
              <a:gd name="T87" fmla="*/ 656 h 2267"/>
              <a:gd name="T88" fmla="*/ 699 w 1507"/>
              <a:gd name="T89" fmla="*/ 675 h 2267"/>
              <a:gd name="T90" fmla="*/ 678 w 1507"/>
              <a:gd name="T91" fmla="*/ 693 h 2267"/>
              <a:gd name="T92" fmla="*/ 657 w 1507"/>
              <a:gd name="T93" fmla="*/ 713 h 2267"/>
              <a:gd name="T94" fmla="*/ 638 w 1507"/>
              <a:gd name="T95" fmla="*/ 734 h 2267"/>
              <a:gd name="T96" fmla="*/ 619 w 1507"/>
              <a:gd name="T97" fmla="*/ 756 h 2267"/>
              <a:gd name="T98" fmla="*/ 603 w 1507"/>
              <a:gd name="T99" fmla="*/ 779 h 2267"/>
              <a:gd name="T100" fmla="*/ 588 w 1507"/>
              <a:gd name="T101" fmla="*/ 802 h 2267"/>
              <a:gd name="T102" fmla="*/ 575 w 1507"/>
              <a:gd name="T103" fmla="*/ 827 h 2267"/>
              <a:gd name="T104" fmla="*/ 563 w 1507"/>
              <a:gd name="T105" fmla="*/ 852 h 2267"/>
              <a:gd name="T106" fmla="*/ 0 w 1507"/>
              <a:gd name="T107" fmla="*/ 2267 h 22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507" h="2267">
                <a:moveTo>
                  <a:pt x="0" y="2267"/>
                </a:moveTo>
                <a:lnTo>
                  <a:pt x="87" y="687"/>
                </a:lnTo>
                <a:lnTo>
                  <a:pt x="88" y="656"/>
                </a:lnTo>
                <a:lnTo>
                  <a:pt x="91" y="626"/>
                </a:lnTo>
                <a:lnTo>
                  <a:pt x="96" y="598"/>
                </a:lnTo>
                <a:lnTo>
                  <a:pt x="101" y="570"/>
                </a:lnTo>
                <a:lnTo>
                  <a:pt x="106" y="542"/>
                </a:lnTo>
                <a:lnTo>
                  <a:pt x="113" y="516"/>
                </a:lnTo>
                <a:lnTo>
                  <a:pt x="122" y="491"/>
                </a:lnTo>
                <a:lnTo>
                  <a:pt x="131" y="466"/>
                </a:lnTo>
                <a:lnTo>
                  <a:pt x="140" y="443"/>
                </a:lnTo>
                <a:lnTo>
                  <a:pt x="151" y="421"/>
                </a:lnTo>
                <a:lnTo>
                  <a:pt x="162" y="399"/>
                </a:lnTo>
                <a:lnTo>
                  <a:pt x="174" y="378"/>
                </a:lnTo>
                <a:lnTo>
                  <a:pt x="187" y="358"/>
                </a:lnTo>
                <a:lnTo>
                  <a:pt x="201" y="340"/>
                </a:lnTo>
                <a:lnTo>
                  <a:pt x="215" y="322"/>
                </a:lnTo>
                <a:lnTo>
                  <a:pt x="230" y="305"/>
                </a:lnTo>
                <a:lnTo>
                  <a:pt x="246" y="289"/>
                </a:lnTo>
                <a:lnTo>
                  <a:pt x="262" y="272"/>
                </a:lnTo>
                <a:lnTo>
                  <a:pt x="279" y="258"/>
                </a:lnTo>
                <a:lnTo>
                  <a:pt x="297" y="244"/>
                </a:lnTo>
                <a:lnTo>
                  <a:pt x="316" y="232"/>
                </a:lnTo>
                <a:lnTo>
                  <a:pt x="334" y="219"/>
                </a:lnTo>
                <a:lnTo>
                  <a:pt x="354" y="208"/>
                </a:lnTo>
                <a:lnTo>
                  <a:pt x="374" y="198"/>
                </a:lnTo>
                <a:lnTo>
                  <a:pt x="395" y="188"/>
                </a:lnTo>
                <a:lnTo>
                  <a:pt x="416" y="179"/>
                </a:lnTo>
                <a:lnTo>
                  <a:pt x="438" y="171"/>
                </a:lnTo>
                <a:lnTo>
                  <a:pt x="460" y="164"/>
                </a:lnTo>
                <a:lnTo>
                  <a:pt x="483" y="157"/>
                </a:lnTo>
                <a:lnTo>
                  <a:pt x="506" y="152"/>
                </a:lnTo>
                <a:lnTo>
                  <a:pt x="530" y="147"/>
                </a:lnTo>
                <a:lnTo>
                  <a:pt x="554" y="143"/>
                </a:lnTo>
                <a:lnTo>
                  <a:pt x="1507" y="0"/>
                </a:lnTo>
                <a:lnTo>
                  <a:pt x="1507" y="375"/>
                </a:lnTo>
                <a:lnTo>
                  <a:pt x="900" y="565"/>
                </a:lnTo>
                <a:lnTo>
                  <a:pt x="875" y="575"/>
                </a:lnTo>
                <a:lnTo>
                  <a:pt x="848" y="585"/>
                </a:lnTo>
                <a:lnTo>
                  <a:pt x="822" y="597"/>
                </a:lnTo>
                <a:lnTo>
                  <a:pt x="796" y="609"/>
                </a:lnTo>
                <a:lnTo>
                  <a:pt x="771" y="625"/>
                </a:lnTo>
                <a:lnTo>
                  <a:pt x="747" y="640"/>
                </a:lnTo>
                <a:lnTo>
                  <a:pt x="722" y="656"/>
                </a:lnTo>
                <a:lnTo>
                  <a:pt x="699" y="675"/>
                </a:lnTo>
                <a:lnTo>
                  <a:pt x="678" y="693"/>
                </a:lnTo>
                <a:lnTo>
                  <a:pt x="657" y="713"/>
                </a:lnTo>
                <a:lnTo>
                  <a:pt x="638" y="734"/>
                </a:lnTo>
                <a:lnTo>
                  <a:pt x="619" y="756"/>
                </a:lnTo>
                <a:lnTo>
                  <a:pt x="603" y="779"/>
                </a:lnTo>
                <a:lnTo>
                  <a:pt x="588" y="802"/>
                </a:lnTo>
                <a:lnTo>
                  <a:pt x="575" y="827"/>
                </a:lnTo>
                <a:lnTo>
                  <a:pt x="563" y="852"/>
                </a:lnTo>
                <a:lnTo>
                  <a:pt x="0" y="2267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1" name="Freeform 10"/>
          <p:cNvSpPr>
            <a:spLocks/>
          </p:cNvSpPr>
          <p:nvPr userDrawn="1"/>
        </p:nvSpPr>
        <p:spPr bwMode="auto">
          <a:xfrm>
            <a:off x="9433058" y="5940425"/>
            <a:ext cx="472942" cy="144462"/>
          </a:xfrm>
          <a:custGeom>
            <a:avLst/>
            <a:gdLst>
              <a:gd name="T0" fmla="*/ 0 w 1098"/>
              <a:gd name="T1" fmla="*/ 298 h 363"/>
              <a:gd name="T2" fmla="*/ 1098 w 1098"/>
              <a:gd name="T3" fmla="*/ 0 h 363"/>
              <a:gd name="T4" fmla="*/ 1098 w 1098"/>
              <a:gd name="T5" fmla="*/ 363 h 363"/>
              <a:gd name="T6" fmla="*/ 0 w 1098"/>
              <a:gd name="T7" fmla="*/ 298 h 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98" h="363">
                <a:moveTo>
                  <a:pt x="0" y="298"/>
                </a:moveTo>
                <a:lnTo>
                  <a:pt x="1098" y="0"/>
                </a:lnTo>
                <a:lnTo>
                  <a:pt x="1098" y="363"/>
                </a:lnTo>
                <a:lnTo>
                  <a:pt x="0" y="298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3" name="Freeform 12"/>
          <p:cNvSpPr>
            <a:spLocks/>
          </p:cNvSpPr>
          <p:nvPr userDrawn="1"/>
        </p:nvSpPr>
        <p:spPr bwMode="auto">
          <a:xfrm>
            <a:off x="8415032" y="6537494"/>
            <a:ext cx="223573" cy="320675"/>
          </a:xfrm>
          <a:custGeom>
            <a:avLst/>
            <a:gdLst>
              <a:gd name="T0" fmla="*/ 0 w 520"/>
              <a:gd name="T1" fmla="*/ 0 h 807"/>
              <a:gd name="T2" fmla="*/ 520 w 520"/>
              <a:gd name="T3" fmla="*/ 807 h 807"/>
              <a:gd name="T4" fmla="*/ 205 w 520"/>
              <a:gd name="T5" fmla="*/ 807 h 807"/>
              <a:gd name="T6" fmla="*/ 0 w 520"/>
              <a:gd name="T7" fmla="*/ 0 h 8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20" h="807">
                <a:moveTo>
                  <a:pt x="0" y="0"/>
                </a:moveTo>
                <a:lnTo>
                  <a:pt x="520" y="807"/>
                </a:lnTo>
                <a:lnTo>
                  <a:pt x="205" y="807"/>
                </a:lnTo>
                <a:lnTo>
                  <a:pt x="0" y="0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5" name="Freeform 14"/>
          <p:cNvSpPr>
            <a:spLocks/>
          </p:cNvSpPr>
          <p:nvPr userDrawn="1"/>
        </p:nvSpPr>
        <p:spPr bwMode="auto">
          <a:xfrm>
            <a:off x="5637492" y="5753100"/>
            <a:ext cx="1974321" cy="620712"/>
          </a:xfrm>
          <a:custGeom>
            <a:avLst/>
            <a:gdLst>
              <a:gd name="T0" fmla="*/ 4593 w 4593"/>
              <a:gd name="T1" fmla="*/ 102 h 1567"/>
              <a:gd name="T2" fmla="*/ 3597 w 4593"/>
              <a:gd name="T3" fmla="*/ 1332 h 1567"/>
              <a:gd name="T4" fmla="*/ 3577 w 4593"/>
              <a:gd name="T5" fmla="*/ 1355 h 1567"/>
              <a:gd name="T6" fmla="*/ 3558 w 4593"/>
              <a:gd name="T7" fmla="*/ 1379 h 1567"/>
              <a:gd name="T8" fmla="*/ 3538 w 4593"/>
              <a:gd name="T9" fmla="*/ 1399 h 1567"/>
              <a:gd name="T10" fmla="*/ 3517 w 4593"/>
              <a:gd name="T11" fmla="*/ 1418 h 1567"/>
              <a:gd name="T12" fmla="*/ 3496 w 4593"/>
              <a:gd name="T13" fmla="*/ 1437 h 1567"/>
              <a:gd name="T14" fmla="*/ 3475 w 4593"/>
              <a:gd name="T15" fmla="*/ 1454 h 1567"/>
              <a:gd name="T16" fmla="*/ 3454 w 4593"/>
              <a:gd name="T17" fmla="*/ 1470 h 1567"/>
              <a:gd name="T18" fmla="*/ 3433 w 4593"/>
              <a:gd name="T19" fmla="*/ 1484 h 1567"/>
              <a:gd name="T20" fmla="*/ 3411 w 4593"/>
              <a:gd name="T21" fmla="*/ 1498 h 1567"/>
              <a:gd name="T22" fmla="*/ 3390 w 4593"/>
              <a:gd name="T23" fmla="*/ 1510 h 1567"/>
              <a:gd name="T24" fmla="*/ 3368 w 4593"/>
              <a:gd name="T25" fmla="*/ 1520 h 1567"/>
              <a:gd name="T26" fmla="*/ 3346 w 4593"/>
              <a:gd name="T27" fmla="*/ 1531 h 1567"/>
              <a:gd name="T28" fmla="*/ 3324 w 4593"/>
              <a:gd name="T29" fmla="*/ 1539 h 1567"/>
              <a:gd name="T30" fmla="*/ 3302 w 4593"/>
              <a:gd name="T31" fmla="*/ 1546 h 1567"/>
              <a:gd name="T32" fmla="*/ 3280 w 4593"/>
              <a:gd name="T33" fmla="*/ 1553 h 1567"/>
              <a:gd name="T34" fmla="*/ 3258 w 4593"/>
              <a:gd name="T35" fmla="*/ 1558 h 1567"/>
              <a:gd name="T36" fmla="*/ 3236 w 4593"/>
              <a:gd name="T37" fmla="*/ 1562 h 1567"/>
              <a:gd name="T38" fmla="*/ 3212 w 4593"/>
              <a:gd name="T39" fmla="*/ 1565 h 1567"/>
              <a:gd name="T40" fmla="*/ 3190 w 4593"/>
              <a:gd name="T41" fmla="*/ 1567 h 1567"/>
              <a:gd name="T42" fmla="*/ 3168 w 4593"/>
              <a:gd name="T43" fmla="*/ 1567 h 1567"/>
              <a:gd name="T44" fmla="*/ 3145 w 4593"/>
              <a:gd name="T45" fmla="*/ 1567 h 1567"/>
              <a:gd name="T46" fmla="*/ 3123 w 4593"/>
              <a:gd name="T47" fmla="*/ 1566 h 1567"/>
              <a:gd name="T48" fmla="*/ 3101 w 4593"/>
              <a:gd name="T49" fmla="*/ 1563 h 1567"/>
              <a:gd name="T50" fmla="*/ 3078 w 4593"/>
              <a:gd name="T51" fmla="*/ 1560 h 1567"/>
              <a:gd name="T52" fmla="*/ 3055 w 4593"/>
              <a:gd name="T53" fmla="*/ 1555 h 1567"/>
              <a:gd name="T54" fmla="*/ 3033 w 4593"/>
              <a:gd name="T55" fmla="*/ 1551 h 1567"/>
              <a:gd name="T56" fmla="*/ 3010 w 4593"/>
              <a:gd name="T57" fmla="*/ 1544 h 1567"/>
              <a:gd name="T58" fmla="*/ 2988 w 4593"/>
              <a:gd name="T59" fmla="*/ 1537 h 1567"/>
              <a:gd name="T60" fmla="*/ 2966 w 4593"/>
              <a:gd name="T61" fmla="*/ 1528 h 1567"/>
              <a:gd name="T62" fmla="*/ 2944 w 4593"/>
              <a:gd name="T63" fmla="*/ 1519 h 1567"/>
              <a:gd name="T64" fmla="*/ 2922 w 4593"/>
              <a:gd name="T65" fmla="*/ 1510 h 1567"/>
              <a:gd name="T66" fmla="*/ 2900 w 4593"/>
              <a:gd name="T67" fmla="*/ 1499 h 1567"/>
              <a:gd name="T68" fmla="*/ 0 w 4593"/>
              <a:gd name="T69" fmla="*/ 0 h 1567"/>
              <a:gd name="T70" fmla="*/ 2867 w 4593"/>
              <a:gd name="T71" fmla="*/ 953 h 1567"/>
              <a:gd name="T72" fmla="*/ 2893 w 4593"/>
              <a:gd name="T73" fmla="*/ 961 h 1567"/>
              <a:gd name="T74" fmla="*/ 2921 w 4593"/>
              <a:gd name="T75" fmla="*/ 968 h 1567"/>
              <a:gd name="T76" fmla="*/ 2949 w 4593"/>
              <a:gd name="T77" fmla="*/ 974 h 1567"/>
              <a:gd name="T78" fmla="*/ 2978 w 4593"/>
              <a:gd name="T79" fmla="*/ 979 h 1567"/>
              <a:gd name="T80" fmla="*/ 3005 w 4593"/>
              <a:gd name="T81" fmla="*/ 981 h 1567"/>
              <a:gd name="T82" fmla="*/ 3035 w 4593"/>
              <a:gd name="T83" fmla="*/ 983 h 1567"/>
              <a:gd name="T84" fmla="*/ 3064 w 4593"/>
              <a:gd name="T85" fmla="*/ 983 h 1567"/>
              <a:gd name="T86" fmla="*/ 3093 w 4593"/>
              <a:gd name="T87" fmla="*/ 983 h 1567"/>
              <a:gd name="T88" fmla="*/ 3122 w 4593"/>
              <a:gd name="T89" fmla="*/ 980 h 1567"/>
              <a:gd name="T90" fmla="*/ 3151 w 4593"/>
              <a:gd name="T91" fmla="*/ 976 h 1567"/>
              <a:gd name="T92" fmla="*/ 3179 w 4593"/>
              <a:gd name="T93" fmla="*/ 971 h 1567"/>
              <a:gd name="T94" fmla="*/ 3207 w 4593"/>
              <a:gd name="T95" fmla="*/ 964 h 1567"/>
              <a:gd name="T96" fmla="*/ 3233 w 4593"/>
              <a:gd name="T97" fmla="*/ 956 h 1567"/>
              <a:gd name="T98" fmla="*/ 3259 w 4593"/>
              <a:gd name="T99" fmla="*/ 945 h 1567"/>
              <a:gd name="T100" fmla="*/ 3283 w 4593"/>
              <a:gd name="T101" fmla="*/ 932 h 1567"/>
              <a:gd name="T102" fmla="*/ 3308 w 4593"/>
              <a:gd name="T103" fmla="*/ 918 h 1567"/>
              <a:gd name="T104" fmla="*/ 4593 w 4593"/>
              <a:gd name="T105" fmla="*/ 102 h 15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593" h="1567">
                <a:moveTo>
                  <a:pt x="4593" y="102"/>
                </a:moveTo>
                <a:lnTo>
                  <a:pt x="3597" y="1332"/>
                </a:lnTo>
                <a:lnTo>
                  <a:pt x="3577" y="1355"/>
                </a:lnTo>
                <a:lnTo>
                  <a:pt x="3558" y="1379"/>
                </a:lnTo>
                <a:lnTo>
                  <a:pt x="3538" y="1399"/>
                </a:lnTo>
                <a:lnTo>
                  <a:pt x="3517" y="1418"/>
                </a:lnTo>
                <a:lnTo>
                  <a:pt x="3496" y="1437"/>
                </a:lnTo>
                <a:lnTo>
                  <a:pt x="3475" y="1454"/>
                </a:lnTo>
                <a:lnTo>
                  <a:pt x="3454" y="1470"/>
                </a:lnTo>
                <a:lnTo>
                  <a:pt x="3433" y="1484"/>
                </a:lnTo>
                <a:lnTo>
                  <a:pt x="3411" y="1498"/>
                </a:lnTo>
                <a:lnTo>
                  <a:pt x="3390" y="1510"/>
                </a:lnTo>
                <a:lnTo>
                  <a:pt x="3368" y="1520"/>
                </a:lnTo>
                <a:lnTo>
                  <a:pt x="3346" y="1531"/>
                </a:lnTo>
                <a:lnTo>
                  <a:pt x="3324" y="1539"/>
                </a:lnTo>
                <a:lnTo>
                  <a:pt x="3302" y="1546"/>
                </a:lnTo>
                <a:lnTo>
                  <a:pt x="3280" y="1553"/>
                </a:lnTo>
                <a:lnTo>
                  <a:pt x="3258" y="1558"/>
                </a:lnTo>
                <a:lnTo>
                  <a:pt x="3236" y="1562"/>
                </a:lnTo>
                <a:lnTo>
                  <a:pt x="3212" y="1565"/>
                </a:lnTo>
                <a:lnTo>
                  <a:pt x="3190" y="1567"/>
                </a:lnTo>
                <a:lnTo>
                  <a:pt x="3168" y="1567"/>
                </a:lnTo>
                <a:lnTo>
                  <a:pt x="3145" y="1567"/>
                </a:lnTo>
                <a:lnTo>
                  <a:pt x="3123" y="1566"/>
                </a:lnTo>
                <a:lnTo>
                  <a:pt x="3101" y="1563"/>
                </a:lnTo>
                <a:lnTo>
                  <a:pt x="3078" y="1560"/>
                </a:lnTo>
                <a:lnTo>
                  <a:pt x="3055" y="1555"/>
                </a:lnTo>
                <a:lnTo>
                  <a:pt x="3033" y="1551"/>
                </a:lnTo>
                <a:lnTo>
                  <a:pt x="3010" y="1544"/>
                </a:lnTo>
                <a:lnTo>
                  <a:pt x="2988" y="1537"/>
                </a:lnTo>
                <a:lnTo>
                  <a:pt x="2966" y="1528"/>
                </a:lnTo>
                <a:lnTo>
                  <a:pt x="2944" y="1519"/>
                </a:lnTo>
                <a:lnTo>
                  <a:pt x="2922" y="1510"/>
                </a:lnTo>
                <a:lnTo>
                  <a:pt x="2900" y="1499"/>
                </a:lnTo>
                <a:lnTo>
                  <a:pt x="0" y="0"/>
                </a:lnTo>
                <a:lnTo>
                  <a:pt x="2867" y="953"/>
                </a:lnTo>
                <a:lnTo>
                  <a:pt x="2893" y="961"/>
                </a:lnTo>
                <a:lnTo>
                  <a:pt x="2921" y="968"/>
                </a:lnTo>
                <a:lnTo>
                  <a:pt x="2949" y="974"/>
                </a:lnTo>
                <a:lnTo>
                  <a:pt x="2978" y="979"/>
                </a:lnTo>
                <a:lnTo>
                  <a:pt x="3005" y="981"/>
                </a:lnTo>
                <a:lnTo>
                  <a:pt x="3035" y="983"/>
                </a:lnTo>
                <a:lnTo>
                  <a:pt x="3064" y="983"/>
                </a:lnTo>
                <a:lnTo>
                  <a:pt x="3093" y="983"/>
                </a:lnTo>
                <a:lnTo>
                  <a:pt x="3122" y="980"/>
                </a:lnTo>
                <a:lnTo>
                  <a:pt x="3151" y="976"/>
                </a:lnTo>
                <a:lnTo>
                  <a:pt x="3179" y="971"/>
                </a:lnTo>
                <a:lnTo>
                  <a:pt x="3207" y="964"/>
                </a:lnTo>
                <a:lnTo>
                  <a:pt x="3233" y="956"/>
                </a:lnTo>
                <a:lnTo>
                  <a:pt x="3259" y="945"/>
                </a:lnTo>
                <a:lnTo>
                  <a:pt x="3283" y="932"/>
                </a:lnTo>
                <a:lnTo>
                  <a:pt x="3308" y="918"/>
                </a:lnTo>
                <a:lnTo>
                  <a:pt x="4593" y="102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Freeform 5"/>
          <p:cNvSpPr>
            <a:spLocks/>
          </p:cNvSpPr>
          <p:nvPr userDrawn="1"/>
        </p:nvSpPr>
        <p:spPr bwMode="auto">
          <a:xfrm>
            <a:off x="7334912" y="2886077"/>
            <a:ext cx="1719792" cy="2135187"/>
          </a:xfrm>
          <a:custGeom>
            <a:avLst/>
            <a:gdLst>
              <a:gd name="T0" fmla="*/ 3159 w 4000"/>
              <a:gd name="T1" fmla="*/ 5238 h 5382"/>
              <a:gd name="T2" fmla="*/ 3155 w 4000"/>
              <a:gd name="T3" fmla="*/ 5259 h 5382"/>
              <a:gd name="T4" fmla="*/ 3146 w 4000"/>
              <a:gd name="T5" fmla="*/ 5280 h 5382"/>
              <a:gd name="T6" fmla="*/ 3137 w 4000"/>
              <a:gd name="T7" fmla="*/ 5299 h 5382"/>
              <a:gd name="T8" fmla="*/ 3126 w 4000"/>
              <a:gd name="T9" fmla="*/ 5315 h 5382"/>
              <a:gd name="T10" fmla="*/ 3113 w 4000"/>
              <a:gd name="T11" fmla="*/ 5330 h 5382"/>
              <a:gd name="T12" fmla="*/ 3098 w 4000"/>
              <a:gd name="T13" fmla="*/ 5343 h 5382"/>
              <a:gd name="T14" fmla="*/ 3064 w 4000"/>
              <a:gd name="T15" fmla="*/ 5364 h 5382"/>
              <a:gd name="T16" fmla="*/ 3024 w 4000"/>
              <a:gd name="T17" fmla="*/ 5378 h 5382"/>
              <a:gd name="T18" fmla="*/ 2984 w 4000"/>
              <a:gd name="T19" fmla="*/ 5382 h 5382"/>
              <a:gd name="T20" fmla="*/ 2941 w 4000"/>
              <a:gd name="T21" fmla="*/ 5380 h 5382"/>
              <a:gd name="T22" fmla="*/ 2898 w 4000"/>
              <a:gd name="T23" fmla="*/ 5368 h 5382"/>
              <a:gd name="T24" fmla="*/ 354 w 4000"/>
              <a:gd name="T25" fmla="*/ 4384 h 5382"/>
              <a:gd name="T26" fmla="*/ 300 w 4000"/>
              <a:gd name="T27" fmla="*/ 4358 h 5382"/>
              <a:gd name="T28" fmla="*/ 250 w 4000"/>
              <a:gd name="T29" fmla="*/ 4332 h 5382"/>
              <a:gd name="T30" fmla="*/ 206 w 4000"/>
              <a:gd name="T31" fmla="*/ 4301 h 5382"/>
              <a:gd name="T32" fmla="*/ 166 w 4000"/>
              <a:gd name="T33" fmla="*/ 4269 h 5382"/>
              <a:gd name="T34" fmla="*/ 132 w 4000"/>
              <a:gd name="T35" fmla="*/ 4235 h 5382"/>
              <a:gd name="T36" fmla="*/ 100 w 4000"/>
              <a:gd name="T37" fmla="*/ 4198 h 5382"/>
              <a:gd name="T38" fmla="*/ 75 w 4000"/>
              <a:gd name="T39" fmla="*/ 4161 h 5382"/>
              <a:gd name="T40" fmla="*/ 51 w 4000"/>
              <a:gd name="T41" fmla="*/ 4121 h 5382"/>
              <a:gd name="T42" fmla="*/ 34 w 4000"/>
              <a:gd name="T43" fmla="*/ 4079 h 5382"/>
              <a:gd name="T44" fmla="*/ 19 w 4000"/>
              <a:gd name="T45" fmla="*/ 4036 h 5382"/>
              <a:gd name="T46" fmla="*/ 8 w 4000"/>
              <a:gd name="T47" fmla="*/ 3993 h 5382"/>
              <a:gd name="T48" fmla="*/ 3 w 4000"/>
              <a:gd name="T49" fmla="*/ 3948 h 5382"/>
              <a:gd name="T50" fmla="*/ 0 w 4000"/>
              <a:gd name="T51" fmla="*/ 3902 h 5382"/>
              <a:gd name="T52" fmla="*/ 0 w 4000"/>
              <a:gd name="T53" fmla="*/ 3855 h 5382"/>
              <a:gd name="T54" fmla="*/ 5 w 4000"/>
              <a:gd name="T55" fmla="*/ 3807 h 5382"/>
              <a:gd name="T56" fmla="*/ 545 w 4000"/>
              <a:gd name="T57" fmla="*/ 564 h 5382"/>
              <a:gd name="T58" fmla="*/ 555 w 4000"/>
              <a:gd name="T59" fmla="*/ 516 h 5382"/>
              <a:gd name="T60" fmla="*/ 567 w 4000"/>
              <a:gd name="T61" fmla="*/ 471 h 5382"/>
              <a:gd name="T62" fmla="*/ 583 w 4000"/>
              <a:gd name="T63" fmla="*/ 427 h 5382"/>
              <a:gd name="T64" fmla="*/ 602 w 4000"/>
              <a:gd name="T65" fmla="*/ 385 h 5382"/>
              <a:gd name="T66" fmla="*/ 624 w 4000"/>
              <a:gd name="T67" fmla="*/ 345 h 5382"/>
              <a:gd name="T68" fmla="*/ 650 w 4000"/>
              <a:gd name="T69" fmla="*/ 308 h 5382"/>
              <a:gd name="T70" fmla="*/ 679 w 4000"/>
              <a:gd name="T71" fmla="*/ 274 h 5382"/>
              <a:gd name="T72" fmla="*/ 712 w 4000"/>
              <a:gd name="T73" fmla="*/ 242 h 5382"/>
              <a:gd name="T74" fmla="*/ 746 w 4000"/>
              <a:gd name="T75" fmla="*/ 214 h 5382"/>
              <a:gd name="T76" fmla="*/ 786 w 4000"/>
              <a:gd name="T77" fmla="*/ 187 h 5382"/>
              <a:gd name="T78" fmla="*/ 829 w 4000"/>
              <a:gd name="T79" fmla="*/ 165 h 5382"/>
              <a:gd name="T80" fmla="*/ 875 w 4000"/>
              <a:gd name="T81" fmla="*/ 145 h 5382"/>
              <a:gd name="T82" fmla="*/ 924 w 4000"/>
              <a:gd name="T83" fmla="*/ 130 h 5382"/>
              <a:gd name="T84" fmla="*/ 978 w 4000"/>
              <a:gd name="T85" fmla="*/ 117 h 5382"/>
              <a:gd name="T86" fmla="*/ 1035 w 4000"/>
              <a:gd name="T87" fmla="*/ 109 h 5382"/>
              <a:gd name="T88" fmla="*/ 1096 w 4000"/>
              <a:gd name="T89" fmla="*/ 105 h 5382"/>
              <a:gd name="T90" fmla="*/ 3814 w 4000"/>
              <a:gd name="T91" fmla="*/ 0 h 5382"/>
              <a:gd name="T92" fmla="*/ 3857 w 4000"/>
              <a:gd name="T93" fmla="*/ 7 h 5382"/>
              <a:gd name="T94" fmla="*/ 3897 w 4000"/>
              <a:gd name="T95" fmla="*/ 22 h 5382"/>
              <a:gd name="T96" fmla="*/ 3932 w 4000"/>
              <a:gd name="T97" fmla="*/ 44 h 5382"/>
              <a:gd name="T98" fmla="*/ 3960 w 4000"/>
              <a:gd name="T99" fmla="*/ 72 h 5382"/>
              <a:gd name="T100" fmla="*/ 3977 w 4000"/>
              <a:gd name="T101" fmla="*/ 97 h 5382"/>
              <a:gd name="T102" fmla="*/ 3987 w 4000"/>
              <a:gd name="T103" fmla="*/ 115 h 5382"/>
              <a:gd name="T104" fmla="*/ 3993 w 4000"/>
              <a:gd name="T105" fmla="*/ 134 h 5382"/>
              <a:gd name="T106" fmla="*/ 3997 w 4000"/>
              <a:gd name="T107" fmla="*/ 154 h 5382"/>
              <a:gd name="T108" fmla="*/ 4000 w 4000"/>
              <a:gd name="T109" fmla="*/ 174 h 5382"/>
              <a:gd name="T110" fmla="*/ 3998 w 4000"/>
              <a:gd name="T111" fmla="*/ 197 h 5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000" h="5382">
                <a:moveTo>
                  <a:pt x="3997" y="207"/>
                </a:moveTo>
                <a:lnTo>
                  <a:pt x="3159" y="5238"/>
                </a:lnTo>
                <a:lnTo>
                  <a:pt x="3157" y="5249"/>
                </a:lnTo>
                <a:lnTo>
                  <a:pt x="3155" y="5259"/>
                </a:lnTo>
                <a:lnTo>
                  <a:pt x="3151" y="5270"/>
                </a:lnTo>
                <a:lnTo>
                  <a:pt x="3146" y="5280"/>
                </a:lnTo>
                <a:lnTo>
                  <a:pt x="3143" y="5289"/>
                </a:lnTo>
                <a:lnTo>
                  <a:pt x="3137" y="5299"/>
                </a:lnTo>
                <a:lnTo>
                  <a:pt x="3132" y="5307"/>
                </a:lnTo>
                <a:lnTo>
                  <a:pt x="3126" y="5315"/>
                </a:lnTo>
                <a:lnTo>
                  <a:pt x="3120" y="5323"/>
                </a:lnTo>
                <a:lnTo>
                  <a:pt x="3113" y="5330"/>
                </a:lnTo>
                <a:lnTo>
                  <a:pt x="3106" y="5337"/>
                </a:lnTo>
                <a:lnTo>
                  <a:pt x="3098" y="5343"/>
                </a:lnTo>
                <a:lnTo>
                  <a:pt x="3081" y="5354"/>
                </a:lnTo>
                <a:lnTo>
                  <a:pt x="3064" y="5364"/>
                </a:lnTo>
                <a:lnTo>
                  <a:pt x="3044" y="5372"/>
                </a:lnTo>
                <a:lnTo>
                  <a:pt x="3024" y="5378"/>
                </a:lnTo>
                <a:lnTo>
                  <a:pt x="3005" y="5381"/>
                </a:lnTo>
                <a:lnTo>
                  <a:pt x="2984" y="5382"/>
                </a:lnTo>
                <a:lnTo>
                  <a:pt x="2962" y="5382"/>
                </a:lnTo>
                <a:lnTo>
                  <a:pt x="2941" y="5380"/>
                </a:lnTo>
                <a:lnTo>
                  <a:pt x="2920" y="5375"/>
                </a:lnTo>
                <a:lnTo>
                  <a:pt x="2898" y="5368"/>
                </a:lnTo>
                <a:lnTo>
                  <a:pt x="381" y="4396"/>
                </a:lnTo>
                <a:lnTo>
                  <a:pt x="354" y="4384"/>
                </a:lnTo>
                <a:lnTo>
                  <a:pt x="326" y="4371"/>
                </a:lnTo>
                <a:lnTo>
                  <a:pt x="300" y="4358"/>
                </a:lnTo>
                <a:lnTo>
                  <a:pt x="275" y="4346"/>
                </a:lnTo>
                <a:lnTo>
                  <a:pt x="250" y="4332"/>
                </a:lnTo>
                <a:lnTo>
                  <a:pt x="228" y="4317"/>
                </a:lnTo>
                <a:lnTo>
                  <a:pt x="206" y="4301"/>
                </a:lnTo>
                <a:lnTo>
                  <a:pt x="186" y="4285"/>
                </a:lnTo>
                <a:lnTo>
                  <a:pt x="166" y="4269"/>
                </a:lnTo>
                <a:lnTo>
                  <a:pt x="149" y="4253"/>
                </a:lnTo>
                <a:lnTo>
                  <a:pt x="132" y="4235"/>
                </a:lnTo>
                <a:lnTo>
                  <a:pt x="115" y="4217"/>
                </a:lnTo>
                <a:lnTo>
                  <a:pt x="100" y="4198"/>
                </a:lnTo>
                <a:lnTo>
                  <a:pt x="87" y="4179"/>
                </a:lnTo>
                <a:lnTo>
                  <a:pt x="75" y="4161"/>
                </a:lnTo>
                <a:lnTo>
                  <a:pt x="62" y="4141"/>
                </a:lnTo>
                <a:lnTo>
                  <a:pt x="51" y="4121"/>
                </a:lnTo>
                <a:lnTo>
                  <a:pt x="42" y="4100"/>
                </a:lnTo>
                <a:lnTo>
                  <a:pt x="34" y="4079"/>
                </a:lnTo>
                <a:lnTo>
                  <a:pt x="26" y="4059"/>
                </a:lnTo>
                <a:lnTo>
                  <a:pt x="19" y="4036"/>
                </a:lnTo>
                <a:lnTo>
                  <a:pt x="13" y="4016"/>
                </a:lnTo>
                <a:lnTo>
                  <a:pt x="8" y="3993"/>
                </a:lnTo>
                <a:lnTo>
                  <a:pt x="5" y="3970"/>
                </a:lnTo>
                <a:lnTo>
                  <a:pt x="3" y="3948"/>
                </a:lnTo>
                <a:lnTo>
                  <a:pt x="0" y="3925"/>
                </a:lnTo>
                <a:lnTo>
                  <a:pt x="0" y="3902"/>
                </a:lnTo>
                <a:lnTo>
                  <a:pt x="0" y="3878"/>
                </a:lnTo>
                <a:lnTo>
                  <a:pt x="0" y="3855"/>
                </a:lnTo>
                <a:lnTo>
                  <a:pt x="3" y="3831"/>
                </a:lnTo>
                <a:lnTo>
                  <a:pt x="5" y="3807"/>
                </a:lnTo>
                <a:lnTo>
                  <a:pt x="8" y="3783"/>
                </a:lnTo>
                <a:lnTo>
                  <a:pt x="545" y="564"/>
                </a:lnTo>
                <a:lnTo>
                  <a:pt x="549" y="539"/>
                </a:lnTo>
                <a:lnTo>
                  <a:pt x="555" y="516"/>
                </a:lnTo>
                <a:lnTo>
                  <a:pt x="560" y="493"/>
                </a:lnTo>
                <a:lnTo>
                  <a:pt x="567" y="471"/>
                </a:lnTo>
                <a:lnTo>
                  <a:pt x="574" y="449"/>
                </a:lnTo>
                <a:lnTo>
                  <a:pt x="583" y="427"/>
                </a:lnTo>
                <a:lnTo>
                  <a:pt x="592" y="406"/>
                </a:lnTo>
                <a:lnTo>
                  <a:pt x="602" y="385"/>
                </a:lnTo>
                <a:lnTo>
                  <a:pt x="613" y="365"/>
                </a:lnTo>
                <a:lnTo>
                  <a:pt x="624" y="345"/>
                </a:lnTo>
                <a:lnTo>
                  <a:pt x="637" y="327"/>
                </a:lnTo>
                <a:lnTo>
                  <a:pt x="650" y="308"/>
                </a:lnTo>
                <a:lnTo>
                  <a:pt x="664" y="291"/>
                </a:lnTo>
                <a:lnTo>
                  <a:pt x="679" y="274"/>
                </a:lnTo>
                <a:lnTo>
                  <a:pt x="695" y="258"/>
                </a:lnTo>
                <a:lnTo>
                  <a:pt x="712" y="242"/>
                </a:lnTo>
                <a:lnTo>
                  <a:pt x="729" y="228"/>
                </a:lnTo>
                <a:lnTo>
                  <a:pt x="746" y="214"/>
                </a:lnTo>
                <a:lnTo>
                  <a:pt x="766" y="200"/>
                </a:lnTo>
                <a:lnTo>
                  <a:pt x="786" y="187"/>
                </a:lnTo>
                <a:lnTo>
                  <a:pt x="807" y="176"/>
                </a:lnTo>
                <a:lnTo>
                  <a:pt x="829" y="165"/>
                </a:lnTo>
                <a:lnTo>
                  <a:pt x="851" y="155"/>
                </a:lnTo>
                <a:lnTo>
                  <a:pt x="875" y="145"/>
                </a:lnTo>
                <a:lnTo>
                  <a:pt x="900" y="137"/>
                </a:lnTo>
                <a:lnTo>
                  <a:pt x="924" y="130"/>
                </a:lnTo>
                <a:lnTo>
                  <a:pt x="951" y="123"/>
                </a:lnTo>
                <a:lnTo>
                  <a:pt x="978" y="117"/>
                </a:lnTo>
                <a:lnTo>
                  <a:pt x="1007" y="113"/>
                </a:lnTo>
                <a:lnTo>
                  <a:pt x="1035" y="109"/>
                </a:lnTo>
                <a:lnTo>
                  <a:pt x="1065" y="107"/>
                </a:lnTo>
                <a:lnTo>
                  <a:pt x="1096" y="105"/>
                </a:lnTo>
                <a:lnTo>
                  <a:pt x="3791" y="0"/>
                </a:lnTo>
                <a:lnTo>
                  <a:pt x="3814" y="0"/>
                </a:lnTo>
                <a:lnTo>
                  <a:pt x="3836" y="2"/>
                </a:lnTo>
                <a:lnTo>
                  <a:pt x="3857" y="7"/>
                </a:lnTo>
                <a:lnTo>
                  <a:pt x="3877" y="14"/>
                </a:lnTo>
                <a:lnTo>
                  <a:pt x="3897" y="22"/>
                </a:lnTo>
                <a:lnTo>
                  <a:pt x="3915" y="33"/>
                </a:lnTo>
                <a:lnTo>
                  <a:pt x="3932" y="44"/>
                </a:lnTo>
                <a:lnTo>
                  <a:pt x="3947" y="57"/>
                </a:lnTo>
                <a:lnTo>
                  <a:pt x="3960" y="72"/>
                </a:lnTo>
                <a:lnTo>
                  <a:pt x="3973" y="88"/>
                </a:lnTo>
                <a:lnTo>
                  <a:pt x="3977" y="97"/>
                </a:lnTo>
                <a:lnTo>
                  <a:pt x="3982" y="106"/>
                </a:lnTo>
                <a:lnTo>
                  <a:pt x="3987" y="115"/>
                </a:lnTo>
                <a:lnTo>
                  <a:pt x="3990" y="124"/>
                </a:lnTo>
                <a:lnTo>
                  <a:pt x="3993" y="134"/>
                </a:lnTo>
                <a:lnTo>
                  <a:pt x="3996" y="143"/>
                </a:lnTo>
                <a:lnTo>
                  <a:pt x="3997" y="154"/>
                </a:lnTo>
                <a:lnTo>
                  <a:pt x="3998" y="164"/>
                </a:lnTo>
                <a:lnTo>
                  <a:pt x="4000" y="174"/>
                </a:lnTo>
                <a:lnTo>
                  <a:pt x="4000" y="185"/>
                </a:lnTo>
                <a:lnTo>
                  <a:pt x="3998" y="197"/>
                </a:lnTo>
                <a:lnTo>
                  <a:pt x="3997" y="207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Freeform 7"/>
          <p:cNvSpPr>
            <a:spLocks/>
          </p:cNvSpPr>
          <p:nvPr userDrawn="1"/>
        </p:nvSpPr>
        <p:spPr bwMode="auto">
          <a:xfrm>
            <a:off x="9231842" y="4125920"/>
            <a:ext cx="674158" cy="1425575"/>
          </a:xfrm>
          <a:custGeom>
            <a:avLst/>
            <a:gdLst>
              <a:gd name="T0" fmla="*/ 1569 w 1569"/>
              <a:gd name="T1" fmla="*/ 3384 h 3590"/>
              <a:gd name="T2" fmla="*/ 205 w 1569"/>
              <a:gd name="T3" fmla="*/ 3589 h 3590"/>
              <a:gd name="T4" fmla="*/ 194 w 1569"/>
              <a:gd name="T5" fmla="*/ 3590 h 3590"/>
              <a:gd name="T6" fmla="*/ 182 w 1569"/>
              <a:gd name="T7" fmla="*/ 3590 h 3590"/>
              <a:gd name="T8" fmla="*/ 172 w 1569"/>
              <a:gd name="T9" fmla="*/ 3590 h 3590"/>
              <a:gd name="T10" fmla="*/ 162 w 1569"/>
              <a:gd name="T11" fmla="*/ 3590 h 3590"/>
              <a:gd name="T12" fmla="*/ 151 w 1569"/>
              <a:gd name="T13" fmla="*/ 3588 h 3590"/>
              <a:gd name="T14" fmla="*/ 141 w 1569"/>
              <a:gd name="T15" fmla="*/ 3587 h 3590"/>
              <a:gd name="T16" fmla="*/ 131 w 1569"/>
              <a:gd name="T17" fmla="*/ 3584 h 3590"/>
              <a:gd name="T18" fmla="*/ 121 w 1569"/>
              <a:gd name="T19" fmla="*/ 3581 h 3590"/>
              <a:gd name="T20" fmla="*/ 112 w 1569"/>
              <a:gd name="T21" fmla="*/ 3577 h 3590"/>
              <a:gd name="T22" fmla="*/ 103 w 1569"/>
              <a:gd name="T23" fmla="*/ 3573 h 3590"/>
              <a:gd name="T24" fmla="*/ 94 w 1569"/>
              <a:gd name="T25" fmla="*/ 3568 h 3590"/>
              <a:gd name="T26" fmla="*/ 86 w 1569"/>
              <a:gd name="T27" fmla="*/ 3563 h 3590"/>
              <a:gd name="T28" fmla="*/ 70 w 1569"/>
              <a:gd name="T29" fmla="*/ 3551 h 3590"/>
              <a:gd name="T30" fmla="*/ 56 w 1569"/>
              <a:gd name="T31" fmla="*/ 3537 h 3590"/>
              <a:gd name="T32" fmla="*/ 42 w 1569"/>
              <a:gd name="T33" fmla="*/ 3521 h 3590"/>
              <a:gd name="T34" fmla="*/ 30 w 1569"/>
              <a:gd name="T35" fmla="*/ 3504 h 3590"/>
              <a:gd name="T36" fmla="*/ 21 w 1569"/>
              <a:gd name="T37" fmla="*/ 3486 h 3590"/>
              <a:gd name="T38" fmla="*/ 13 w 1569"/>
              <a:gd name="T39" fmla="*/ 3466 h 3590"/>
              <a:gd name="T40" fmla="*/ 7 w 1569"/>
              <a:gd name="T41" fmla="*/ 3446 h 3590"/>
              <a:gd name="T42" fmla="*/ 2 w 1569"/>
              <a:gd name="T43" fmla="*/ 3424 h 3590"/>
              <a:gd name="T44" fmla="*/ 0 w 1569"/>
              <a:gd name="T45" fmla="*/ 3403 h 3590"/>
              <a:gd name="T46" fmla="*/ 0 w 1569"/>
              <a:gd name="T47" fmla="*/ 3380 h 3590"/>
              <a:gd name="T48" fmla="*/ 149 w 1569"/>
              <a:gd name="T49" fmla="*/ 687 h 3590"/>
              <a:gd name="T50" fmla="*/ 150 w 1569"/>
              <a:gd name="T51" fmla="*/ 656 h 3590"/>
              <a:gd name="T52" fmla="*/ 153 w 1569"/>
              <a:gd name="T53" fmla="*/ 627 h 3590"/>
              <a:gd name="T54" fmla="*/ 158 w 1569"/>
              <a:gd name="T55" fmla="*/ 598 h 3590"/>
              <a:gd name="T56" fmla="*/ 163 w 1569"/>
              <a:gd name="T57" fmla="*/ 570 h 3590"/>
              <a:gd name="T58" fmla="*/ 168 w 1569"/>
              <a:gd name="T59" fmla="*/ 542 h 3590"/>
              <a:gd name="T60" fmla="*/ 175 w 1569"/>
              <a:gd name="T61" fmla="*/ 516 h 3590"/>
              <a:gd name="T62" fmla="*/ 184 w 1569"/>
              <a:gd name="T63" fmla="*/ 491 h 3590"/>
              <a:gd name="T64" fmla="*/ 193 w 1569"/>
              <a:gd name="T65" fmla="*/ 466 h 3590"/>
              <a:gd name="T66" fmla="*/ 202 w 1569"/>
              <a:gd name="T67" fmla="*/ 443 h 3590"/>
              <a:gd name="T68" fmla="*/ 213 w 1569"/>
              <a:gd name="T69" fmla="*/ 421 h 3590"/>
              <a:gd name="T70" fmla="*/ 224 w 1569"/>
              <a:gd name="T71" fmla="*/ 399 h 3590"/>
              <a:gd name="T72" fmla="*/ 236 w 1569"/>
              <a:gd name="T73" fmla="*/ 378 h 3590"/>
              <a:gd name="T74" fmla="*/ 249 w 1569"/>
              <a:gd name="T75" fmla="*/ 358 h 3590"/>
              <a:gd name="T76" fmla="*/ 263 w 1569"/>
              <a:gd name="T77" fmla="*/ 340 h 3590"/>
              <a:gd name="T78" fmla="*/ 277 w 1569"/>
              <a:gd name="T79" fmla="*/ 322 h 3590"/>
              <a:gd name="T80" fmla="*/ 292 w 1569"/>
              <a:gd name="T81" fmla="*/ 305 h 3590"/>
              <a:gd name="T82" fmla="*/ 308 w 1569"/>
              <a:gd name="T83" fmla="*/ 289 h 3590"/>
              <a:gd name="T84" fmla="*/ 324 w 1569"/>
              <a:gd name="T85" fmla="*/ 272 h 3590"/>
              <a:gd name="T86" fmla="*/ 342 w 1569"/>
              <a:gd name="T87" fmla="*/ 258 h 3590"/>
              <a:gd name="T88" fmla="*/ 359 w 1569"/>
              <a:gd name="T89" fmla="*/ 244 h 3590"/>
              <a:gd name="T90" fmla="*/ 378 w 1569"/>
              <a:gd name="T91" fmla="*/ 232 h 3590"/>
              <a:gd name="T92" fmla="*/ 396 w 1569"/>
              <a:gd name="T93" fmla="*/ 219 h 3590"/>
              <a:gd name="T94" fmla="*/ 416 w 1569"/>
              <a:gd name="T95" fmla="*/ 208 h 3590"/>
              <a:gd name="T96" fmla="*/ 436 w 1569"/>
              <a:gd name="T97" fmla="*/ 198 h 3590"/>
              <a:gd name="T98" fmla="*/ 457 w 1569"/>
              <a:gd name="T99" fmla="*/ 188 h 3590"/>
              <a:gd name="T100" fmla="*/ 478 w 1569"/>
              <a:gd name="T101" fmla="*/ 179 h 3590"/>
              <a:gd name="T102" fmla="*/ 500 w 1569"/>
              <a:gd name="T103" fmla="*/ 171 h 3590"/>
              <a:gd name="T104" fmla="*/ 522 w 1569"/>
              <a:gd name="T105" fmla="*/ 164 h 3590"/>
              <a:gd name="T106" fmla="*/ 545 w 1569"/>
              <a:gd name="T107" fmla="*/ 157 h 3590"/>
              <a:gd name="T108" fmla="*/ 568 w 1569"/>
              <a:gd name="T109" fmla="*/ 152 h 3590"/>
              <a:gd name="T110" fmla="*/ 592 w 1569"/>
              <a:gd name="T111" fmla="*/ 147 h 3590"/>
              <a:gd name="T112" fmla="*/ 616 w 1569"/>
              <a:gd name="T113" fmla="*/ 143 h 3590"/>
              <a:gd name="T114" fmla="*/ 1569 w 1569"/>
              <a:gd name="T115" fmla="*/ 0 h 3590"/>
              <a:gd name="T116" fmla="*/ 1569 w 1569"/>
              <a:gd name="T117" fmla="*/ 3384 h 35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569" h="3590">
                <a:moveTo>
                  <a:pt x="1569" y="3384"/>
                </a:moveTo>
                <a:lnTo>
                  <a:pt x="205" y="3589"/>
                </a:lnTo>
                <a:lnTo>
                  <a:pt x="194" y="3590"/>
                </a:lnTo>
                <a:lnTo>
                  <a:pt x="182" y="3590"/>
                </a:lnTo>
                <a:lnTo>
                  <a:pt x="172" y="3590"/>
                </a:lnTo>
                <a:lnTo>
                  <a:pt x="162" y="3590"/>
                </a:lnTo>
                <a:lnTo>
                  <a:pt x="151" y="3588"/>
                </a:lnTo>
                <a:lnTo>
                  <a:pt x="141" y="3587"/>
                </a:lnTo>
                <a:lnTo>
                  <a:pt x="131" y="3584"/>
                </a:lnTo>
                <a:lnTo>
                  <a:pt x="121" y="3581"/>
                </a:lnTo>
                <a:lnTo>
                  <a:pt x="112" y="3577"/>
                </a:lnTo>
                <a:lnTo>
                  <a:pt x="103" y="3573"/>
                </a:lnTo>
                <a:lnTo>
                  <a:pt x="94" y="3568"/>
                </a:lnTo>
                <a:lnTo>
                  <a:pt x="86" y="3563"/>
                </a:lnTo>
                <a:lnTo>
                  <a:pt x="70" y="3551"/>
                </a:lnTo>
                <a:lnTo>
                  <a:pt x="56" y="3537"/>
                </a:lnTo>
                <a:lnTo>
                  <a:pt x="42" y="3521"/>
                </a:lnTo>
                <a:lnTo>
                  <a:pt x="30" y="3504"/>
                </a:lnTo>
                <a:lnTo>
                  <a:pt x="21" y="3486"/>
                </a:lnTo>
                <a:lnTo>
                  <a:pt x="13" y="3466"/>
                </a:lnTo>
                <a:lnTo>
                  <a:pt x="7" y="3446"/>
                </a:lnTo>
                <a:lnTo>
                  <a:pt x="2" y="3424"/>
                </a:lnTo>
                <a:lnTo>
                  <a:pt x="0" y="3403"/>
                </a:lnTo>
                <a:lnTo>
                  <a:pt x="0" y="3380"/>
                </a:lnTo>
                <a:lnTo>
                  <a:pt x="149" y="687"/>
                </a:lnTo>
                <a:lnTo>
                  <a:pt x="150" y="656"/>
                </a:lnTo>
                <a:lnTo>
                  <a:pt x="153" y="627"/>
                </a:lnTo>
                <a:lnTo>
                  <a:pt x="158" y="598"/>
                </a:lnTo>
                <a:lnTo>
                  <a:pt x="163" y="570"/>
                </a:lnTo>
                <a:lnTo>
                  <a:pt x="168" y="542"/>
                </a:lnTo>
                <a:lnTo>
                  <a:pt x="175" y="516"/>
                </a:lnTo>
                <a:lnTo>
                  <a:pt x="184" y="491"/>
                </a:lnTo>
                <a:lnTo>
                  <a:pt x="193" y="466"/>
                </a:lnTo>
                <a:lnTo>
                  <a:pt x="202" y="443"/>
                </a:lnTo>
                <a:lnTo>
                  <a:pt x="213" y="421"/>
                </a:lnTo>
                <a:lnTo>
                  <a:pt x="224" y="399"/>
                </a:lnTo>
                <a:lnTo>
                  <a:pt x="236" y="378"/>
                </a:lnTo>
                <a:lnTo>
                  <a:pt x="249" y="358"/>
                </a:lnTo>
                <a:lnTo>
                  <a:pt x="263" y="340"/>
                </a:lnTo>
                <a:lnTo>
                  <a:pt x="277" y="322"/>
                </a:lnTo>
                <a:lnTo>
                  <a:pt x="292" y="305"/>
                </a:lnTo>
                <a:lnTo>
                  <a:pt x="308" y="289"/>
                </a:lnTo>
                <a:lnTo>
                  <a:pt x="324" y="272"/>
                </a:lnTo>
                <a:lnTo>
                  <a:pt x="342" y="258"/>
                </a:lnTo>
                <a:lnTo>
                  <a:pt x="359" y="244"/>
                </a:lnTo>
                <a:lnTo>
                  <a:pt x="378" y="232"/>
                </a:lnTo>
                <a:lnTo>
                  <a:pt x="396" y="219"/>
                </a:lnTo>
                <a:lnTo>
                  <a:pt x="416" y="208"/>
                </a:lnTo>
                <a:lnTo>
                  <a:pt x="436" y="198"/>
                </a:lnTo>
                <a:lnTo>
                  <a:pt x="457" y="188"/>
                </a:lnTo>
                <a:lnTo>
                  <a:pt x="478" y="179"/>
                </a:lnTo>
                <a:lnTo>
                  <a:pt x="500" y="171"/>
                </a:lnTo>
                <a:lnTo>
                  <a:pt x="522" y="164"/>
                </a:lnTo>
                <a:lnTo>
                  <a:pt x="545" y="157"/>
                </a:lnTo>
                <a:lnTo>
                  <a:pt x="568" y="152"/>
                </a:lnTo>
                <a:lnTo>
                  <a:pt x="592" y="147"/>
                </a:lnTo>
                <a:lnTo>
                  <a:pt x="616" y="143"/>
                </a:lnTo>
                <a:lnTo>
                  <a:pt x="1569" y="0"/>
                </a:lnTo>
                <a:lnTo>
                  <a:pt x="1569" y="3384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0" name="Freeform 9"/>
          <p:cNvSpPr>
            <a:spLocks/>
          </p:cNvSpPr>
          <p:nvPr userDrawn="1"/>
        </p:nvSpPr>
        <p:spPr bwMode="auto">
          <a:xfrm>
            <a:off x="8905172" y="5940594"/>
            <a:ext cx="1000919" cy="917575"/>
          </a:xfrm>
          <a:custGeom>
            <a:avLst/>
            <a:gdLst>
              <a:gd name="T0" fmla="*/ 759 w 2327"/>
              <a:gd name="T1" fmla="*/ 2310 h 2310"/>
              <a:gd name="T2" fmla="*/ 19 w 2327"/>
              <a:gd name="T3" fmla="*/ 851 h 2310"/>
              <a:gd name="T4" fmla="*/ 14 w 2327"/>
              <a:gd name="T5" fmla="*/ 841 h 2310"/>
              <a:gd name="T6" fmla="*/ 9 w 2327"/>
              <a:gd name="T7" fmla="*/ 832 h 2310"/>
              <a:gd name="T8" fmla="*/ 6 w 2327"/>
              <a:gd name="T9" fmla="*/ 821 h 2310"/>
              <a:gd name="T10" fmla="*/ 4 w 2327"/>
              <a:gd name="T11" fmla="*/ 811 h 2310"/>
              <a:gd name="T12" fmla="*/ 1 w 2327"/>
              <a:gd name="T13" fmla="*/ 800 h 2310"/>
              <a:gd name="T14" fmla="*/ 0 w 2327"/>
              <a:gd name="T15" fmla="*/ 790 h 2310"/>
              <a:gd name="T16" fmla="*/ 0 w 2327"/>
              <a:gd name="T17" fmla="*/ 781 h 2310"/>
              <a:gd name="T18" fmla="*/ 0 w 2327"/>
              <a:gd name="T19" fmla="*/ 770 h 2310"/>
              <a:gd name="T20" fmla="*/ 0 w 2327"/>
              <a:gd name="T21" fmla="*/ 760 h 2310"/>
              <a:gd name="T22" fmla="*/ 1 w 2327"/>
              <a:gd name="T23" fmla="*/ 750 h 2310"/>
              <a:gd name="T24" fmla="*/ 4 w 2327"/>
              <a:gd name="T25" fmla="*/ 740 h 2310"/>
              <a:gd name="T26" fmla="*/ 6 w 2327"/>
              <a:gd name="T27" fmla="*/ 731 h 2310"/>
              <a:gd name="T28" fmla="*/ 13 w 2327"/>
              <a:gd name="T29" fmla="*/ 712 h 2310"/>
              <a:gd name="T30" fmla="*/ 21 w 2327"/>
              <a:gd name="T31" fmla="*/ 693 h 2310"/>
              <a:gd name="T32" fmla="*/ 32 w 2327"/>
              <a:gd name="T33" fmla="*/ 676 h 2310"/>
              <a:gd name="T34" fmla="*/ 44 w 2327"/>
              <a:gd name="T35" fmla="*/ 660 h 2310"/>
              <a:gd name="T36" fmla="*/ 58 w 2327"/>
              <a:gd name="T37" fmla="*/ 645 h 2310"/>
              <a:gd name="T38" fmla="*/ 75 w 2327"/>
              <a:gd name="T39" fmla="*/ 631 h 2310"/>
              <a:gd name="T40" fmla="*/ 92 w 2327"/>
              <a:gd name="T41" fmla="*/ 619 h 2310"/>
              <a:gd name="T42" fmla="*/ 111 w 2327"/>
              <a:gd name="T43" fmla="*/ 607 h 2310"/>
              <a:gd name="T44" fmla="*/ 130 w 2327"/>
              <a:gd name="T45" fmla="*/ 599 h 2310"/>
              <a:gd name="T46" fmla="*/ 152 w 2327"/>
              <a:gd name="T47" fmla="*/ 592 h 2310"/>
              <a:gd name="T48" fmla="*/ 2327 w 2327"/>
              <a:gd name="T49" fmla="*/ 0 h 2310"/>
              <a:gd name="T50" fmla="*/ 2327 w 2327"/>
              <a:gd name="T51" fmla="*/ 2310 h 2310"/>
              <a:gd name="T52" fmla="*/ 759 w 2327"/>
              <a:gd name="T53" fmla="*/ 2310 h 2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2327" h="2310">
                <a:moveTo>
                  <a:pt x="759" y="2310"/>
                </a:moveTo>
                <a:lnTo>
                  <a:pt x="19" y="851"/>
                </a:lnTo>
                <a:lnTo>
                  <a:pt x="14" y="841"/>
                </a:lnTo>
                <a:lnTo>
                  <a:pt x="9" y="832"/>
                </a:lnTo>
                <a:lnTo>
                  <a:pt x="6" y="821"/>
                </a:lnTo>
                <a:lnTo>
                  <a:pt x="4" y="811"/>
                </a:lnTo>
                <a:lnTo>
                  <a:pt x="1" y="800"/>
                </a:lnTo>
                <a:lnTo>
                  <a:pt x="0" y="790"/>
                </a:lnTo>
                <a:lnTo>
                  <a:pt x="0" y="781"/>
                </a:lnTo>
                <a:lnTo>
                  <a:pt x="0" y="770"/>
                </a:lnTo>
                <a:lnTo>
                  <a:pt x="0" y="760"/>
                </a:lnTo>
                <a:lnTo>
                  <a:pt x="1" y="750"/>
                </a:lnTo>
                <a:lnTo>
                  <a:pt x="4" y="740"/>
                </a:lnTo>
                <a:lnTo>
                  <a:pt x="6" y="731"/>
                </a:lnTo>
                <a:lnTo>
                  <a:pt x="13" y="712"/>
                </a:lnTo>
                <a:lnTo>
                  <a:pt x="21" y="693"/>
                </a:lnTo>
                <a:lnTo>
                  <a:pt x="32" y="676"/>
                </a:lnTo>
                <a:lnTo>
                  <a:pt x="44" y="660"/>
                </a:lnTo>
                <a:lnTo>
                  <a:pt x="58" y="645"/>
                </a:lnTo>
                <a:lnTo>
                  <a:pt x="75" y="631"/>
                </a:lnTo>
                <a:lnTo>
                  <a:pt x="92" y="619"/>
                </a:lnTo>
                <a:lnTo>
                  <a:pt x="111" y="607"/>
                </a:lnTo>
                <a:lnTo>
                  <a:pt x="130" y="599"/>
                </a:lnTo>
                <a:lnTo>
                  <a:pt x="152" y="592"/>
                </a:lnTo>
                <a:lnTo>
                  <a:pt x="2327" y="0"/>
                </a:lnTo>
                <a:lnTo>
                  <a:pt x="2327" y="2310"/>
                </a:lnTo>
                <a:lnTo>
                  <a:pt x="759" y="2310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2" name="Freeform 11"/>
          <p:cNvSpPr>
            <a:spLocks/>
          </p:cNvSpPr>
          <p:nvPr userDrawn="1"/>
        </p:nvSpPr>
        <p:spPr bwMode="auto">
          <a:xfrm>
            <a:off x="7248937" y="6127750"/>
            <a:ext cx="1389592" cy="730250"/>
          </a:xfrm>
          <a:custGeom>
            <a:avLst/>
            <a:gdLst>
              <a:gd name="T0" fmla="*/ 0 w 3232"/>
              <a:gd name="T1" fmla="*/ 1840 h 1840"/>
              <a:gd name="T2" fmla="*/ 1817 w 3232"/>
              <a:gd name="T3" fmla="*/ 49 h 1840"/>
              <a:gd name="T4" fmla="*/ 1825 w 3232"/>
              <a:gd name="T5" fmla="*/ 42 h 1840"/>
              <a:gd name="T6" fmla="*/ 1834 w 3232"/>
              <a:gd name="T7" fmla="*/ 35 h 1840"/>
              <a:gd name="T8" fmla="*/ 1842 w 3232"/>
              <a:gd name="T9" fmla="*/ 28 h 1840"/>
              <a:gd name="T10" fmla="*/ 1852 w 3232"/>
              <a:gd name="T11" fmla="*/ 22 h 1840"/>
              <a:gd name="T12" fmla="*/ 1861 w 3232"/>
              <a:gd name="T13" fmla="*/ 18 h 1840"/>
              <a:gd name="T14" fmla="*/ 1870 w 3232"/>
              <a:gd name="T15" fmla="*/ 13 h 1840"/>
              <a:gd name="T16" fmla="*/ 1880 w 3232"/>
              <a:gd name="T17" fmla="*/ 10 h 1840"/>
              <a:gd name="T18" fmla="*/ 1889 w 3232"/>
              <a:gd name="T19" fmla="*/ 7 h 1840"/>
              <a:gd name="T20" fmla="*/ 1899 w 3232"/>
              <a:gd name="T21" fmla="*/ 4 h 1840"/>
              <a:gd name="T22" fmla="*/ 1909 w 3232"/>
              <a:gd name="T23" fmla="*/ 3 h 1840"/>
              <a:gd name="T24" fmla="*/ 1919 w 3232"/>
              <a:gd name="T25" fmla="*/ 1 h 1840"/>
              <a:gd name="T26" fmla="*/ 1928 w 3232"/>
              <a:gd name="T27" fmla="*/ 0 h 1840"/>
              <a:gd name="T28" fmla="*/ 1949 w 3232"/>
              <a:gd name="T29" fmla="*/ 0 h 1840"/>
              <a:gd name="T30" fmla="*/ 1969 w 3232"/>
              <a:gd name="T31" fmla="*/ 4 h 1840"/>
              <a:gd name="T32" fmla="*/ 1989 w 3232"/>
              <a:gd name="T33" fmla="*/ 8 h 1840"/>
              <a:gd name="T34" fmla="*/ 2007 w 3232"/>
              <a:gd name="T35" fmla="*/ 15 h 1840"/>
              <a:gd name="T36" fmla="*/ 2026 w 3232"/>
              <a:gd name="T37" fmla="*/ 25 h 1840"/>
              <a:gd name="T38" fmla="*/ 2045 w 3232"/>
              <a:gd name="T39" fmla="*/ 35 h 1840"/>
              <a:gd name="T40" fmla="*/ 2061 w 3232"/>
              <a:gd name="T41" fmla="*/ 48 h 1840"/>
              <a:gd name="T42" fmla="*/ 2077 w 3232"/>
              <a:gd name="T43" fmla="*/ 63 h 1840"/>
              <a:gd name="T44" fmla="*/ 2092 w 3232"/>
              <a:gd name="T45" fmla="*/ 79 h 1840"/>
              <a:gd name="T46" fmla="*/ 2105 w 3232"/>
              <a:gd name="T47" fmla="*/ 98 h 1840"/>
              <a:gd name="T48" fmla="*/ 3232 w 3232"/>
              <a:gd name="T49" fmla="*/ 1840 h 1840"/>
              <a:gd name="T50" fmla="*/ 0 w 3232"/>
              <a:gd name="T51" fmla="*/ 1840 h 18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232" h="1840">
                <a:moveTo>
                  <a:pt x="0" y="1840"/>
                </a:moveTo>
                <a:lnTo>
                  <a:pt x="1817" y="49"/>
                </a:lnTo>
                <a:lnTo>
                  <a:pt x="1825" y="42"/>
                </a:lnTo>
                <a:lnTo>
                  <a:pt x="1834" y="35"/>
                </a:lnTo>
                <a:lnTo>
                  <a:pt x="1842" y="28"/>
                </a:lnTo>
                <a:lnTo>
                  <a:pt x="1852" y="22"/>
                </a:lnTo>
                <a:lnTo>
                  <a:pt x="1861" y="18"/>
                </a:lnTo>
                <a:lnTo>
                  <a:pt x="1870" y="13"/>
                </a:lnTo>
                <a:lnTo>
                  <a:pt x="1880" y="10"/>
                </a:lnTo>
                <a:lnTo>
                  <a:pt x="1889" y="7"/>
                </a:lnTo>
                <a:lnTo>
                  <a:pt x="1899" y="4"/>
                </a:lnTo>
                <a:lnTo>
                  <a:pt x="1909" y="3"/>
                </a:lnTo>
                <a:lnTo>
                  <a:pt x="1919" y="1"/>
                </a:lnTo>
                <a:lnTo>
                  <a:pt x="1928" y="0"/>
                </a:lnTo>
                <a:lnTo>
                  <a:pt x="1949" y="0"/>
                </a:lnTo>
                <a:lnTo>
                  <a:pt x="1969" y="4"/>
                </a:lnTo>
                <a:lnTo>
                  <a:pt x="1989" y="8"/>
                </a:lnTo>
                <a:lnTo>
                  <a:pt x="2007" y="15"/>
                </a:lnTo>
                <a:lnTo>
                  <a:pt x="2026" y="25"/>
                </a:lnTo>
                <a:lnTo>
                  <a:pt x="2045" y="35"/>
                </a:lnTo>
                <a:lnTo>
                  <a:pt x="2061" y="48"/>
                </a:lnTo>
                <a:lnTo>
                  <a:pt x="2077" y="63"/>
                </a:lnTo>
                <a:lnTo>
                  <a:pt x="2092" y="79"/>
                </a:lnTo>
                <a:lnTo>
                  <a:pt x="2105" y="98"/>
                </a:lnTo>
                <a:lnTo>
                  <a:pt x="3232" y="1840"/>
                </a:lnTo>
                <a:lnTo>
                  <a:pt x="0" y="1840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4" name="Freeform 13"/>
          <p:cNvSpPr>
            <a:spLocks/>
          </p:cNvSpPr>
          <p:nvPr userDrawn="1"/>
        </p:nvSpPr>
        <p:spPr bwMode="auto">
          <a:xfrm>
            <a:off x="5510213" y="4397544"/>
            <a:ext cx="2424906" cy="1976437"/>
          </a:xfrm>
          <a:custGeom>
            <a:avLst/>
            <a:gdLst>
              <a:gd name="T0" fmla="*/ 5548 w 5640"/>
              <a:gd name="T1" fmla="*/ 2360 h 4980"/>
              <a:gd name="T2" fmla="*/ 5567 w 5640"/>
              <a:gd name="T3" fmla="*/ 2372 h 4980"/>
              <a:gd name="T4" fmla="*/ 5584 w 5640"/>
              <a:gd name="T5" fmla="*/ 2385 h 4980"/>
              <a:gd name="T6" fmla="*/ 5598 w 5640"/>
              <a:gd name="T7" fmla="*/ 2400 h 4980"/>
              <a:gd name="T8" fmla="*/ 5611 w 5640"/>
              <a:gd name="T9" fmla="*/ 2415 h 4980"/>
              <a:gd name="T10" fmla="*/ 5621 w 5640"/>
              <a:gd name="T11" fmla="*/ 2432 h 4980"/>
              <a:gd name="T12" fmla="*/ 5629 w 5640"/>
              <a:gd name="T13" fmla="*/ 2451 h 4980"/>
              <a:gd name="T14" fmla="*/ 5639 w 5640"/>
              <a:gd name="T15" fmla="*/ 2490 h 4980"/>
              <a:gd name="T16" fmla="*/ 5640 w 5640"/>
              <a:gd name="T17" fmla="*/ 2531 h 4980"/>
              <a:gd name="T18" fmla="*/ 5632 w 5640"/>
              <a:gd name="T19" fmla="*/ 2572 h 4980"/>
              <a:gd name="T20" fmla="*/ 5616 w 5640"/>
              <a:gd name="T21" fmla="*/ 2611 h 4980"/>
              <a:gd name="T22" fmla="*/ 5591 w 5640"/>
              <a:gd name="T23" fmla="*/ 2648 h 4980"/>
              <a:gd name="T24" fmla="*/ 3873 w 5640"/>
              <a:gd name="T25" fmla="*/ 4768 h 4980"/>
              <a:gd name="T26" fmla="*/ 3834 w 5640"/>
              <a:gd name="T27" fmla="*/ 4811 h 4980"/>
              <a:gd name="T28" fmla="*/ 3792 w 5640"/>
              <a:gd name="T29" fmla="*/ 4850 h 4980"/>
              <a:gd name="T30" fmla="*/ 3750 w 5640"/>
              <a:gd name="T31" fmla="*/ 4882 h 4980"/>
              <a:gd name="T32" fmla="*/ 3707 w 5640"/>
              <a:gd name="T33" fmla="*/ 4910 h 4980"/>
              <a:gd name="T34" fmla="*/ 3664 w 5640"/>
              <a:gd name="T35" fmla="*/ 4933 h 4980"/>
              <a:gd name="T36" fmla="*/ 3620 w 5640"/>
              <a:gd name="T37" fmla="*/ 4952 h 4980"/>
              <a:gd name="T38" fmla="*/ 3576 w 5640"/>
              <a:gd name="T39" fmla="*/ 4966 h 4980"/>
              <a:gd name="T40" fmla="*/ 3530 w 5640"/>
              <a:gd name="T41" fmla="*/ 4975 h 4980"/>
              <a:gd name="T42" fmla="*/ 3486 w 5640"/>
              <a:gd name="T43" fmla="*/ 4980 h 4980"/>
              <a:gd name="T44" fmla="*/ 3441 w 5640"/>
              <a:gd name="T45" fmla="*/ 4980 h 4980"/>
              <a:gd name="T46" fmla="*/ 3397 w 5640"/>
              <a:gd name="T47" fmla="*/ 4976 h 4980"/>
              <a:gd name="T48" fmla="*/ 3351 w 5640"/>
              <a:gd name="T49" fmla="*/ 4968 h 4980"/>
              <a:gd name="T50" fmla="*/ 3306 w 5640"/>
              <a:gd name="T51" fmla="*/ 4957 h 4980"/>
              <a:gd name="T52" fmla="*/ 3262 w 5640"/>
              <a:gd name="T53" fmla="*/ 4941 h 4980"/>
              <a:gd name="T54" fmla="*/ 3218 w 5640"/>
              <a:gd name="T55" fmla="*/ 4923 h 4980"/>
              <a:gd name="T56" fmla="*/ 297 w 5640"/>
              <a:gd name="T57" fmla="*/ 3413 h 4980"/>
              <a:gd name="T58" fmla="*/ 254 w 5640"/>
              <a:gd name="T59" fmla="*/ 3390 h 4980"/>
              <a:gd name="T60" fmla="*/ 215 w 5640"/>
              <a:gd name="T61" fmla="*/ 3363 h 4980"/>
              <a:gd name="T62" fmla="*/ 179 w 5640"/>
              <a:gd name="T63" fmla="*/ 3335 h 4980"/>
              <a:gd name="T64" fmla="*/ 144 w 5640"/>
              <a:gd name="T65" fmla="*/ 3304 h 4980"/>
              <a:gd name="T66" fmla="*/ 113 w 5640"/>
              <a:gd name="T67" fmla="*/ 3270 h 4980"/>
              <a:gd name="T68" fmla="*/ 87 w 5640"/>
              <a:gd name="T69" fmla="*/ 3235 h 4980"/>
              <a:gd name="T70" fmla="*/ 62 w 5640"/>
              <a:gd name="T71" fmla="*/ 3197 h 4980"/>
              <a:gd name="T72" fmla="*/ 43 w 5640"/>
              <a:gd name="T73" fmla="*/ 3156 h 4980"/>
              <a:gd name="T74" fmla="*/ 25 w 5640"/>
              <a:gd name="T75" fmla="*/ 3113 h 4980"/>
              <a:gd name="T76" fmla="*/ 13 w 5640"/>
              <a:gd name="T77" fmla="*/ 3068 h 4980"/>
              <a:gd name="T78" fmla="*/ 4 w 5640"/>
              <a:gd name="T79" fmla="*/ 3020 h 4980"/>
              <a:gd name="T80" fmla="*/ 1 w 5640"/>
              <a:gd name="T81" fmla="*/ 2972 h 4980"/>
              <a:gd name="T82" fmla="*/ 1 w 5640"/>
              <a:gd name="T83" fmla="*/ 2919 h 4980"/>
              <a:gd name="T84" fmla="*/ 5 w 5640"/>
              <a:gd name="T85" fmla="*/ 2865 h 4980"/>
              <a:gd name="T86" fmla="*/ 15 w 5640"/>
              <a:gd name="T87" fmla="*/ 2808 h 4980"/>
              <a:gd name="T88" fmla="*/ 30 w 5640"/>
              <a:gd name="T89" fmla="*/ 2748 h 4980"/>
              <a:gd name="T90" fmla="*/ 764 w 5640"/>
              <a:gd name="T91" fmla="*/ 130 h 4980"/>
              <a:gd name="T92" fmla="*/ 784 w 5640"/>
              <a:gd name="T93" fmla="*/ 90 h 4980"/>
              <a:gd name="T94" fmla="*/ 810 w 5640"/>
              <a:gd name="T95" fmla="*/ 58 h 4980"/>
              <a:gd name="T96" fmla="*/ 841 w 5640"/>
              <a:gd name="T97" fmla="*/ 31 h 4980"/>
              <a:gd name="T98" fmla="*/ 877 w 5640"/>
              <a:gd name="T99" fmla="*/ 11 h 4980"/>
              <a:gd name="T100" fmla="*/ 906 w 5640"/>
              <a:gd name="T101" fmla="*/ 3 h 4980"/>
              <a:gd name="T102" fmla="*/ 926 w 5640"/>
              <a:gd name="T103" fmla="*/ 1 h 4980"/>
              <a:gd name="T104" fmla="*/ 946 w 5640"/>
              <a:gd name="T105" fmla="*/ 0 h 4980"/>
              <a:gd name="T106" fmla="*/ 967 w 5640"/>
              <a:gd name="T107" fmla="*/ 2 h 4980"/>
              <a:gd name="T108" fmla="*/ 986 w 5640"/>
              <a:gd name="T109" fmla="*/ 7 h 4980"/>
              <a:gd name="T110" fmla="*/ 1007 w 5640"/>
              <a:gd name="T111" fmla="*/ 14 h 49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640" h="4980">
                <a:moveTo>
                  <a:pt x="1018" y="20"/>
                </a:moveTo>
                <a:lnTo>
                  <a:pt x="5548" y="2360"/>
                </a:lnTo>
                <a:lnTo>
                  <a:pt x="5557" y="2366"/>
                </a:lnTo>
                <a:lnTo>
                  <a:pt x="5567" y="2372"/>
                </a:lnTo>
                <a:lnTo>
                  <a:pt x="5576" y="2378"/>
                </a:lnTo>
                <a:lnTo>
                  <a:pt x="5584" y="2385"/>
                </a:lnTo>
                <a:lnTo>
                  <a:pt x="5591" y="2392"/>
                </a:lnTo>
                <a:lnTo>
                  <a:pt x="5598" y="2400"/>
                </a:lnTo>
                <a:lnTo>
                  <a:pt x="5605" y="2407"/>
                </a:lnTo>
                <a:lnTo>
                  <a:pt x="5611" y="2415"/>
                </a:lnTo>
                <a:lnTo>
                  <a:pt x="5617" y="2424"/>
                </a:lnTo>
                <a:lnTo>
                  <a:pt x="5621" y="2432"/>
                </a:lnTo>
                <a:lnTo>
                  <a:pt x="5626" y="2442"/>
                </a:lnTo>
                <a:lnTo>
                  <a:pt x="5629" y="2451"/>
                </a:lnTo>
                <a:lnTo>
                  <a:pt x="5635" y="2471"/>
                </a:lnTo>
                <a:lnTo>
                  <a:pt x="5639" y="2490"/>
                </a:lnTo>
                <a:lnTo>
                  <a:pt x="5640" y="2510"/>
                </a:lnTo>
                <a:lnTo>
                  <a:pt x="5640" y="2531"/>
                </a:lnTo>
                <a:lnTo>
                  <a:pt x="5636" y="2551"/>
                </a:lnTo>
                <a:lnTo>
                  <a:pt x="5632" y="2572"/>
                </a:lnTo>
                <a:lnTo>
                  <a:pt x="5625" y="2592"/>
                </a:lnTo>
                <a:lnTo>
                  <a:pt x="5616" y="2611"/>
                </a:lnTo>
                <a:lnTo>
                  <a:pt x="5605" y="2631"/>
                </a:lnTo>
                <a:lnTo>
                  <a:pt x="5591" y="2648"/>
                </a:lnTo>
                <a:lnTo>
                  <a:pt x="3894" y="4745"/>
                </a:lnTo>
                <a:lnTo>
                  <a:pt x="3873" y="4768"/>
                </a:lnTo>
                <a:lnTo>
                  <a:pt x="3854" y="4790"/>
                </a:lnTo>
                <a:lnTo>
                  <a:pt x="3834" y="4811"/>
                </a:lnTo>
                <a:lnTo>
                  <a:pt x="3813" y="4831"/>
                </a:lnTo>
                <a:lnTo>
                  <a:pt x="3792" y="4850"/>
                </a:lnTo>
                <a:lnTo>
                  <a:pt x="3771" y="4867"/>
                </a:lnTo>
                <a:lnTo>
                  <a:pt x="3750" y="4882"/>
                </a:lnTo>
                <a:lnTo>
                  <a:pt x="3729" y="4897"/>
                </a:lnTo>
                <a:lnTo>
                  <a:pt x="3707" y="4910"/>
                </a:lnTo>
                <a:lnTo>
                  <a:pt x="3686" y="4923"/>
                </a:lnTo>
                <a:lnTo>
                  <a:pt x="3664" y="4933"/>
                </a:lnTo>
                <a:lnTo>
                  <a:pt x="3642" y="4944"/>
                </a:lnTo>
                <a:lnTo>
                  <a:pt x="3620" y="4952"/>
                </a:lnTo>
                <a:lnTo>
                  <a:pt x="3598" y="4959"/>
                </a:lnTo>
                <a:lnTo>
                  <a:pt x="3576" y="4966"/>
                </a:lnTo>
                <a:lnTo>
                  <a:pt x="3554" y="4971"/>
                </a:lnTo>
                <a:lnTo>
                  <a:pt x="3530" y="4975"/>
                </a:lnTo>
                <a:lnTo>
                  <a:pt x="3508" y="4978"/>
                </a:lnTo>
                <a:lnTo>
                  <a:pt x="3486" y="4980"/>
                </a:lnTo>
                <a:lnTo>
                  <a:pt x="3464" y="4980"/>
                </a:lnTo>
                <a:lnTo>
                  <a:pt x="3441" y="4980"/>
                </a:lnTo>
                <a:lnTo>
                  <a:pt x="3419" y="4979"/>
                </a:lnTo>
                <a:lnTo>
                  <a:pt x="3397" y="4976"/>
                </a:lnTo>
                <a:lnTo>
                  <a:pt x="3374" y="4973"/>
                </a:lnTo>
                <a:lnTo>
                  <a:pt x="3351" y="4968"/>
                </a:lnTo>
                <a:lnTo>
                  <a:pt x="3329" y="4964"/>
                </a:lnTo>
                <a:lnTo>
                  <a:pt x="3306" y="4957"/>
                </a:lnTo>
                <a:lnTo>
                  <a:pt x="3284" y="4950"/>
                </a:lnTo>
                <a:lnTo>
                  <a:pt x="3262" y="4941"/>
                </a:lnTo>
                <a:lnTo>
                  <a:pt x="3240" y="4932"/>
                </a:lnTo>
                <a:lnTo>
                  <a:pt x="3218" y="4923"/>
                </a:lnTo>
                <a:lnTo>
                  <a:pt x="3196" y="4911"/>
                </a:lnTo>
                <a:lnTo>
                  <a:pt x="297" y="3413"/>
                </a:lnTo>
                <a:lnTo>
                  <a:pt x="275" y="3402"/>
                </a:lnTo>
                <a:lnTo>
                  <a:pt x="254" y="3390"/>
                </a:lnTo>
                <a:lnTo>
                  <a:pt x="234" y="3377"/>
                </a:lnTo>
                <a:lnTo>
                  <a:pt x="215" y="3363"/>
                </a:lnTo>
                <a:lnTo>
                  <a:pt x="196" y="3349"/>
                </a:lnTo>
                <a:lnTo>
                  <a:pt x="179" y="3335"/>
                </a:lnTo>
                <a:lnTo>
                  <a:pt x="161" y="3320"/>
                </a:lnTo>
                <a:lnTo>
                  <a:pt x="144" y="3304"/>
                </a:lnTo>
                <a:lnTo>
                  <a:pt x="129" y="3288"/>
                </a:lnTo>
                <a:lnTo>
                  <a:pt x="113" y="3270"/>
                </a:lnTo>
                <a:lnTo>
                  <a:pt x="99" y="3253"/>
                </a:lnTo>
                <a:lnTo>
                  <a:pt x="87" y="3235"/>
                </a:lnTo>
                <a:lnTo>
                  <a:pt x="74" y="3217"/>
                </a:lnTo>
                <a:lnTo>
                  <a:pt x="62" y="3197"/>
                </a:lnTo>
                <a:lnTo>
                  <a:pt x="52" y="3177"/>
                </a:lnTo>
                <a:lnTo>
                  <a:pt x="43" y="3156"/>
                </a:lnTo>
                <a:lnTo>
                  <a:pt x="33" y="3135"/>
                </a:lnTo>
                <a:lnTo>
                  <a:pt x="25" y="3113"/>
                </a:lnTo>
                <a:lnTo>
                  <a:pt x="18" y="3091"/>
                </a:lnTo>
                <a:lnTo>
                  <a:pt x="13" y="3068"/>
                </a:lnTo>
                <a:lnTo>
                  <a:pt x="8" y="3045"/>
                </a:lnTo>
                <a:lnTo>
                  <a:pt x="4" y="3020"/>
                </a:lnTo>
                <a:lnTo>
                  <a:pt x="2" y="2996"/>
                </a:lnTo>
                <a:lnTo>
                  <a:pt x="1" y="2972"/>
                </a:lnTo>
                <a:lnTo>
                  <a:pt x="0" y="2945"/>
                </a:lnTo>
                <a:lnTo>
                  <a:pt x="1" y="2919"/>
                </a:lnTo>
                <a:lnTo>
                  <a:pt x="2" y="2891"/>
                </a:lnTo>
                <a:lnTo>
                  <a:pt x="5" y="2865"/>
                </a:lnTo>
                <a:lnTo>
                  <a:pt x="10" y="2836"/>
                </a:lnTo>
                <a:lnTo>
                  <a:pt x="15" y="2808"/>
                </a:lnTo>
                <a:lnTo>
                  <a:pt x="22" y="2779"/>
                </a:lnTo>
                <a:lnTo>
                  <a:pt x="30" y="2748"/>
                </a:lnTo>
                <a:lnTo>
                  <a:pt x="757" y="151"/>
                </a:lnTo>
                <a:lnTo>
                  <a:pt x="764" y="130"/>
                </a:lnTo>
                <a:lnTo>
                  <a:pt x="772" y="109"/>
                </a:lnTo>
                <a:lnTo>
                  <a:pt x="784" y="90"/>
                </a:lnTo>
                <a:lnTo>
                  <a:pt x="796" y="73"/>
                </a:lnTo>
                <a:lnTo>
                  <a:pt x="810" y="58"/>
                </a:lnTo>
                <a:lnTo>
                  <a:pt x="825" y="43"/>
                </a:lnTo>
                <a:lnTo>
                  <a:pt x="841" y="31"/>
                </a:lnTo>
                <a:lnTo>
                  <a:pt x="858" y="21"/>
                </a:lnTo>
                <a:lnTo>
                  <a:pt x="877" y="11"/>
                </a:lnTo>
                <a:lnTo>
                  <a:pt x="896" y="6"/>
                </a:lnTo>
                <a:lnTo>
                  <a:pt x="906" y="3"/>
                </a:lnTo>
                <a:lnTo>
                  <a:pt x="915" y="2"/>
                </a:lnTo>
                <a:lnTo>
                  <a:pt x="926" y="1"/>
                </a:lnTo>
                <a:lnTo>
                  <a:pt x="936" y="0"/>
                </a:lnTo>
                <a:lnTo>
                  <a:pt x="946" y="0"/>
                </a:lnTo>
                <a:lnTo>
                  <a:pt x="956" y="1"/>
                </a:lnTo>
                <a:lnTo>
                  <a:pt x="967" y="2"/>
                </a:lnTo>
                <a:lnTo>
                  <a:pt x="977" y="4"/>
                </a:lnTo>
                <a:lnTo>
                  <a:pt x="986" y="7"/>
                </a:lnTo>
                <a:lnTo>
                  <a:pt x="997" y="10"/>
                </a:lnTo>
                <a:lnTo>
                  <a:pt x="1007" y="14"/>
                </a:lnTo>
                <a:lnTo>
                  <a:pt x="1018" y="20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6" name="Группа 15"/>
          <p:cNvGrpSpPr/>
          <p:nvPr userDrawn="1"/>
        </p:nvGrpSpPr>
        <p:grpSpPr>
          <a:xfrm>
            <a:off x="531416" y="487363"/>
            <a:ext cx="2332038" cy="455612"/>
            <a:chOff x="490538" y="487363"/>
            <a:chExt cx="2152650" cy="455612"/>
          </a:xfrm>
        </p:grpSpPr>
        <p:sp>
          <p:nvSpPr>
            <p:cNvPr id="17" name="Freeform 5"/>
            <p:cNvSpPr>
              <a:spLocks noEditPoints="1"/>
            </p:cNvSpPr>
            <p:nvPr userDrawn="1"/>
          </p:nvSpPr>
          <p:spPr bwMode="auto">
            <a:xfrm>
              <a:off x="1144588" y="590550"/>
              <a:ext cx="1498600" cy="247650"/>
            </a:xfrm>
            <a:custGeom>
              <a:avLst/>
              <a:gdLst>
                <a:gd name="T0" fmla="*/ 2465 w 11327"/>
                <a:gd name="T1" fmla="*/ 803 h 1868"/>
                <a:gd name="T2" fmla="*/ 2667 w 11327"/>
                <a:gd name="T3" fmla="*/ 466 h 1868"/>
                <a:gd name="T4" fmla="*/ 3049 w 11327"/>
                <a:gd name="T5" fmla="*/ 345 h 1868"/>
                <a:gd name="T6" fmla="*/ 3430 w 11327"/>
                <a:gd name="T7" fmla="*/ 466 h 1868"/>
                <a:gd name="T8" fmla="*/ 3632 w 11327"/>
                <a:gd name="T9" fmla="*/ 803 h 1868"/>
                <a:gd name="T10" fmla="*/ 3574 w 11327"/>
                <a:gd name="T11" fmla="*/ 1233 h 1868"/>
                <a:gd name="T12" fmla="*/ 3284 w 11327"/>
                <a:gd name="T13" fmla="*/ 1483 h 1868"/>
                <a:gd name="T14" fmla="*/ 2870 w 11327"/>
                <a:gd name="T15" fmla="*/ 1500 h 1868"/>
                <a:gd name="T16" fmla="*/ 2553 w 11327"/>
                <a:gd name="T17" fmla="*/ 1281 h 1868"/>
                <a:gd name="T18" fmla="*/ 4046 w 11327"/>
                <a:gd name="T19" fmla="*/ 882 h 1868"/>
                <a:gd name="T20" fmla="*/ 3784 w 11327"/>
                <a:gd name="T21" fmla="*/ 289 h 1868"/>
                <a:gd name="T22" fmla="*/ 3199 w 11327"/>
                <a:gd name="T23" fmla="*/ 10 h 1868"/>
                <a:gd name="T24" fmla="*/ 2536 w 11327"/>
                <a:gd name="T25" fmla="*/ 125 h 1868"/>
                <a:gd name="T26" fmla="*/ 2113 w 11327"/>
                <a:gd name="T27" fmla="*/ 595 h 1868"/>
                <a:gd name="T28" fmla="*/ 2113 w 11327"/>
                <a:gd name="T29" fmla="*/ 1273 h 1868"/>
                <a:gd name="T30" fmla="*/ 2536 w 11327"/>
                <a:gd name="T31" fmla="*/ 1743 h 1868"/>
                <a:gd name="T32" fmla="*/ 3199 w 11327"/>
                <a:gd name="T33" fmla="*/ 1858 h 1868"/>
                <a:gd name="T34" fmla="*/ 3784 w 11327"/>
                <a:gd name="T35" fmla="*/ 1579 h 1868"/>
                <a:gd name="T36" fmla="*/ 4046 w 11327"/>
                <a:gd name="T37" fmla="*/ 985 h 1868"/>
                <a:gd name="T38" fmla="*/ 4444 w 11327"/>
                <a:gd name="T39" fmla="*/ 1443 h 1868"/>
                <a:gd name="T40" fmla="*/ 4540 w 11327"/>
                <a:gd name="T41" fmla="*/ 1808 h 1868"/>
                <a:gd name="T42" fmla="*/ 4811 w 11327"/>
                <a:gd name="T43" fmla="*/ 1650 h 1868"/>
                <a:gd name="T44" fmla="*/ 5796 w 11327"/>
                <a:gd name="T45" fmla="*/ 403 h 1868"/>
                <a:gd name="T46" fmla="*/ 7304 w 11327"/>
                <a:gd name="T47" fmla="*/ 1292 h 1868"/>
                <a:gd name="T48" fmla="*/ 7673 w 11327"/>
                <a:gd name="T49" fmla="*/ 1730 h 1868"/>
                <a:gd name="T50" fmla="*/ 8267 w 11327"/>
                <a:gd name="T51" fmla="*/ 1867 h 1868"/>
                <a:gd name="T52" fmla="*/ 8871 w 11327"/>
                <a:gd name="T53" fmla="*/ 1653 h 1868"/>
                <a:gd name="T54" fmla="*/ 9178 w 11327"/>
                <a:gd name="T55" fmla="*/ 1094 h 1868"/>
                <a:gd name="T56" fmla="*/ 9049 w 11327"/>
                <a:gd name="T57" fmla="*/ 414 h 1868"/>
                <a:gd name="T58" fmla="*/ 8552 w 11327"/>
                <a:gd name="T59" fmla="*/ 48 h 1868"/>
                <a:gd name="T60" fmla="*/ 7924 w 11327"/>
                <a:gd name="T61" fmla="*/ 36 h 1868"/>
                <a:gd name="T62" fmla="*/ 7459 w 11327"/>
                <a:gd name="T63" fmla="*/ 313 h 1868"/>
                <a:gd name="T64" fmla="*/ 6585 w 11327"/>
                <a:gd name="T65" fmla="*/ 42 h 1868"/>
                <a:gd name="T66" fmla="*/ 7740 w 11327"/>
                <a:gd name="T67" fmla="*/ 563 h 1868"/>
                <a:gd name="T68" fmla="*/ 8053 w 11327"/>
                <a:gd name="T69" fmla="*/ 361 h 1868"/>
                <a:gd name="T70" fmla="*/ 8492 w 11327"/>
                <a:gd name="T71" fmla="*/ 396 h 1868"/>
                <a:gd name="T72" fmla="*/ 8744 w 11327"/>
                <a:gd name="T73" fmla="*/ 660 h 1868"/>
                <a:gd name="T74" fmla="*/ 8775 w 11327"/>
                <a:gd name="T75" fmla="*/ 1095 h 1868"/>
                <a:gd name="T76" fmla="*/ 8585 w 11327"/>
                <a:gd name="T77" fmla="*/ 1418 h 1868"/>
                <a:gd name="T78" fmla="*/ 8182 w 11327"/>
                <a:gd name="T79" fmla="*/ 1522 h 1868"/>
                <a:gd name="T80" fmla="*/ 7807 w 11327"/>
                <a:gd name="T81" fmla="*/ 1385 h 1868"/>
                <a:gd name="T82" fmla="*/ 7649 w 11327"/>
                <a:gd name="T83" fmla="*/ 1033 h 1868"/>
                <a:gd name="T84" fmla="*/ 11121 w 11327"/>
                <a:gd name="T85" fmla="*/ 228 h 1868"/>
                <a:gd name="T86" fmla="*/ 10716 w 11327"/>
                <a:gd name="T87" fmla="*/ 30 h 1868"/>
                <a:gd name="T88" fmla="*/ 10126 w 11327"/>
                <a:gd name="T89" fmla="*/ 37 h 1868"/>
                <a:gd name="T90" fmla="*/ 9598 w 11327"/>
                <a:gd name="T91" fmla="*/ 385 h 1868"/>
                <a:gd name="T92" fmla="*/ 9435 w 11327"/>
                <a:gd name="T93" fmla="*/ 1039 h 1868"/>
                <a:gd name="T94" fmla="*/ 9714 w 11327"/>
                <a:gd name="T95" fmla="*/ 1617 h 1868"/>
                <a:gd name="T96" fmla="*/ 10320 w 11327"/>
                <a:gd name="T97" fmla="*/ 1863 h 1868"/>
                <a:gd name="T98" fmla="*/ 10845 w 11327"/>
                <a:gd name="T99" fmla="*/ 1799 h 1868"/>
                <a:gd name="T100" fmla="*/ 11211 w 11327"/>
                <a:gd name="T101" fmla="*/ 1551 h 1868"/>
                <a:gd name="T102" fmla="*/ 10919 w 11327"/>
                <a:gd name="T103" fmla="*/ 1325 h 1868"/>
                <a:gd name="T104" fmla="*/ 10676 w 11327"/>
                <a:gd name="T105" fmla="*/ 1473 h 1868"/>
                <a:gd name="T106" fmla="*/ 10324 w 11327"/>
                <a:gd name="T107" fmla="*/ 1504 h 1868"/>
                <a:gd name="T108" fmla="*/ 9975 w 11327"/>
                <a:gd name="T109" fmla="*/ 1332 h 1868"/>
                <a:gd name="T110" fmla="*/ 9831 w 11327"/>
                <a:gd name="T111" fmla="*/ 966 h 1868"/>
                <a:gd name="T112" fmla="*/ 9938 w 11327"/>
                <a:gd name="T113" fmla="*/ 575 h 1868"/>
                <a:gd name="T114" fmla="*/ 10261 w 11327"/>
                <a:gd name="T115" fmla="*/ 373 h 1868"/>
                <a:gd name="T116" fmla="*/ 10634 w 11327"/>
                <a:gd name="T117" fmla="*/ 382 h 1868"/>
                <a:gd name="T118" fmla="*/ 10890 w 11327"/>
                <a:gd name="T119" fmla="*/ 515 h 1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27" h="1868">
                  <a:moveTo>
                    <a:pt x="0" y="42"/>
                  </a:moveTo>
                  <a:lnTo>
                    <a:pt x="0" y="1822"/>
                  </a:lnTo>
                  <a:lnTo>
                    <a:pt x="399" y="1822"/>
                  </a:lnTo>
                  <a:lnTo>
                    <a:pt x="399" y="400"/>
                  </a:lnTo>
                  <a:lnTo>
                    <a:pt x="1352" y="400"/>
                  </a:lnTo>
                  <a:lnTo>
                    <a:pt x="1352" y="1822"/>
                  </a:lnTo>
                  <a:lnTo>
                    <a:pt x="1755" y="1822"/>
                  </a:lnTo>
                  <a:lnTo>
                    <a:pt x="1755" y="42"/>
                  </a:lnTo>
                  <a:lnTo>
                    <a:pt x="0" y="42"/>
                  </a:lnTo>
                  <a:close/>
                  <a:moveTo>
                    <a:pt x="2454" y="933"/>
                  </a:moveTo>
                  <a:lnTo>
                    <a:pt x="2454" y="900"/>
                  </a:lnTo>
                  <a:lnTo>
                    <a:pt x="2457" y="866"/>
                  </a:lnTo>
                  <a:lnTo>
                    <a:pt x="2460" y="835"/>
                  </a:lnTo>
                  <a:lnTo>
                    <a:pt x="2465" y="803"/>
                  </a:lnTo>
                  <a:lnTo>
                    <a:pt x="2472" y="773"/>
                  </a:lnTo>
                  <a:lnTo>
                    <a:pt x="2480" y="743"/>
                  </a:lnTo>
                  <a:lnTo>
                    <a:pt x="2489" y="715"/>
                  </a:lnTo>
                  <a:lnTo>
                    <a:pt x="2499" y="686"/>
                  </a:lnTo>
                  <a:lnTo>
                    <a:pt x="2511" y="660"/>
                  </a:lnTo>
                  <a:lnTo>
                    <a:pt x="2524" y="634"/>
                  </a:lnTo>
                  <a:lnTo>
                    <a:pt x="2538" y="610"/>
                  </a:lnTo>
                  <a:lnTo>
                    <a:pt x="2553" y="586"/>
                  </a:lnTo>
                  <a:lnTo>
                    <a:pt x="2570" y="563"/>
                  </a:lnTo>
                  <a:lnTo>
                    <a:pt x="2588" y="542"/>
                  </a:lnTo>
                  <a:lnTo>
                    <a:pt x="2606" y="521"/>
                  </a:lnTo>
                  <a:lnTo>
                    <a:pt x="2626" y="501"/>
                  </a:lnTo>
                  <a:lnTo>
                    <a:pt x="2646" y="483"/>
                  </a:lnTo>
                  <a:lnTo>
                    <a:pt x="2667" y="466"/>
                  </a:lnTo>
                  <a:lnTo>
                    <a:pt x="2691" y="449"/>
                  </a:lnTo>
                  <a:lnTo>
                    <a:pt x="2713" y="434"/>
                  </a:lnTo>
                  <a:lnTo>
                    <a:pt x="2737" y="420"/>
                  </a:lnTo>
                  <a:lnTo>
                    <a:pt x="2763" y="408"/>
                  </a:lnTo>
                  <a:lnTo>
                    <a:pt x="2788" y="396"/>
                  </a:lnTo>
                  <a:lnTo>
                    <a:pt x="2815" y="385"/>
                  </a:lnTo>
                  <a:lnTo>
                    <a:pt x="2842" y="375"/>
                  </a:lnTo>
                  <a:lnTo>
                    <a:pt x="2870" y="367"/>
                  </a:lnTo>
                  <a:lnTo>
                    <a:pt x="2898" y="361"/>
                  </a:lnTo>
                  <a:lnTo>
                    <a:pt x="2928" y="355"/>
                  </a:lnTo>
                  <a:lnTo>
                    <a:pt x="2957" y="351"/>
                  </a:lnTo>
                  <a:lnTo>
                    <a:pt x="2988" y="347"/>
                  </a:lnTo>
                  <a:lnTo>
                    <a:pt x="3018" y="345"/>
                  </a:lnTo>
                  <a:lnTo>
                    <a:pt x="3049" y="345"/>
                  </a:lnTo>
                  <a:lnTo>
                    <a:pt x="3080" y="345"/>
                  </a:lnTo>
                  <a:lnTo>
                    <a:pt x="3111" y="347"/>
                  </a:lnTo>
                  <a:lnTo>
                    <a:pt x="3141" y="351"/>
                  </a:lnTo>
                  <a:lnTo>
                    <a:pt x="3171" y="355"/>
                  </a:lnTo>
                  <a:lnTo>
                    <a:pt x="3200" y="361"/>
                  </a:lnTo>
                  <a:lnTo>
                    <a:pt x="3229" y="367"/>
                  </a:lnTo>
                  <a:lnTo>
                    <a:pt x="3256" y="375"/>
                  </a:lnTo>
                  <a:lnTo>
                    <a:pt x="3284" y="385"/>
                  </a:lnTo>
                  <a:lnTo>
                    <a:pt x="3310" y="396"/>
                  </a:lnTo>
                  <a:lnTo>
                    <a:pt x="3335" y="408"/>
                  </a:lnTo>
                  <a:lnTo>
                    <a:pt x="3361" y="420"/>
                  </a:lnTo>
                  <a:lnTo>
                    <a:pt x="3384" y="434"/>
                  </a:lnTo>
                  <a:lnTo>
                    <a:pt x="3408" y="449"/>
                  </a:lnTo>
                  <a:lnTo>
                    <a:pt x="3430" y="466"/>
                  </a:lnTo>
                  <a:lnTo>
                    <a:pt x="3452" y="483"/>
                  </a:lnTo>
                  <a:lnTo>
                    <a:pt x="3473" y="501"/>
                  </a:lnTo>
                  <a:lnTo>
                    <a:pt x="3492" y="521"/>
                  </a:lnTo>
                  <a:lnTo>
                    <a:pt x="3510" y="542"/>
                  </a:lnTo>
                  <a:lnTo>
                    <a:pt x="3528" y="563"/>
                  </a:lnTo>
                  <a:lnTo>
                    <a:pt x="3545" y="586"/>
                  </a:lnTo>
                  <a:lnTo>
                    <a:pt x="3560" y="610"/>
                  </a:lnTo>
                  <a:lnTo>
                    <a:pt x="3574" y="634"/>
                  </a:lnTo>
                  <a:lnTo>
                    <a:pt x="3587" y="660"/>
                  </a:lnTo>
                  <a:lnTo>
                    <a:pt x="3599" y="686"/>
                  </a:lnTo>
                  <a:lnTo>
                    <a:pt x="3609" y="715"/>
                  </a:lnTo>
                  <a:lnTo>
                    <a:pt x="3618" y="743"/>
                  </a:lnTo>
                  <a:lnTo>
                    <a:pt x="3626" y="773"/>
                  </a:lnTo>
                  <a:lnTo>
                    <a:pt x="3632" y="803"/>
                  </a:lnTo>
                  <a:lnTo>
                    <a:pt x="3637" y="835"/>
                  </a:lnTo>
                  <a:lnTo>
                    <a:pt x="3642" y="866"/>
                  </a:lnTo>
                  <a:lnTo>
                    <a:pt x="3644" y="900"/>
                  </a:lnTo>
                  <a:lnTo>
                    <a:pt x="3645" y="933"/>
                  </a:lnTo>
                  <a:lnTo>
                    <a:pt x="3644" y="968"/>
                  </a:lnTo>
                  <a:lnTo>
                    <a:pt x="3642" y="1001"/>
                  </a:lnTo>
                  <a:lnTo>
                    <a:pt x="3637" y="1033"/>
                  </a:lnTo>
                  <a:lnTo>
                    <a:pt x="3632" y="1065"/>
                  </a:lnTo>
                  <a:lnTo>
                    <a:pt x="3626" y="1095"/>
                  </a:lnTo>
                  <a:lnTo>
                    <a:pt x="3618" y="1125"/>
                  </a:lnTo>
                  <a:lnTo>
                    <a:pt x="3609" y="1153"/>
                  </a:lnTo>
                  <a:lnTo>
                    <a:pt x="3599" y="1181"/>
                  </a:lnTo>
                  <a:lnTo>
                    <a:pt x="3587" y="1207"/>
                  </a:lnTo>
                  <a:lnTo>
                    <a:pt x="3574" y="1233"/>
                  </a:lnTo>
                  <a:lnTo>
                    <a:pt x="3560" y="1258"/>
                  </a:lnTo>
                  <a:lnTo>
                    <a:pt x="3545" y="1281"/>
                  </a:lnTo>
                  <a:lnTo>
                    <a:pt x="3528" y="1305"/>
                  </a:lnTo>
                  <a:lnTo>
                    <a:pt x="3510" y="1326"/>
                  </a:lnTo>
                  <a:lnTo>
                    <a:pt x="3492" y="1346"/>
                  </a:lnTo>
                  <a:lnTo>
                    <a:pt x="3473" y="1366"/>
                  </a:lnTo>
                  <a:lnTo>
                    <a:pt x="3452" y="1385"/>
                  </a:lnTo>
                  <a:lnTo>
                    <a:pt x="3430" y="1402"/>
                  </a:lnTo>
                  <a:lnTo>
                    <a:pt x="3408" y="1418"/>
                  </a:lnTo>
                  <a:lnTo>
                    <a:pt x="3384" y="1434"/>
                  </a:lnTo>
                  <a:lnTo>
                    <a:pt x="3361" y="1447"/>
                  </a:lnTo>
                  <a:lnTo>
                    <a:pt x="3335" y="1460"/>
                  </a:lnTo>
                  <a:lnTo>
                    <a:pt x="3310" y="1472"/>
                  </a:lnTo>
                  <a:lnTo>
                    <a:pt x="3284" y="1483"/>
                  </a:lnTo>
                  <a:lnTo>
                    <a:pt x="3256" y="1492"/>
                  </a:lnTo>
                  <a:lnTo>
                    <a:pt x="3229" y="1500"/>
                  </a:lnTo>
                  <a:lnTo>
                    <a:pt x="3200" y="1507"/>
                  </a:lnTo>
                  <a:lnTo>
                    <a:pt x="3171" y="1513"/>
                  </a:lnTo>
                  <a:lnTo>
                    <a:pt x="3141" y="1517"/>
                  </a:lnTo>
                  <a:lnTo>
                    <a:pt x="3111" y="1520"/>
                  </a:lnTo>
                  <a:lnTo>
                    <a:pt x="3080" y="1522"/>
                  </a:lnTo>
                  <a:lnTo>
                    <a:pt x="3049" y="1523"/>
                  </a:lnTo>
                  <a:lnTo>
                    <a:pt x="3018" y="1522"/>
                  </a:lnTo>
                  <a:lnTo>
                    <a:pt x="2988" y="1520"/>
                  </a:lnTo>
                  <a:lnTo>
                    <a:pt x="2957" y="1517"/>
                  </a:lnTo>
                  <a:lnTo>
                    <a:pt x="2928" y="1513"/>
                  </a:lnTo>
                  <a:lnTo>
                    <a:pt x="2898" y="1507"/>
                  </a:lnTo>
                  <a:lnTo>
                    <a:pt x="2870" y="1500"/>
                  </a:lnTo>
                  <a:lnTo>
                    <a:pt x="2842" y="1492"/>
                  </a:lnTo>
                  <a:lnTo>
                    <a:pt x="2815" y="1483"/>
                  </a:lnTo>
                  <a:lnTo>
                    <a:pt x="2788" y="1472"/>
                  </a:lnTo>
                  <a:lnTo>
                    <a:pt x="2763" y="1460"/>
                  </a:lnTo>
                  <a:lnTo>
                    <a:pt x="2737" y="1447"/>
                  </a:lnTo>
                  <a:lnTo>
                    <a:pt x="2713" y="1434"/>
                  </a:lnTo>
                  <a:lnTo>
                    <a:pt x="2691" y="1418"/>
                  </a:lnTo>
                  <a:lnTo>
                    <a:pt x="2667" y="1402"/>
                  </a:lnTo>
                  <a:lnTo>
                    <a:pt x="2646" y="1385"/>
                  </a:lnTo>
                  <a:lnTo>
                    <a:pt x="2626" y="1366"/>
                  </a:lnTo>
                  <a:lnTo>
                    <a:pt x="2606" y="1346"/>
                  </a:lnTo>
                  <a:lnTo>
                    <a:pt x="2588" y="1326"/>
                  </a:lnTo>
                  <a:lnTo>
                    <a:pt x="2570" y="1305"/>
                  </a:lnTo>
                  <a:lnTo>
                    <a:pt x="2553" y="1281"/>
                  </a:lnTo>
                  <a:lnTo>
                    <a:pt x="2538" y="1258"/>
                  </a:lnTo>
                  <a:lnTo>
                    <a:pt x="2524" y="1233"/>
                  </a:lnTo>
                  <a:lnTo>
                    <a:pt x="2511" y="1207"/>
                  </a:lnTo>
                  <a:lnTo>
                    <a:pt x="2499" y="1181"/>
                  </a:lnTo>
                  <a:lnTo>
                    <a:pt x="2489" y="1153"/>
                  </a:lnTo>
                  <a:lnTo>
                    <a:pt x="2480" y="1125"/>
                  </a:lnTo>
                  <a:lnTo>
                    <a:pt x="2472" y="1095"/>
                  </a:lnTo>
                  <a:lnTo>
                    <a:pt x="2465" y="1065"/>
                  </a:lnTo>
                  <a:lnTo>
                    <a:pt x="2460" y="1033"/>
                  </a:lnTo>
                  <a:lnTo>
                    <a:pt x="2457" y="1001"/>
                  </a:lnTo>
                  <a:lnTo>
                    <a:pt x="2454" y="968"/>
                  </a:lnTo>
                  <a:lnTo>
                    <a:pt x="2454" y="933"/>
                  </a:lnTo>
                  <a:close/>
                  <a:moveTo>
                    <a:pt x="4047" y="933"/>
                  </a:moveTo>
                  <a:lnTo>
                    <a:pt x="4046" y="882"/>
                  </a:lnTo>
                  <a:lnTo>
                    <a:pt x="4042" y="831"/>
                  </a:lnTo>
                  <a:lnTo>
                    <a:pt x="4035" y="781"/>
                  </a:lnTo>
                  <a:lnTo>
                    <a:pt x="4026" y="733"/>
                  </a:lnTo>
                  <a:lnTo>
                    <a:pt x="4015" y="685"/>
                  </a:lnTo>
                  <a:lnTo>
                    <a:pt x="4002" y="640"/>
                  </a:lnTo>
                  <a:lnTo>
                    <a:pt x="3985" y="595"/>
                  </a:lnTo>
                  <a:lnTo>
                    <a:pt x="3967" y="551"/>
                  </a:lnTo>
                  <a:lnTo>
                    <a:pt x="3947" y="509"/>
                  </a:lnTo>
                  <a:lnTo>
                    <a:pt x="3924" y="469"/>
                  </a:lnTo>
                  <a:lnTo>
                    <a:pt x="3900" y="430"/>
                  </a:lnTo>
                  <a:lnTo>
                    <a:pt x="3874" y="392"/>
                  </a:lnTo>
                  <a:lnTo>
                    <a:pt x="3846" y="356"/>
                  </a:lnTo>
                  <a:lnTo>
                    <a:pt x="3815" y="321"/>
                  </a:lnTo>
                  <a:lnTo>
                    <a:pt x="3784" y="289"/>
                  </a:lnTo>
                  <a:lnTo>
                    <a:pt x="3751" y="257"/>
                  </a:lnTo>
                  <a:lnTo>
                    <a:pt x="3716" y="227"/>
                  </a:lnTo>
                  <a:lnTo>
                    <a:pt x="3679" y="199"/>
                  </a:lnTo>
                  <a:lnTo>
                    <a:pt x="3642" y="173"/>
                  </a:lnTo>
                  <a:lnTo>
                    <a:pt x="3603" y="147"/>
                  </a:lnTo>
                  <a:lnTo>
                    <a:pt x="3562" y="125"/>
                  </a:lnTo>
                  <a:lnTo>
                    <a:pt x="3521" y="104"/>
                  </a:lnTo>
                  <a:lnTo>
                    <a:pt x="3477" y="84"/>
                  </a:lnTo>
                  <a:lnTo>
                    <a:pt x="3433" y="67"/>
                  </a:lnTo>
                  <a:lnTo>
                    <a:pt x="3388" y="52"/>
                  </a:lnTo>
                  <a:lnTo>
                    <a:pt x="3342" y="39"/>
                  </a:lnTo>
                  <a:lnTo>
                    <a:pt x="3295" y="26"/>
                  </a:lnTo>
                  <a:lnTo>
                    <a:pt x="3247" y="17"/>
                  </a:lnTo>
                  <a:lnTo>
                    <a:pt x="3199" y="10"/>
                  </a:lnTo>
                  <a:lnTo>
                    <a:pt x="3149" y="4"/>
                  </a:lnTo>
                  <a:lnTo>
                    <a:pt x="3099" y="1"/>
                  </a:lnTo>
                  <a:lnTo>
                    <a:pt x="3049" y="0"/>
                  </a:lnTo>
                  <a:lnTo>
                    <a:pt x="2999" y="1"/>
                  </a:lnTo>
                  <a:lnTo>
                    <a:pt x="2949" y="4"/>
                  </a:lnTo>
                  <a:lnTo>
                    <a:pt x="2899" y="10"/>
                  </a:lnTo>
                  <a:lnTo>
                    <a:pt x="2851" y="17"/>
                  </a:lnTo>
                  <a:lnTo>
                    <a:pt x="2804" y="26"/>
                  </a:lnTo>
                  <a:lnTo>
                    <a:pt x="2756" y="39"/>
                  </a:lnTo>
                  <a:lnTo>
                    <a:pt x="2710" y="52"/>
                  </a:lnTo>
                  <a:lnTo>
                    <a:pt x="2665" y="67"/>
                  </a:lnTo>
                  <a:lnTo>
                    <a:pt x="2620" y="84"/>
                  </a:lnTo>
                  <a:lnTo>
                    <a:pt x="2578" y="104"/>
                  </a:lnTo>
                  <a:lnTo>
                    <a:pt x="2536" y="125"/>
                  </a:lnTo>
                  <a:lnTo>
                    <a:pt x="2495" y="147"/>
                  </a:lnTo>
                  <a:lnTo>
                    <a:pt x="2457" y="173"/>
                  </a:lnTo>
                  <a:lnTo>
                    <a:pt x="2418" y="199"/>
                  </a:lnTo>
                  <a:lnTo>
                    <a:pt x="2382" y="227"/>
                  </a:lnTo>
                  <a:lnTo>
                    <a:pt x="2347" y="257"/>
                  </a:lnTo>
                  <a:lnTo>
                    <a:pt x="2313" y="289"/>
                  </a:lnTo>
                  <a:lnTo>
                    <a:pt x="2282" y="321"/>
                  </a:lnTo>
                  <a:lnTo>
                    <a:pt x="2252" y="356"/>
                  </a:lnTo>
                  <a:lnTo>
                    <a:pt x="2224" y="392"/>
                  </a:lnTo>
                  <a:lnTo>
                    <a:pt x="2197" y="430"/>
                  </a:lnTo>
                  <a:lnTo>
                    <a:pt x="2173" y="469"/>
                  </a:lnTo>
                  <a:lnTo>
                    <a:pt x="2152" y="509"/>
                  </a:lnTo>
                  <a:lnTo>
                    <a:pt x="2131" y="551"/>
                  </a:lnTo>
                  <a:lnTo>
                    <a:pt x="2113" y="595"/>
                  </a:lnTo>
                  <a:lnTo>
                    <a:pt x="2097" y="640"/>
                  </a:lnTo>
                  <a:lnTo>
                    <a:pt x="2083" y="685"/>
                  </a:lnTo>
                  <a:lnTo>
                    <a:pt x="2071" y="733"/>
                  </a:lnTo>
                  <a:lnTo>
                    <a:pt x="2063" y="781"/>
                  </a:lnTo>
                  <a:lnTo>
                    <a:pt x="2056" y="831"/>
                  </a:lnTo>
                  <a:lnTo>
                    <a:pt x="2052" y="882"/>
                  </a:lnTo>
                  <a:lnTo>
                    <a:pt x="2051" y="933"/>
                  </a:lnTo>
                  <a:lnTo>
                    <a:pt x="2052" y="985"/>
                  </a:lnTo>
                  <a:lnTo>
                    <a:pt x="2056" y="1036"/>
                  </a:lnTo>
                  <a:lnTo>
                    <a:pt x="2063" y="1086"/>
                  </a:lnTo>
                  <a:lnTo>
                    <a:pt x="2071" y="1135"/>
                  </a:lnTo>
                  <a:lnTo>
                    <a:pt x="2083" y="1182"/>
                  </a:lnTo>
                  <a:lnTo>
                    <a:pt x="2097" y="1228"/>
                  </a:lnTo>
                  <a:lnTo>
                    <a:pt x="2113" y="1273"/>
                  </a:lnTo>
                  <a:lnTo>
                    <a:pt x="2131" y="1316"/>
                  </a:lnTo>
                  <a:lnTo>
                    <a:pt x="2152" y="1357"/>
                  </a:lnTo>
                  <a:lnTo>
                    <a:pt x="2173" y="1398"/>
                  </a:lnTo>
                  <a:lnTo>
                    <a:pt x="2197" y="1438"/>
                  </a:lnTo>
                  <a:lnTo>
                    <a:pt x="2224" y="1475"/>
                  </a:lnTo>
                  <a:lnTo>
                    <a:pt x="2252" y="1512"/>
                  </a:lnTo>
                  <a:lnTo>
                    <a:pt x="2282" y="1547"/>
                  </a:lnTo>
                  <a:lnTo>
                    <a:pt x="2313" y="1579"/>
                  </a:lnTo>
                  <a:lnTo>
                    <a:pt x="2347" y="1611"/>
                  </a:lnTo>
                  <a:lnTo>
                    <a:pt x="2382" y="1640"/>
                  </a:lnTo>
                  <a:lnTo>
                    <a:pt x="2418" y="1669"/>
                  </a:lnTo>
                  <a:lnTo>
                    <a:pt x="2457" y="1695"/>
                  </a:lnTo>
                  <a:lnTo>
                    <a:pt x="2495" y="1719"/>
                  </a:lnTo>
                  <a:lnTo>
                    <a:pt x="2536" y="1743"/>
                  </a:lnTo>
                  <a:lnTo>
                    <a:pt x="2578" y="1764"/>
                  </a:lnTo>
                  <a:lnTo>
                    <a:pt x="2620" y="1782"/>
                  </a:lnTo>
                  <a:lnTo>
                    <a:pt x="2665" y="1801"/>
                  </a:lnTo>
                  <a:lnTo>
                    <a:pt x="2710" y="1816"/>
                  </a:lnTo>
                  <a:lnTo>
                    <a:pt x="2756" y="1829"/>
                  </a:lnTo>
                  <a:lnTo>
                    <a:pt x="2804" y="1840"/>
                  </a:lnTo>
                  <a:lnTo>
                    <a:pt x="2851" y="1851"/>
                  </a:lnTo>
                  <a:lnTo>
                    <a:pt x="2899" y="1858"/>
                  </a:lnTo>
                  <a:lnTo>
                    <a:pt x="2949" y="1863"/>
                  </a:lnTo>
                  <a:lnTo>
                    <a:pt x="2999" y="1866"/>
                  </a:lnTo>
                  <a:lnTo>
                    <a:pt x="3049" y="1868"/>
                  </a:lnTo>
                  <a:lnTo>
                    <a:pt x="3099" y="1866"/>
                  </a:lnTo>
                  <a:lnTo>
                    <a:pt x="3149" y="1863"/>
                  </a:lnTo>
                  <a:lnTo>
                    <a:pt x="3199" y="1858"/>
                  </a:lnTo>
                  <a:lnTo>
                    <a:pt x="3247" y="1851"/>
                  </a:lnTo>
                  <a:lnTo>
                    <a:pt x="3295" y="1840"/>
                  </a:lnTo>
                  <a:lnTo>
                    <a:pt x="3342" y="1829"/>
                  </a:lnTo>
                  <a:lnTo>
                    <a:pt x="3388" y="1816"/>
                  </a:lnTo>
                  <a:lnTo>
                    <a:pt x="3433" y="1801"/>
                  </a:lnTo>
                  <a:lnTo>
                    <a:pt x="3477" y="1782"/>
                  </a:lnTo>
                  <a:lnTo>
                    <a:pt x="3521" y="1764"/>
                  </a:lnTo>
                  <a:lnTo>
                    <a:pt x="3562" y="1743"/>
                  </a:lnTo>
                  <a:lnTo>
                    <a:pt x="3603" y="1719"/>
                  </a:lnTo>
                  <a:lnTo>
                    <a:pt x="3642" y="1695"/>
                  </a:lnTo>
                  <a:lnTo>
                    <a:pt x="3679" y="1669"/>
                  </a:lnTo>
                  <a:lnTo>
                    <a:pt x="3716" y="1640"/>
                  </a:lnTo>
                  <a:lnTo>
                    <a:pt x="3751" y="1611"/>
                  </a:lnTo>
                  <a:lnTo>
                    <a:pt x="3784" y="1579"/>
                  </a:lnTo>
                  <a:lnTo>
                    <a:pt x="3815" y="1547"/>
                  </a:lnTo>
                  <a:lnTo>
                    <a:pt x="3846" y="1512"/>
                  </a:lnTo>
                  <a:lnTo>
                    <a:pt x="3874" y="1475"/>
                  </a:lnTo>
                  <a:lnTo>
                    <a:pt x="3900" y="1438"/>
                  </a:lnTo>
                  <a:lnTo>
                    <a:pt x="3924" y="1398"/>
                  </a:lnTo>
                  <a:lnTo>
                    <a:pt x="3947" y="1357"/>
                  </a:lnTo>
                  <a:lnTo>
                    <a:pt x="3967" y="1316"/>
                  </a:lnTo>
                  <a:lnTo>
                    <a:pt x="3985" y="1273"/>
                  </a:lnTo>
                  <a:lnTo>
                    <a:pt x="4002" y="1228"/>
                  </a:lnTo>
                  <a:lnTo>
                    <a:pt x="4015" y="1182"/>
                  </a:lnTo>
                  <a:lnTo>
                    <a:pt x="4026" y="1135"/>
                  </a:lnTo>
                  <a:lnTo>
                    <a:pt x="4035" y="1086"/>
                  </a:lnTo>
                  <a:lnTo>
                    <a:pt x="4042" y="1036"/>
                  </a:lnTo>
                  <a:lnTo>
                    <a:pt x="4046" y="985"/>
                  </a:lnTo>
                  <a:lnTo>
                    <a:pt x="4047" y="933"/>
                  </a:lnTo>
                  <a:close/>
                  <a:moveTo>
                    <a:pt x="4779" y="42"/>
                  </a:moveTo>
                  <a:lnTo>
                    <a:pt x="4540" y="1317"/>
                  </a:lnTo>
                  <a:lnTo>
                    <a:pt x="4535" y="1334"/>
                  </a:lnTo>
                  <a:lnTo>
                    <a:pt x="4530" y="1350"/>
                  </a:lnTo>
                  <a:lnTo>
                    <a:pt x="4524" y="1366"/>
                  </a:lnTo>
                  <a:lnTo>
                    <a:pt x="4517" y="1379"/>
                  </a:lnTo>
                  <a:lnTo>
                    <a:pt x="4510" y="1392"/>
                  </a:lnTo>
                  <a:lnTo>
                    <a:pt x="4501" y="1403"/>
                  </a:lnTo>
                  <a:lnTo>
                    <a:pt x="4491" y="1413"/>
                  </a:lnTo>
                  <a:lnTo>
                    <a:pt x="4481" y="1423"/>
                  </a:lnTo>
                  <a:lnTo>
                    <a:pt x="4469" y="1431"/>
                  </a:lnTo>
                  <a:lnTo>
                    <a:pt x="4457" y="1437"/>
                  </a:lnTo>
                  <a:lnTo>
                    <a:pt x="4444" y="1443"/>
                  </a:lnTo>
                  <a:lnTo>
                    <a:pt x="4430" y="1447"/>
                  </a:lnTo>
                  <a:lnTo>
                    <a:pt x="4415" y="1451"/>
                  </a:lnTo>
                  <a:lnTo>
                    <a:pt x="4399" y="1453"/>
                  </a:lnTo>
                  <a:lnTo>
                    <a:pt x="4383" y="1455"/>
                  </a:lnTo>
                  <a:lnTo>
                    <a:pt x="4366" y="1455"/>
                  </a:lnTo>
                  <a:lnTo>
                    <a:pt x="4172" y="1455"/>
                  </a:lnTo>
                  <a:lnTo>
                    <a:pt x="4172" y="1822"/>
                  </a:lnTo>
                  <a:lnTo>
                    <a:pt x="4385" y="1822"/>
                  </a:lnTo>
                  <a:lnTo>
                    <a:pt x="4412" y="1822"/>
                  </a:lnTo>
                  <a:lnTo>
                    <a:pt x="4439" y="1821"/>
                  </a:lnTo>
                  <a:lnTo>
                    <a:pt x="4465" y="1819"/>
                  </a:lnTo>
                  <a:lnTo>
                    <a:pt x="4491" y="1816"/>
                  </a:lnTo>
                  <a:lnTo>
                    <a:pt x="4515" y="1812"/>
                  </a:lnTo>
                  <a:lnTo>
                    <a:pt x="4540" y="1808"/>
                  </a:lnTo>
                  <a:lnTo>
                    <a:pt x="4563" y="1802"/>
                  </a:lnTo>
                  <a:lnTo>
                    <a:pt x="4586" y="1796"/>
                  </a:lnTo>
                  <a:lnTo>
                    <a:pt x="4609" y="1789"/>
                  </a:lnTo>
                  <a:lnTo>
                    <a:pt x="4630" y="1780"/>
                  </a:lnTo>
                  <a:lnTo>
                    <a:pt x="4651" y="1771"/>
                  </a:lnTo>
                  <a:lnTo>
                    <a:pt x="4672" y="1762"/>
                  </a:lnTo>
                  <a:lnTo>
                    <a:pt x="4692" y="1751"/>
                  </a:lnTo>
                  <a:lnTo>
                    <a:pt x="4710" y="1740"/>
                  </a:lnTo>
                  <a:lnTo>
                    <a:pt x="4730" y="1728"/>
                  </a:lnTo>
                  <a:lnTo>
                    <a:pt x="4747" y="1713"/>
                  </a:lnTo>
                  <a:lnTo>
                    <a:pt x="4764" y="1699"/>
                  </a:lnTo>
                  <a:lnTo>
                    <a:pt x="4781" y="1684"/>
                  </a:lnTo>
                  <a:lnTo>
                    <a:pt x="4796" y="1668"/>
                  </a:lnTo>
                  <a:lnTo>
                    <a:pt x="4811" y="1650"/>
                  </a:lnTo>
                  <a:lnTo>
                    <a:pt x="4825" y="1633"/>
                  </a:lnTo>
                  <a:lnTo>
                    <a:pt x="4839" y="1614"/>
                  </a:lnTo>
                  <a:lnTo>
                    <a:pt x="4852" y="1593"/>
                  </a:lnTo>
                  <a:lnTo>
                    <a:pt x="4864" y="1572"/>
                  </a:lnTo>
                  <a:lnTo>
                    <a:pt x="4875" y="1551"/>
                  </a:lnTo>
                  <a:lnTo>
                    <a:pt x="4885" y="1527"/>
                  </a:lnTo>
                  <a:lnTo>
                    <a:pt x="4895" y="1504"/>
                  </a:lnTo>
                  <a:lnTo>
                    <a:pt x="4905" y="1478"/>
                  </a:lnTo>
                  <a:lnTo>
                    <a:pt x="4913" y="1452"/>
                  </a:lnTo>
                  <a:lnTo>
                    <a:pt x="4920" y="1426"/>
                  </a:lnTo>
                  <a:lnTo>
                    <a:pt x="4927" y="1397"/>
                  </a:lnTo>
                  <a:lnTo>
                    <a:pt x="4932" y="1369"/>
                  </a:lnTo>
                  <a:lnTo>
                    <a:pt x="5113" y="403"/>
                  </a:lnTo>
                  <a:lnTo>
                    <a:pt x="5796" y="403"/>
                  </a:lnTo>
                  <a:lnTo>
                    <a:pt x="5796" y="1822"/>
                  </a:lnTo>
                  <a:lnTo>
                    <a:pt x="6198" y="1822"/>
                  </a:lnTo>
                  <a:lnTo>
                    <a:pt x="6198" y="42"/>
                  </a:lnTo>
                  <a:lnTo>
                    <a:pt x="4779" y="42"/>
                  </a:lnTo>
                  <a:close/>
                  <a:moveTo>
                    <a:pt x="6585" y="42"/>
                  </a:moveTo>
                  <a:lnTo>
                    <a:pt x="6585" y="1822"/>
                  </a:lnTo>
                  <a:lnTo>
                    <a:pt x="6980" y="1822"/>
                  </a:lnTo>
                  <a:lnTo>
                    <a:pt x="6980" y="1069"/>
                  </a:lnTo>
                  <a:lnTo>
                    <a:pt x="7251" y="1069"/>
                  </a:lnTo>
                  <a:lnTo>
                    <a:pt x="7258" y="1116"/>
                  </a:lnTo>
                  <a:lnTo>
                    <a:pt x="7266" y="1162"/>
                  </a:lnTo>
                  <a:lnTo>
                    <a:pt x="7277" y="1207"/>
                  </a:lnTo>
                  <a:lnTo>
                    <a:pt x="7290" y="1251"/>
                  </a:lnTo>
                  <a:lnTo>
                    <a:pt x="7304" y="1292"/>
                  </a:lnTo>
                  <a:lnTo>
                    <a:pt x="7320" y="1333"/>
                  </a:lnTo>
                  <a:lnTo>
                    <a:pt x="7338" y="1372"/>
                  </a:lnTo>
                  <a:lnTo>
                    <a:pt x="7358" y="1409"/>
                  </a:lnTo>
                  <a:lnTo>
                    <a:pt x="7379" y="1446"/>
                  </a:lnTo>
                  <a:lnTo>
                    <a:pt x="7402" y="1482"/>
                  </a:lnTo>
                  <a:lnTo>
                    <a:pt x="7427" y="1514"/>
                  </a:lnTo>
                  <a:lnTo>
                    <a:pt x="7452" y="1547"/>
                  </a:lnTo>
                  <a:lnTo>
                    <a:pt x="7480" y="1577"/>
                  </a:lnTo>
                  <a:lnTo>
                    <a:pt x="7509" y="1607"/>
                  </a:lnTo>
                  <a:lnTo>
                    <a:pt x="7540" y="1634"/>
                  </a:lnTo>
                  <a:lnTo>
                    <a:pt x="7571" y="1660"/>
                  </a:lnTo>
                  <a:lnTo>
                    <a:pt x="7604" y="1685"/>
                  </a:lnTo>
                  <a:lnTo>
                    <a:pt x="7637" y="1708"/>
                  </a:lnTo>
                  <a:lnTo>
                    <a:pt x="7673" y="1730"/>
                  </a:lnTo>
                  <a:lnTo>
                    <a:pt x="7710" y="1750"/>
                  </a:lnTo>
                  <a:lnTo>
                    <a:pt x="7747" y="1768"/>
                  </a:lnTo>
                  <a:lnTo>
                    <a:pt x="7786" y="1786"/>
                  </a:lnTo>
                  <a:lnTo>
                    <a:pt x="7824" y="1801"/>
                  </a:lnTo>
                  <a:lnTo>
                    <a:pt x="7865" y="1815"/>
                  </a:lnTo>
                  <a:lnTo>
                    <a:pt x="7907" y="1827"/>
                  </a:lnTo>
                  <a:lnTo>
                    <a:pt x="7949" y="1837"/>
                  </a:lnTo>
                  <a:lnTo>
                    <a:pt x="7991" y="1847"/>
                  </a:lnTo>
                  <a:lnTo>
                    <a:pt x="8035" y="1854"/>
                  </a:lnTo>
                  <a:lnTo>
                    <a:pt x="8080" y="1860"/>
                  </a:lnTo>
                  <a:lnTo>
                    <a:pt x="8124" y="1864"/>
                  </a:lnTo>
                  <a:lnTo>
                    <a:pt x="8170" y="1867"/>
                  </a:lnTo>
                  <a:lnTo>
                    <a:pt x="8217" y="1868"/>
                  </a:lnTo>
                  <a:lnTo>
                    <a:pt x="8267" y="1867"/>
                  </a:lnTo>
                  <a:lnTo>
                    <a:pt x="8317" y="1864"/>
                  </a:lnTo>
                  <a:lnTo>
                    <a:pt x="8364" y="1859"/>
                  </a:lnTo>
                  <a:lnTo>
                    <a:pt x="8413" y="1852"/>
                  </a:lnTo>
                  <a:lnTo>
                    <a:pt x="8460" y="1842"/>
                  </a:lnTo>
                  <a:lnTo>
                    <a:pt x="8506" y="1832"/>
                  </a:lnTo>
                  <a:lnTo>
                    <a:pt x="8552" y="1820"/>
                  </a:lnTo>
                  <a:lnTo>
                    <a:pt x="8595" y="1805"/>
                  </a:lnTo>
                  <a:lnTo>
                    <a:pt x="8639" y="1789"/>
                  </a:lnTo>
                  <a:lnTo>
                    <a:pt x="8681" y="1771"/>
                  </a:lnTo>
                  <a:lnTo>
                    <a:pt x="8721" y="1751"/>
                  </a:lnTo>
                  <a:lnTo>
                    <a:pt x="8761" y="1729"/>
                  </a:lnTo>
                  <a:lnTo>
                    <a:pt x="8799" y="1705"/>
                  </a:lnTo>
                  <a:lnTo>
                    <a:pt x="8835" y="1680"/>
                  </a:lnTo>
                  <a:lnTo>
                    <a:pt x="8871" y="1653"/>
                  </a:lnTo>
                  <a:lnTo>
                    <a:pt x="8905" y="1624"/>
                  </a:lnTo>
                  <a:lnTo>
                    <a:pt x="8937" y="1593"/>
                  </a:lnTo>
                  <a:lnTo>
                    <a:pt x="8968" y="1561"/>
                  </a:lnTo>
                  <a:lnTo>
                    <a:pt x="8996" y="1526"/>
                  </a:lnTo>
                  <a:lnTo>
                    <a:pt x="9023" y="1491"/>
                  </a:lnTo>
                  <a:lnTo>
                    <a:pt x="9049" y="1453"/>
                  </a:lnTo>
                  <a:lnTo>
                    <a:pt x="9072" y="1414"/>
                  </a:lnTo>
                  <a:lnTo>
                    <a:pt x="9094" y="1374"/>
                  </a:lnTo>
                  <a:lnTo>
                    <a:pt x="9113" y="1331"/>
                  </a:lnTo>
                  <a:lnTo>
                    <a:pt x="9130" y="1287"/>
                  </a:lnTo>
                  <a:lnTo>
                    <a:pt x="9146" y="1242"/>
                  </a:lnTo>
                  <a:lnTo>
                    <a:pt x="9159" y="1194"/>
                  </a:lnTo>
                  <a:lnTo>
                    <a:pt x="9169" y="1145"/>
                  </a:lnTo>
                  <a:lnTo>
                    <a:pt x="9178" y="1094"/>
                  </a:lnTo>
                  <a:lnTo>
                    <a:pt x="9184" y="1042"/>
                  </a:lnTo>
                  <a:lnTo>
                    <a:pt x="9188" y="988"/>
                  </a:lnTo>
                  <a:lnTo>
                    <a:pt x="9189" y="933"/>
                  </a:lnTo>
                  <a:lnTo>
                    <a:pt x="9188" y="879"/>
                  </a:lnTo>
                  <a:lnTo>
                    <a:pt x="9184" y="825"/>
                  </a:lnTo>
                  <a:lnTo>
                    <a:pt x="9178" y="773"/>
                  </a:lnTo>
                  <a:lnTo>
                    <a:pt x="9169" y="723"/>
                  </a:lnTo>
                  <a:lnTo>
                    <a:pt x="9159" y="674"/>
                  </a:lnTo>
                  <a:lnTo>
                    <a:pt x="9146" y="626"/>
                  </a:lnTo>
                  <a:lnTo>
                    <a:pt x="9130" y="581"/>
                  </a:lnTo>
                  <a:lnTo>
                    <a:pt x="9113" y="537"/>
                  </a:lnTo>
                  <a:lnTo>
                    <a:pt x="9094" y="494"/>
                  </a:lnTo>
                  <a:lnTo>
                    <a:pt x="9072" y="453"/>
                  </a:lnTo>
                  <a:lnTo>
                    <a:pt x="9049" y="414"/>
                  </a:lnTo>
                  <a:lnTo>
                    <a:pt x="9023" y="376"/>
                  </a:lnTo>
                  <a:lnTo>
                    <a:pt x="8996" y="341"/>
                  </a:lnTo>
                  <a:lnTo>
                    <a:pt x="8968" y="307"/>
                  </a:lnTo>
                  <a:lnTo>
                    <a:pt x="8937" y="275"/>
                  </a:lnTo>
                  <a:lnTo>
                    <a:pt x="8905" y="244"/>
                  </a:lnTo>
                  <a:lnTo>
                    <a:pt x="8871" y="215"/>
                  </a:lnTo>
                  <a:lnTo>
                    <a:pt x="8835" y="187"/>
                  </a:lnTo>
                  <a:lnTo>
                    <a:pt x="8799" y="162"/>
                  </a:lnTo>
                  <a:lnTo>
                    <a:pt x="8761" y="138"/>
                  </a:lnTo>
                  <a:lnTo>
                    <a:pt x="8721" y="117"/>
                  </a:lnTo>
                  <a:lnTo>
                    <a:pt x="8681" y="97"/>
                  </a:lnTo>
                  <a:lnTo>
                    <a:pt x="8639" y="78"/>
                  </a:lnTo>
                  <a:lnTo>
                    <a:pt x="8595" y="62"/>
                  </a:lnTo>
                  <a:lnTo>
                    <a:pt x="8552" y="48"/>
                  </a:lnTo>
                  <a:lnTo>
                    <a:pt x="8506" y="36"/>
                  </a:lnTo>
                  <a:lnTo>
                    <a:pt x="8460" y="24"/>
                  </a:lnTo>
                  <a:lnTo>
                    <a:pt x="8413" y="16"/>
                  </a:lnTo>
                  <a:lnTo>
                    <a:pt x="8364" y="9"/>
                  </a:lnTo>
                  <a:lnTo>
                    <a:pt x="8317" y="4"/>
                  </a:lnTo>
                  <a:lnTo>
                    <a:pt x="8267" y="1"/>
                  </a:lnTo>
                  <a:lnTo>
                    <a:pt x="8217" y="0"/>
                  </a:lnTo>
                  <a:lnTo>
                    <a:pt x="8173" y="1"/>
                  </a:lnTo>
                  <a:lnTo>
                    <a:pt x="8131" y="3"/>
                  </a:lnTo>
                  <a:lnTo>
                    <a:pt x="8088" y="7"/>
                  </a:lnTo>
                  <a:lnTo>
                    <a:pt x="8046" y="12"/>
                  </a:lnTo>
                  <a:lnTo>
                    <a:pt x="8004" y="18"/>
                  </a:lnTo>
                  <a:lnTo>
                    <a:pt x="7964" y="26"/>
                  </a:lnTo>
                  <a:lnTo>
                    <a:pt x="7924" y="36"/>
                  </a:lnTo>
                  <a:lnTo>
                    <a:pt x="7884" y="47"/>
                  </a:lnTo>
                  <a:lnTo>
                    <a:pt x="7846" y="59"/>
                  </a:lnTo>
                  <a:lnTo>
                    <a:pt x="7808" y="73"/>
                  </a:lnTo>
                  <a:lnTo>
                    <a:pt x="7772" y="88"/>
                  </a:lnTo>
                  <a:lnTo>
                    <a:pt x="7736" y="105"/>
                  </a:lnTo>
                  <a:lnTo>
                    <a:pt x="7700" y="122"/>
                  </a:lnTo>
                  <a:lnTo>
                    <a:pt x="7667" y="141"/>
                  </a:lnTo>
                  <a:lnTo>
                    <a:pt x="7633" y="162"/>
                  </a:lnTo>
                  <a:lnTo>
                    <a:pt x="7602" y="184"/>
                  </a:lnTo>
                  <a:lnTo>
                    <a:pt x="7571" y="207"/>
                  </a:lnTo>
                  <a:lnTo>
                    <a:pt x="7542" y="232"/>
                  </a:lnTo>
                  <a:lnTo>
                    <a:pt x="7512" y="257"/>
                  </a:lnTo>
                  <a:lnTo>
                    <a:pt x="7486" y="285"/>
                  </a:lnTo>
                  <a:lnTo>
                    <a:pt x="7459" y="313"/>
                  </a:lnTo>
                  <a:lnTo>
                    <a:pt x="7435" y="343"/>
                  </a:lnTo>
                  <a:lnTo>
                    <a:pt x="7412" y="374"/>
                  </a:lnTo>
                  <a:lnTo>
                    <a:pt x="7389" y="406"/>
                  </a:lnTo>
                  <a:lnTo>
                    <a:pt x="7369" y="439"/>
                  </a:lnTo>
                  <a:lnTo>
                    <a:pt x="7350" y="475"/>
                  </a:lnTo>
                  <a:lnTo>
                    <a:pt x="7331" y="510"/>
                  </a:lnTo>
                  <a:lnTo>
                    <a:pt x="7315" y="548"/>
                  </a:lnTo>
                  <a:lnTo>
                    <a:pt x="7301" y="586"/>
                  </a:lnTo>
                  <a:lnTo>
                    <a:pt x="7287" y="625"/>
                  </a:lnTo>
                  <a:lnTo>
                    <a:pt x="7276" y="666"/>
                  </a:lnTo>
                  <a:lnTo>
                    <a:pt x="7267" y="709"/>
                  </a:lnTo>
                  <a:lnTo>
                    <a:pt x="6980" y="709"/>
                  </a:lnTo>
                  <a:lnTo>
                    <a:pt x="6980" y="42"/>
                  </a:lnTo>
                  <a:lnTo>
                    <a:pt x="6585" y="42"/>
                  </a:lnTo>
                  <a:close/>
                  <a:moveTo>
                    <a:pt x="7643" y="933"/>
                  </a:moveTo>
                  <a:lnTo>
                    <a:pt x="7644" y="900"/>
                  </a:lnTo>
                  <a:lnTo>
                    <a:pt x="7645" y="866"/>
                  </a:lnTo>
                  <a:lnTo>
                    <a:pt x="7649" y="835"/>
                  </a:lnTo>
                  <a:lnTo>
                    <a:pt x="7653" y="803"/>
                  </a:lnTo>
                  <a:lnTo>
                    <a:pt x="7658" y="773"/>
                  </a:lnTo>
                  <a:lnTo>
                    <a:pt x="7664" y="743"/>
                  </a:lnTo>
                  <a:lnTo>
                    <a:pt x="7672" y="715"/>
                  </a:lnTo>
                  <a:lnTo>
                    <a:pt x="7680" y="686"/>
                  </a:lnTo>
                  <a:lnTo>
                    <a:pt x="7690" y="660"/>
                  </a:lnTo>
                  <a:lnTo>
                    <a:pt x="7700" y="634"/>
                  </a:lnTo>
                  <a:lnTo>
                    <a:pt x="7713" y="610"/>
                  </a:lnTo>
                  <a:lnTo>
                    <a:pt x="7726" y="586"/>
                  </a:lnTo>
                  <a:lnTo>
                    <a:pt x="7740" y="563"/>
                  </a:lnTo>
                  <a:lnTo>
                    <a:pt x="7755" y="542"/>
                  </a:lnTo>
                  <a:lnTo>
                    <a:pt x="7772" y="521"/>
                  </a:lnTo>
                  <a:lnTo>
                    <a:pt x="7789" y="501"/>
                  </a:lnTo>
                  <a:lnTo>
                    <a:pt x="7807" y="483"/>
                  </a:lnTo>
                  <a:lnTo>
                    <a:pt x="7828" y="466"/>
                  </a:lnTo>
                  <a:lnTo>
                    <a:pt x="7848" y="449"/>
                  </a:lnTo>
                  <a:lnTo>
                    <a:pt x="7870" y="434"/>
                  </a:lnTo>
                  <a:lnTo>
                    <a:pt x="7893" y="420"/>
                  </a:lnTo>
                  <a:lnTo>
                    <a:pt x="7917" y="408"/>
                  </a:lnTo>
                  <a:lnTo>
                    <a:pt x="7942" y="396"/>
                  </a:lnTo>
                  <a:lnTo>
                    <a:pt x="7968" y="385"/>
                  </a:lnTo>
                  <a:lnTo>
                    <a:pt x="7995" y="375"/>
                  </a:lnTo>
                  <a:lnTo>
                    <a:pt x="8024" y="367"/>
                  </a:lnTo>
                  <a:lnTo>
                    <a:pt x="8053" y="361"/>
                  </a:lnTo>
                  <a:lnTo>
                    <a:pt x="8084" y="355"/>
                  </a:lnTo>
                  <a:lnTo>
                    <a:pt x="8115" y="351"/>
                  </a:lnTo>
                  <a:lnTo>
                    <a:pt x="8148" y="347"/>
                  </a:lnTo>
                  <a:lnTo>
                    <a:pt x="8182" y="345"/>
                  </a:lnTo>
                  <a:lnTo>
                    <a:pt x="8217" y="345"/>
                  </a:lnTo>
                  <a:lnTo>
                    <a:pt x="8252" y="345"/>
                  </a:lnTo>
                  <a:lnTo>
                    <a:pt x="8285" y="347"/>
                  </a:lnTo>
                  <a:lnTo>
                    <a:pt x="8318" y="351"/>
                  </a:lnTo>
                  <a:lnTo>
                    <a:pt x="8349" y="355"/>
                  </a:lnTo>
                  <a:lnTo>
                    <a:pt x="8380" y="361"/>
                  </a:lnTo>
                  <a:lnTo>
                    <a:pt x="8409" y="367"/>
                  </a:lnTo>
                  <a:lnTo>
                    <a:pt x="8438" y="375"/>
                  </a:lnTo>
                  <a:lnTo>
                    <a:pt x="8465" y="385"/>
                  </a:lnTo>
                  <a:lnTo>
                    <a:pt x="8492" y="396"/>
                  </a:lnTo>
                  <a:lnTo>
                    <a:pt x="8517" y="408"/>
                  </a:lnTo>
                  <a:lnTo>
                    <a:pt x="8540" y="420"/>
                  </a:lnTo>
                  <a:lnTo>
                    <a:pt x="8564" y="434"/>
                  </a:lnTo>
                  <a:lnTo>
                    <a:pt x="8585" y="449"/>
                  </a:lnTo>
                  <a:lnTo>
                    <a:pt x="8607" y="466"/>
                  </a:lnTo>
                  <a:lnTo>
                    <a:pt x="8626" y="483"/>
                  </a:lnTo>
                  <a:lnTo>
                    <a:pt x="8644" y="501"/>
                  </a:lnTo>
                  <a:lnTo>
                    <a:pt x="8662" y="521"/>
                  </a:lnTo>
                  <a:lnTo>
                    <a:pt x="8679" y="542"/>
                  </a:lnTo>
                  <a:lnTo>
                    <a:pt x="8694" y="563"/>
                  </a:lnTo>
                  <a:lnTo>
                    <a:pt x="8708" y="586"/>
                  </a:lnTo>
                  <a:lnTo>
                    <a:pt x="8720" y="610"/>
                  </a:lnTo>
                  <a:lnTo>
                    <a:pt x="8733" y="634"/>
                  </a:lnTo>
                  <a:lnTo>
                    <a:pt x="8744" y="660"/>
                  </a:lnTo>
                  <a:lnTo>
                    <a:pt x="8753" y="686"/>
                  </a:lnTo>
                  <a:lnTo>
                    <a:pt x="8762" y="715"/>
                  </a:lnTo>
                  <a:lnTo>
                    <a:pt x="8769" y="743"/>
                  </a:lnTo>
                  <a:lnTo>
                    <a:pt x="8775" y="773"/>
                  </a:lnTo>
                  <a:lnTo>
                    <a:pt x="8780" y="803"/>
                  </a:lnTo>
                  <a:lnTo>
                    <a:pt x="8785" y="835"/>
                  </a:lnTo>
                  <a:lnTo>
                    <a:pt x="8788" y="866"/>
                  </a:lnTo>
                  <a:lnTo>
                    <a:pt x="8790" y="900"/>
                  </a:lnTo>
                  <a:lnTo>
                    <a:pt x="8790" y="933"/>
                  </a:lnTo>
                  <a:lnTo>
                    <a:pt x="8790" y="968"/>
                  </a:lnTo>
                  <a:lnTo>
                    <a:pt x="8788" y="1001"/>
                  </a:lnTo>
                  <a:lnTo>
                    <a:pt x="8785" y="1033"/>
                  </a:lnTo>
                  <a:lnTo>
                    <a:pt x="8780" y="1065"/>
                  </a:lnTo>
                  <a:lnTo>
                    <a:pt x="8775" y="1095"/>
                  </a:lnTo>
                  <a:lnTo>
                    <a:pt x="8769" y="1125"/>
                  </a:lnTo>
                  <a:lnTo>
                    <a:pt x="8762" y="1153"/>
                  </a:lnTo>
                  <a:lnTo>
                    <a:pt x="8753" y="1181"/>
                  </a:lnTo>
                  <a:lnTo>
                    <a:pt x="8744" y="1207"/>
                  </a:lnTo>
                  <a:lnTo>
                    <a:pt x="8733" y="1233"/>
                  </a:lnTo>
                  <a:lnTo>
                    <a:pt x="8720" y="1258"/>
                  </a:lnTo>
                  <a:lnTo>
                    <a:pt x="8708" y="1281"/>
                  </a:lnTo>
                  <a:lnTo>
                    <a:pt x="8694" y="1305"/>
                  </a:lnTo>
                  <a:lnTo>
                    <a:pt x="8679" y="1326"/>
                  </a:lnTo>
                  <a:lnTo>
                    <a:pt x="8662" y="1346"/>
                  </a:lnTo>
                  <a:lnTo>
                    <a:pt x="8644" y="1366"/>
                  </a:lnTo>
                  <a:lnTo>
                    <a:pt x="8626" y="1385"/>
                  </a:lnTo>
                  <a:lnTo>
                    <a:pt x="8607" y="1402"/>
                  </a:lnTo>
                  <a:lnTo>
                    <a:pt x="8585" y="1418"/>
                  </a:lnTo>
                  <a:lnTo>
                    <a:pt x="8564" y="1434"/>
                  </a:lnTo>
                  <a:lnTo>
                    <a:pt x="8540" y="1447"/>
                  </a:lnTo>
                  <a:lnTo>
                    <a:pt x="8517" y="1460"/>
                  </a:lnTo>
                  <a:lnTo>
                    <a:pt x="8492" y="1472"/>
                  </a:lnTo>
                  <a:lnTo>
                    <a:pt x="8465" y="1483"/>
                  </a:lnTo>
                  <a:lnTo>
                    <a:pt x="8438" y="1492"/>
                  </a:lnTo>
                  <a:lnTo>
                    <a:pt x="8409" y="1500"/>
                  </a:lnTo>
                  <a:lnTo>
                    <a:pt x="8380" y="1507"/>
                  </a:lnTo>
                  <a:lnTo>
                    <a:pt x="8349" y="1513"/>
                  </a:lnTo>
                  <a:lnTo>
                    <a:pt x="8318" y="1517"/>
                  </a:lnTo>
                  <a:lnTo>
                    <a:pt x="8285" y="1520"/>
                  </a:lnTo>
                  <a:lnTo>
                    <a:pt x="8252" y="1522"/>
                  </a:lnTo>
                  <a:lnTo>
                    <a:pt x="8217" y="1523"/>
                  </a:lnTo>
                  <a:lnTo>
                    <a:pt x="8182" y="1522"/>
                  </a:lnTo>
                  <a:lnTo>
                    <a:pt x="8148" y="1520"/>
                  </a:lnTo>
                  <a:lnTo>
                    <a:pt x="8115" y="1517"/>
                  </a:lnTo>
                  <a:lnTo>
                    <a:pt x="8084" y="1513"/>
                  </a:lnTo>
                  <a:lnTo>
                    <a:pt x="8053" y="1507"/>
                  </a:lnTo>
                  <a:lnTo>
                    <a:pt x="8024" y="1500"/>
                  </a:lnTo>
                  <a:lnTo>
                    <a:pt x="7995" y="1492"/>
                  </a:lnTo>
                  <a:lnTo>
                    <a:pt x="7968" y="1483"/>
                  </a:lnTo>
                  <a:lnTo>
                    <a:pt x="7942" y="1472"/>
                  </a:lnTo>
                  <a:lnTo>
                    <a:pt x="7917" y="1460"/>
                  </a:lnTo>
                  <a:lnTo>
                    <a:pt x="7893" y="1447"/>
                  </a:lnTo>
                  <a:lnTo>
                    <a:pt x="7870" y="1434"/>
                  </a:lnTo>
                  <a:lnTo>
                    <a:pt x="7848" y="1418"/>
                  </a:lnTo>
                  <a:lnTo>
                    <a:pt x="7828" y="1402"/>
                  </a:lnTo>
                  <a:lnTo>
                    <a:pt x="7807" y="1385"/>
                  </a:lnTo>
                  <a:lnTo>
                    <a:pt x="7789" y="1366"/>
                  </a:lnTo>
                  <a:lnTo>
                    <a:pt x="7772" y="1346"/>
                  </a:lnTo>
                  <a:lnTo>
                    <a:pt x="7755" y="1326"/>
                  </a:lnTo>
                  <a:lnTo>
                    <a:pt x="7740" y="1305"/>
                  </a:lnTo>
                  <a:lnTo>
                    <a:pt x="7726" y="1281"/>
                  </a:lnTo>
                  <a:lnTo>
                    <a:pt x="7713" y="1258"/>
                  </a:lnTo>
                  <a:lnTo>
                    <a:pt x="7700" y="1233"/>
                  </a:lnTo>
                  <a:lnTo>
                    <a:pt x="7690" y="1207"/>
                  </a:lnTo>
                  <a:lnTo>
                    <a:pt x="7680" y="1181"/>
                  </a:lnTo>
                  <a:lnTo>
                    <a:pt x="7672" y="1153"/>
                  </a:lnTo>
                  <a:lnTo>
                    <a:pt x="7664" y="1125"/>
                  </a:lnTo>
                  <a:lnTo>
                    <a:pt x="7658" y="1095"/>
                  </a:lnTo>
                  <a:lnTo>
                    <a:pt x="7653" y="1065"/>
                  </a:lnTo>
                  <a:lnTo>
                    <a:pt x="7649" y="1033"/>
                  </a:lnTo>
                  <a:lnTo>
                    <a:pt x="7645" y="1001"/>
                  </a:lnTo>
                  <a:lnTo>
                    <a:pt x="7644" y="968"/>
                  </a:lnTo>
                  <a:lnTo>
                    <a:pt x="7643" y="933"/>
                  </a:lnTo>
                  <a:close/>
                  <a:moveTo>
                    <a:pt x="11327" y="477"/>
                  </a:moveTo>
                  <a:lnTo>
                    <a:pt x="11310" y="447"/>
                  </a:lnTo>
                  <a:lnTo>
                    <a:pt x="11291" y="420"/>
                  </a:lnTo>
                  <a:lnTo>
                    <a:pt x="11272" y="392"/>
                  </a:lnTo>
                  <a:lnTo>
                    <a:pt x="11253" y="366"/>
                  </a:lnTo>
                  <a:lnTo>
                    <a:pt x="11232" y="341"/>
                  </a:lnTo>
                  <a:lnTo>
                    <a:pt x="11211" y="316"/>
                  </a:lnTo>
                  <a:lnTo>
                    <a:pt x="11190" y="293"/>
                  </a:lnTo>
                  <a:lnTo>
                    <a:pt x="11167" y="270"/>
                  </a:lnTo>
                  <a:lnTo>
                    <a:pt x="11144" y="248"/>
                  </a:lnTo>
                  <a:lnTo>
                    <a:pt x="11121" y="228"/>
                  </a:lnTo>
                  <a:lnTo>
                    <a:pt x="11096" y="207"/>
                  </a:lnTo>
                  <a:lnTo>
                    <a:pt x="11071" y="188"/>
                  </a:lnTo>
                  <a:lnTo>
                    <a:pt x="11045" y="171"/>
                  </a:lnTo>
                  <a:lnTo>
                    <a:pt x="11018" y="154"/>
                  </a:lnTo>
                  <a:lnTo>
                    <a:pt x="10991" y="136"/>
                  </a:lnTo>
                  <a:lnTo>
                    <a:pt x="10963" y="121"/>
                  </a:lnTo>
                  <a:lnTo>
                    <a:pt x="10934" y="107"/>
                  </a:lnTo>
                  <a:lnTo>
                    <a:pt x="10905" y="93"/>
                  </a:lnTo>
                  <a:lnTo>
                    <a:pt x="10875" y="80"/>
                  </a:lnTo>
                  <a:lnTo>
                    <a:pt x="10845" y="68"/>
                  </a:lnTo>
                  <a:lnTo>
                    <a:pt x="10813" y="58"/>
                  </a:lnTo>
                  <a:lnTo>
                    <a:pt x="10782" y="48"/>
                  </a:lnTo>
                  <a:lnTo>
                    <a:pt x="10749" y="39"/>
                  </a:lnTo>
                  <a:lnTo>
                    <a:pt x="10716" y="30"/>
                  </a:lnTo>
                  <a:lnTo>
                    <a:pt x="10682" y="23"/>
                  </a:lnTo>
                  <a:lnTo>
                    <a:pt x="10648" y="17"/>
                  </a:lnTo>
                  <a:lnTo>
                    <a:pt x="10612" y="12"/>
                  </a:lnTo>
                  <a:lnTo>
                    <a:pt x="10576" y="8"/>
                  </a:lnTo>
                  <a:lnTo>
                    <a:pt x="10540" y="4"/>
                  </a:lnTo>
                  <a:lnTo>
                    <a:pt x="10502" y="2"/>
                  </a:lnTo>
                  <a:lnTo>
                    <a:pt x="10465" y="1"/>
                  </a:lnTo>
                  <a:lnTo>
                    <a:pt x="10426" y="0"/>
                  </a:lnTo>
                  <a:lnTo>
                    <a:pt x="10373" y="1"/>
                  </a:lnTo>
                  <a:lnTo>
                    <a:pt x="10322" y="4"/>
                  </a:lnTo>
                  <a:lnTo>
                    <a:pt x="10271" y="9"/>
                  </a:lnTo>
                  <a:lnTo>
                    <a:pt x="10222" y="16"/>
                  </a:lnTo>
                  <a:lnTo>
                    <a:pt x="10174" y="25"/>
                  </a:lnTo>
                  <a:lnTo>
                    <a:pt x="10126" y="37"/>
                  </a:lnTo>
                  <a:lnTo>
                    <a:pt x="10079" y="50"/>
                  </a:lnTo>
                  <a:lnTo>
                    <a:pt x="10033" y="65"/>
                  </a:lnTo>
                  <a:lnTo>
                    <a:pt x="9990" y="81"/>
                  </a:lnTo>
                  <a:lnTo>
                    <a:pt x="9947" y="101"/>
                  </a:lnTo>
                  <a:lnTo>
                    <a:pt x="9905" y="121"/>
                  </a:lnTo>
                  <a:lnTo>
                    <a:pt x="9865" y="143"/>
                  </a:lnTo>
                  <a:lnTo>
                    <a:pt x="9826" y="168"/>
                  </a:lnTo>
                  <a:lnTo>
                    <a:pt x="9788" y="194"/>
                  </a:lnTo>
                  <a:lnTo>
                    <a:pt x="9753" y="222"/>
                  </a:lnTo>
                  <a:lnTo>
                    <a:pt x="9718" y="251"/>
                  </a:lnTo>
                  <a:lnTo>
                    <a:pt x="9686" y="282"/>
                  </a:lnTo>
                  <a:lnTo>
                    <a:pt x="9654" y="314"/>
                  </a:lnTo>
                  <a:lnTo>
                    <a:pt x="9626" y="349"/>
                  </a:lnTo>
                  <a:lnTo>
                    <a:pt x="9598" y="385"/>
                  </a:lnTo>
                  <a:lnTo>
                    <a:pt x="9572" y="423"/>
                  </a:lnTo>
                  <a:lnTo>
                    <a:pt x="9548" y="462"/>
                  </a:lnTo>
                  <a:lnTo>
                    <a:pt x="9527" y="502"/>
                  </a:lnTo>
                  <a:lnTo>
                    <a:pt x="9508" y="545"/>
                  </a:lnTo>
                  <a:lnTo>
                    <a:pt x="9489" y="589"/>
                  </a:lnTo>
                  <a:lnTo>
                    <a:pt x="9474" y="633"/>
                  </a:lnTo>
                  <a:lnTo>
                    <a:pt x="9461" y="680"/>
                  </a:lnTo>
                  <a:lnTo>
                    <a:pt x="9451" y="728"/>
                  </a:lnTo>
                  <a:lnTo>
                    <a:pt x="9441" y="778"/>
                  </a:lnTo>
                  <a:lnTo>
                    <a:pt x="9435" y="829"/>
                  </a:lnTo>
                  <a:lnTo>
                    <a:pt x="9432" y="881"/>
                  </a:lnTo>
                  <a:lnTo>
                    <a:pt x="9430" y="933"/>
                  </a:lnTo>
                  <a:lnTo>
                    <a:pt x="9431" y="987"/>
                  </a:lnTo>
                  <a:lnTo>
                    <a:pt x="9435" y="1039"/>
                  </a:lnTo>
                  <a:lnTo>
                    <a:pt x="9441" y="1090"/>
                  </a:lnTo>
                  <a:lnTo>
                    <a:pt x="9450" y="1139"/>
                  </a:lnTo>
                  <a:lnTo>
                    <a:pt x="9461" y="1188"/>
                  </a:lnTo>
                  <a:lnTo>
                    <a:pt x="9474" y="1234"/>
                  </a:lnTo>
                  <a:lnTo>
                    <a:pt x="9488" y="1279"/>
                  </a:lnTo>
                  <a:lnTo>
                    <a:pt x="9506" y="1323"/>
                  </a:lnTo>
                  <a:lnTo>
                    <a:pt x="9525" y="1365"/>
                  </a:lnTo>
                  <a:lnTo>
                    <a:pt x="9546" y="1405"/>
                  </a:lnTo>
                  <a:lnTo>
                    <a:pt x="9570" y="1445"/>
                  </a:lnTo>
                  <a:lnTo>
                    <a:pt x="9595" y="1483"/>
                  </a:lnTo>
                  <a:lnTo>
                    <a:pt x="9623" y="1518"/>
                  </a:lnTo>
                  <a:lnTo>
                    <a:pt x="9651" y="1553"/>
                  </a:lnTo>
                  <a:lnTo>
                    <a:pt x="9681" y="1585"/>
                  </a:lnTo>
                  <a:lnTo>
                    <a:pt x="9714" y="1617"/>
                  </a:lnTo>
                  <a:lnTo>
                    <a:pt x="9749" y="1646"/>
                  </a:lnTo>
                  <a:lnTo>
                    <a:pt x="9784" y="1674"/>
                  </a:lnTo>
                  <a:lnTo>
                    <a:pt x="9822" y="1700"/>
                  </a:lnTo>
                  <a:lnTo>
                    <a:pt x="9860" y="1724"/>
                  </a:lnTo>
                  <a:lnTo>
                    <a:pt x="9900" y="1746"/>
                  </a:lnTo>
                  <a:lnTo>
                    <a:pt x="9942" y="1767"/>
                  </a:lnTo>
                  <a:lnTo>
                    <a:pt x="9986" y="1786"/>
                  </a:lnTo>
                  <a:lnTo>
                    <a:pt x="10029" y="1803"/>
                  </a:lnTo>
                  <a:lnTo>
                    <a:pt x="10075" y="1818"/>
                  </a:lnTo>
                  <a:lnTo>
                    <a:pt x="10122" y="1830"/>
                  </a:lnTo>
                  <a:lnTo>
                    <a:pt x="10170" y="1841"/>
                  </a:lnTo>
                  <a:lnTo>
                    <a:pt x="10219" y="1851"/>
                  </a:lnTo>
                  <a:lnTo>
                    <a:pt x="10269" y="1858"/>
                  </a:lnTo>
                  <a:lnTo>
                    <a:pt x="10320" y="1863"/>
                  </a:lnTo>
                  <a:lnTo>
                    <a:pt x="10372" y="1867"/>
                  </a:lnTo>
                  <a:lnTo>
                    <a:pt x="10426" y="1868"/>
                  </a:lnTo>
                  <a:lnTo>
                    <a:pt x="10465" y="1867"/>
                  </a:lnTo>
                  <a:lnTo>
                    <a:pt x="10502" y="1866"/>
                  </a:lnTo>
                  <a:lnTo>
                    <a:pt x="10540" y="1863"/>
                  </a:lnTo>
                  <a:lnTo>
                    <a:pt x="10576" y="1860"/>
                  </a:lnTo>
                  <a:lnTo>
                    <a:pt x="10612" y="1856"/>
                  </a:lnTo>
                  <a:lnTo>
                    <a:pt x="10648" y="1851"/>
                  </a:lnTo>
                  <a:lnTo>
                    <a:pt x="10682" y="1845"/>
                  </a:lnTo>
                  <a:lnTo>
                    <a:pt x="10716" y="1837"/>
                  </a:lnTo>
                  <a:lnTo>
                    <a:pt x="10749" y="1829"/>
                  </a:lnTo>
                  <a:lnTo>
                    <a:pt x="10782" y="1820"/>
                  </a:lnTo>
                  <a:lnTo>
                    <a:pt x="10813" y="1810"/>
                  </a:lnTo>
                  <a:lnTo>
                    <a:pt x="10845" y="1799"/>
                  </a:lnTo>
                  <a:lnTo>
                    <a:pt x="10875" y="1788"/>
                  </a:lnTo>
                  <a:lnTo>
                    <a:pt x="10905" y="1774"/>
                  </a:lnTo>
                  <a:lnTo>
                    <a:pt x="10934" y="1761"/>
                  </a:lnTo>
                  <a:lnTo>
                    <a:pt x="10963" y="1746"/>
                  </a:lnTo>
                  <a:lnTo>
                    <a:pt x="10991" y="1731"/>
                  </a:lnTo>
                  <a:lnTo>
                    <a:pt x="11018" y="1714"/>
                  </a:lnTo>
                  <a:lnTo>
                    <a:pt x="11045" y="1697"/>
                  </a:lnTo>
                  <a:lnTo>
                    <a:pt x="11071" y="1679"/>
                  </a:lnTo>
                  <a:lnTo>
                    <a:pt x="11096" y="1659"/>
                  </a:lnTo>
                  <a:lnTo>
                    <a:pt x="11121" y="1640"/>
                  </a:lnTo>
                  <a:lnTo>
                    <a:pt x="11144" y="1619"/>
                  </a:lnTo>
                  <a:lnTo>
                    <a:pt x="11167" y="1597"/>
                  </a:lnTo>
                  <a:lnTo>
                    <a:pt x="11190" y="1574"/>
                  </a:lnTo>
                  <a:lnTo>
                    <a:pt x="11211" y="1551"/>
                  </a:lnTo>
                  <a:lnTo>
                    <a:pt x="11232" y="1526"/>
                  </a:lnTo>
                  <a:lnTo>
                    <a:pt x="11253" y="1501"/>
                  </a:lnTo>
                  <a:lnTo>
                    <a:pt x="11272" y="1474"/>
                  </a:lnTo>
                  <a:lnTo>
                    <a:pt x="11291" y="1448"/>
                  </a:lnTo>
                  <a:lnTo>
                    <a:pt x="11310" y="1419"/>
                  </a:lnTo>
                  <a:lnTo>
                    <a:pt x="11327" y="1391"/>
                  </a:lnTo>
                  <a:lnTo>
                    <a:pt x="11015" y="1211"/>
                  </a:lnTo>
                  <a:lnTo>
                    <a:pt x="11002" y="1228"/>
                  </a:lnTo>
                  <a:lnTo>
                    <a:pt x="10988" y="1246"/>
                  </a:lnTo>
                  <a:lnTo>
                    <a:pt x="10975" y="1263"/>
                  </a:lnTo>
                  <a:lnTo>
                    <a:pt x="10962" y="1279"/>
                  </a:lnTo>
                  <a:lnTo>
                    <a:pt x="10948" y="1294"/>
                  </a:lnTo>
                  <a:lnTo>
                    <a:pt x="10933" y="1310"/>
                  </a:lnTo>
                  <a:lnTo>
                    <a:pt x="10919" y="1325"/>
                  </a:lnTo>
                  <a:lnTo>
                    <a:pt x="10904" y="1339"/>
                  </a:lnTo>
                  <a:lnTo>
                    <a:pt x="10890" y="1352"/>
                  </a:lnTo>
                  <a:lnTo>
                    <a:pt x="10873" y="1366"/>
                  </a:lnTo>
                  <a:lnTo>
                    <a:pt x="10858" y="1378"/>
                  </a:lnTo>
                  <a:lnTo>
                    <a:pt x="10842" y="1390"/>
                  </a:lnTo>
                  <a:lnTo>
                    <a:pt x="10825" y="1402"/>
                  </a:lnTo>
                  <a:lnTo>
                    <a:pt x="10807" y="1412"/>
                  </a:lnTo>
                  <a:lnTo>
                    <a:pt x="10790" y="1423"/>
                  </a:lnTo>
                  <a:lnTo>
                    <a:pt x="10773" y="1433"/>
                  </a:lnTo>
                  <a:lnTo>
                    <a:pt x="10754" y="1442"/>
                  </a:lnTo>
                  <a:lnTo>
                    <a:pt x="10735" y="1451"/>
                  </a:lnTo>
                  <a:lnTo>
                    <a:pt x="10716" y="1459"/>
                  </a:lnTo>
                  <a:lnTo>
                    <a:pt x="10696" y="1466"/>
                  </a:lnTo>
                  <a:lnTo>
                    <a:pt x="10676" y="1473"/>
                  </a:lnTo>
                  <a:lnTo>
                    <a:pt x="10656" y="1479"/>
                  </a:lnTo>
                  <a:lnTo>
                    <a:pt x="10634" y="1486"/>
                  </a:lnTo>
                  <a:lnTo>
                    <a:pt x="10613" y="1491"/>
                  </a:lnTo>
                  <a:lnTo>
                    <a:pt x="10591" y="1495"/>
                  </a:lnTo>
                  <a:lnTo>
                    <a:pt x="10567" y="1499"/>
                  </a:lnTo>
                  <a:lnTo>
                    <a:pt x="10544" y="1502"/>
                  </a:lnTo>
                  <a:lnTo>
                    <a:pt x="10521" y="1505"/>
                  </a:lnTo>
                  <a:lnTo>
                    <a:pt x="10496" y="1507"/>
                  </a:lnTo>
                  <a:lnTo>
                    <a:pt x="10471" y="1509"/>
                  </a:lnTo>
                  <a:lnTo>
                    <a:pt x="10445" y="1510"/>
                  </a:lnTo>
                  <a:lnTo>
                    <a:pt x="10419" y="1510"/>
                  </a:lnTo>
                  <a:lnTo>
                    <a:pt x="10386" y="1509"/>
                  </a:lnTo>
                  <a:lnTo>
                    <a:pt x="10355" y="1507"/>
                  </a:lnTo>
                  <a:lnTo>
                    <a:pt x="10324" y="1504"/>
                  </a:lnTo>
                  <a:lnTo>
                    <a:pt x="10294" y="1500"/>
                  </a:lnTo>
                  <a:lnTo>
                    <a:pt x="10264" y="1494"/>
                  </a:lnTo>
                  <a:lnTo>
                    <a:pt x="10236" y="1487"/>
                  </a:lnTo>
                  <a:lnTo>
                    <a:pt x="10207" y="1478"/>
                  </a:lnTo>
                  <a:lnTo>
                    <a:pt x="10180" y="1468"/>
                  </a:lnTo>
                  <a:lnTo>
                    <a:pt x="10153" y="1458"/>
                  </a:lnTo>
                  <a:lnTo>
                    <a:pt x="10128" y="1446"/>
                  </a:lnTo>
                  <a:lnTo>
                    <a:pt x="10104" y="1433"/>
                  </a:lnTo>
                  <a:lnTo>
                    <a:pt x="10080" y="1418"/>
                  </a:lnTo>
                  <a:lnTo>
                    <a:pt x="10057" y="1403"/>
                  </a:lnTo>
                  <a:lnTo>
                    <a:pt x="10035" y="1387"/>
                  </a:lnTo>
                  <a:lnTo>
                    <a:pt x="10014" y="1370"/>
                  </a:lnTo>
                  <a:lnTo>
                    <a:pt x="9994" y="1351"/>
                  </a:lnTo>
                  <a:lnTo>
                    <a:pt x="9975" y="1332"/>
                  </a:lnTo>
                  <a:lnTo>
                    <a:pt x="9957" y="1312"/>
                  </a:lnTo>
                  <a:lnTo>
                    <a:pt x="9941" y="1289"/>
                  </a:lnTo>
                  <a:lnTo>
                    <a:pt x="9925" y="1268"/>
                  </a:lnTo>
                  <a:lnTo>
                    <a:pt x="9910" y="1245"/>
                  </a:lnTo>
                  <a:lnTo>
                    <a:pt x="9896" y="1220"/>
                  </a:lnTo>
                  <a:lnTo>
                    <a:pt x="9884" y="1195"/>
                  </a:lnTo>
                  <a:lnTo>
                    <a:pt x="9873" y="1169"/>
                  </a:lnTo>
                  <a:lnTo>
                    <a:pt x="9864" y="1143"/>
                  </a:lnTo>
                  <a:lnTo>
                    <a:pt x="9854" y="1114"/>
                  </a:lnTo>
                  <a:lnTo>
                    <a:pt x="9847" y="1087"/>
                  </a:lnTo>
                  <a:lnTo>
                    <a:pt x="9841" y="1057"/>
                  </a:lnTo>
                  <a:lnTo>
                    <a:pt x="9836" y="1028"/>
                  </a:lnTo>
                  <a:lnTo>
                    <a:pt x="9833" y="998"/>
                  </a:lnTo>
                  <a:lnTo>
                    <a:pt x="9831" y="966"/>
                  </a:lnTo>
                  <a:lnTo>
                    <a:pt x="9830" y="933"/>
                  </a:lnTo>
                  <a:lnTo>
                    <a:pt x="9831" y="901"/>
                  </a:lnTo>
                  <a:lnTo>
                    <a:pt x="9833" y="869"/>
                  </a:lnTo>
                  <a:lnTo>
                    <a:pt x="9836" y="839"/>
                  </a:lnTo>
                  <a:lnTo>
                    <a:pt x="9840" y="808"/>
                  </a:lnTo>
                  <a:lnTo>
                    <a:pt x="9846" y="779"/>
                  </a:lnTo>
                  <a:lnTo>
                    <a:pt x="9853" y="750"/>
                  </a:lnTo>
                  <a:lnTo>
                    <a:pt x="9863" y="723"/>
                  </a:lnTo>
                  <a:lnTo>
                    <a:pt x="9872" y="696"/>
                  </a:lnTo>
                  <a:lnTo>
                    <a:pt x="9883" y="670"/>
                  </a:lnTo>
                  <a:lnTo>
                    <a:pt x="9894" y="645"/>
                  </a:lnTo>
                  <a:lnTo>
                    <a:pt x="9907" y="620"/>
                  </a:lnTo>
                  <a:lnTo>
                    <a:pt x="9923" y="597"/>
                  </a:lnTo>
                  <a:lnTo>
                    <a:pt x="9938" y="575"/>
                  </a:lnTo>
                  <a:lnTo>
                    <a:pt x="9954" y="553"/>
                  </a:lnTo>
                  <a:lnTo>
                    <a:pt x="9971" y="533"/>
                  </a:lnTo>
                  <a:lnTo>
                    <a:pt x="9991" y="513"/>
                  </a:lnTo>
                  <a:lnTo>
                    <a:pt x="10010" y="496"/>
                  </a:lnTo>
                  <a:lnTo>
                    <a:pt x="10031" y="479"/>
                  </a:lnTo>
                  <a:lnTo>
                    <a:pt x="10053" y="463"/>
                  </a:lnTo>
                  <a:lnTo>
                    <a:pt x="10075" y="447"/>
                  </a:lnTo>
                  <a:lnTo>
                    <a:pt x="10099" y="433"/>
                  </a:lnTo>
                  <a:lnTo>
                    <a:pt x="10124" y="420"/>
                  </a:lnTo>
                  <a:lnTo>
                    <a:pt x="10149" y="409"/>
                  </a:lnTo>
                  <a:lnTo>
                    <a:pt x="10176" y="399"/>
                  </a:lnTo>
                  <a:lnTo>
                    <a:pt x="10203" y="388"/>
                  </a:lnTo>
                  <a:lnTo>
                    <a:pt x="10232" y="380"/>
                  </a:lnTo>
                  <a:lnTo>
                    <a:pt x="10261" y="373"/>
                  </a:lnTo>
                  <a:lnTo>
                    <a:pt x="10291" y="368"/>
                  </a:lnTo>
                  <a:lnTo>
                    <a:pt x="10322" y="363"/>
                  </a:lnTo>
                  <a:lnTo>
                    <a:pt x="10354" y="360"/>
                  </a:lnTo>
                  <a:lnTo>
                    <a:pt x="10386" y="358"/>
                  </a:lnTo>
                  <a:lnTo>
                    <a:pt x="10419" y="358"/>
                  </a:lnTo>
                  <a:lnTo>
                    <a:pt x="10445" y="358"/>
                  </a:lnTo>
                  <a:lnTo>
                    <a:pt x="10471" y="359"/>
                  </a:lnTo>
                  <a:lnTo>
                    <a:pt x="10496" y="360"/>
                  </a:lnTo>
                  <a:lnTo>
                    <a:pt x="10521" y="362"/>
                  </a:lnTo>
                  <a:lnTo>
                    <a:pt x="10544" y="365"/>
                  </a:lnTo>
                  <a:lnTo>
                    <a:pt x="10567" y="368"/>
                  </a:lnTo>
                  <a:lnTo>
                    <a:pt x="10591" y="372"/>
                  </a:lnTo>
                  <a:lnTo>
                    <a:pt x="10613" y="377"/>
                  </a:lnTo>
                  <a:lnTo>
                    <a:pt x="10634" y="382"/>
                  </a:lnTo>
                  <a:lnTo>
                    <a:pt x="10656" y="388"/>
                  </a:lnTo>
                  <a:lnTo>
                    <a:pt x="10676" y="395"/>
                  </a:lnTo>
                  <a:lnTo>
                    <a:pt x="10696" y="402"/>
                  </a:lnTo>
                  <a:lnTo>
                    <a:pt x="10716" y="409"/>
                  </a:lnTo>
                  <a:lnTo>
                    <a:pt x="10735" y="417"/>
                  </a:lnTo>
                  <a:lnTo>
                    <a:pt x="10754" y="425"/>
                  </a:lnTo>
                  <a:lnTo>
                    <a:pt x="10773" y="435"/>
                  </a:lnTo>
                  <a:lnTo>
                    <a:pt x="10790" y="444"/>
                  </a:lnTo>
                  <a:lnTo>
                    <a:pt x="10807" y="455"/>
                  </a:lnTo>
                  <a:lnTo>
                    <a:pt x="10825" y="466"/>
                  </a:lnTo>
                  <a:lnTo>
                    <a:pt x="10842" y="477"/>
                  </a:lnTo>
                  <a:lnTo>
                    <a:pt x="10858" y="489"/>
                  </a:lnTo>
                  <a:lnTo>
                    <a:pt x="10873" y="502"/>
                  </a:lnTo>
                  <a:lnTo>
                    <a:pt x="10890" y="515"/>
                  </a:lnTo>
                  <a:lnTo>
                    <a:pt x="10904" y="529"/>
                  </a:lnTo>
                  <a:lnTo>
                    <a:pt x="10919" y="543"/>
                  </a:lnTo>
                  <a:lnTo>
                    <a:pt x="10933" y="557"/>
                  </a:lnTo>
                  <a:lnTo>
                    <a:pt x="10948" y="572"/>
                  </a:lnTo>
                  <a:lnTo>
                    <a:pt x="10962" y="589"/>
                  </a:lnTo>
                  <a:lnTo>
                    <a:pt x="10975" y="605"/>
                  </a:lnTo>
                  <a:lnTo>
                    <a:pt x="10988" y="621"/>
                  </a:lnTo>
                  <a:lnTo>
                    <a:pt x="11002" y="639"/>
                  </a:lnTo>
                  <a:lnTo>
                    <a:pt x="11015" y="657"/>
                  </a:lnTo>
                  <a:lnTo>
                    <a:pt x="11327" y="4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490538" y="487363"/>
              <a:ext cx="466725" cy="455612"/>
            </a:xfrm>
            <a:custGeom>
              <a:avLst/>
              <a:gdLst>
                <a:gd name="T0" fmla="*/ 1853 w 3532"/>
                <a:gd name="T1" fmla="*/ 1336 h 3444"/>
                <a:gd name="T2" fmla="*/ 1828 w 3532"/>
                <a:gd name="T3" fmla="*/ 1351 h 3444"/>
                <a:gd name="T4" fmla="*/ 1795 w 3532"/>
                <a:gd name="T5" fmla="*/ 1349 h 3444"/>
                <a:gd name="T6" fmla="*/ 1104 w 3532"/>
                <a:gd name="T7" fmla="*/ 1069 h 3444"/>
                <a:gd name="T8" fmla="*/ 1071 w 3532"/>
                <a:gd name="T9" fmla="*/ 1010 h 3444"/>
                <a:gd name="T10" fmla="*/ 1204 w 3532"/>
                <a:gd name="T11" fmla="*/ 141 h 3444"/>
                <a:gd name="T12" fmla="*/ 1231 w 3532"/>
                <a:gd name="T13" fmla="*/ 77 h 3444"/>
                <a:gd name="T14" fmla="*/ 1287 w 3532"/>
                <a:gd name="T15" fmla="*/ 37 h 3444"/>
                <a:gd name="T16" fmla="*/ 2026 w 3532"/>
                <a:gd name="T17" fmla="*/ 0 h 3444"/>
                <a:gd name="T18" fmla="*/ 2055 w 3532"/>
                <a:gd name="T19" fmla="*/ 11 h 3444"/>
                <a:gd name="T20" fmla="*/ 2072 w 3532"/>
                <a:gd name="T21" fmla="*/ 37 h 3444"/>
                <a:gd name="T22" fmla="*/ 1399 w 3532"/>
                <a:gd name="T23" fmla="*/ 1554 h 3444"/>
                <a:gd name="T24" fmla="*/ 1417 w 3532"/>
                <a:gd name="T25" fmla="*/ 1578 h 3444"/>
                <a:gd name="T26" fmla="*/ 1414 w 3532"/>
                <a:gd name="T27" fmla="*/ 1610 h 3444"/>
                <a:gd name="T28" fmla="*/ 958 w 3532"/>
                <a:gd name="T29" fmla="*/ 2172 h 3444"/>
                <a:gd name="T30" fmla="*/ 893 w 3532"/>
                <a:gd name="T31" fmla="*/ 2208 h 3444"/>
                <a:gd name="T32" fmla="*/ 826 w 3532"/>
                <a:gd name="T33" fmla="*/ 2201 h 3444"/>
                <a:gd name="T34" fmla="*/ 45 w 3532"/>
                <a:gd name="T35" fmla="*/ 1796 h 3444"/>
                <a:gd name="T36" fmla="*/ 6 w 3532"/>
                <a:gd name="T37" fmla="*/ 1741 h 3444"/>
                <a:gd name="T38" fmla="*/ 4 w 3532"/>
                <a:gd name="T39" fmla="*/ 1664 h 3444"/>
                <a:gd name="T40" fmla="*/ 200 w 3532"/>
                <a:gd name="T41" fmla="*/ 976 h 3444"/>
                <a:gd name="T42" fmla="*/ 226 w 3532"/>
                <a:gd name="T43" fmla="*/ 959 h 3444"/>
                <a:gd name="T44" fmla="*/ 255 w 3532"/>
                <a:gd name="T45" fmla="*/ 963 h 3444"/>
                <a:gd name="T46" fmla="*/ 1491 w 3532"/>
                <a:gd name="T47" fmla="*/ 2055 h 3444"/>
                <a:gd name="T48" fmla="*/ 1521 w 3532"/>
                <a:gd name="T49" fmla="*/ 2057 h 3444"/>
                <a:gd name="T50" fmla="*/ 1546 w 3532"/>
                <a:gd name="T51" fmla="*/ 2077 h 3444"/>
                <a:gd name="T52" fmla="*/ 1940 w 3532"/>
                <a:gd name="T53" fmla="*/ 2711 h 3444"/>
                <a:gd name="T54" fmla="*/ 1933 w 3532"/>
                <a:gd name="T55" fmla="*/ 2779 h 3444"/>
                <a:gd name="T56" fmla="*/ 1315 w 3532"/>
                <a:gd name="T57" fmla="*/ 3402 h 3444"/>
                <a:gd name="T58" fmla="*/ 1256 w 3532"/>
                <a:gd name="T59" fmla="*/ 3439 h 3444"/>
                <a:gd name="T60" fmla="*/ 1187 w 3532"/>
                <a:gd name="T61" fmla="*/ 3439 h 3444"/>
                <a:gd name="T62" fmla="*/ 567 w 3532"/>
                <a:gd name="T63" fmla="*/ 3035 h 3444"/>
                <a:gd name="T64" fmla="*/ 549 w 3532"/>
                <a:gd name="T65" fmla="*/ 3009 h 3444"/>
                <a:gd name="T66" fmla="*/ 551 w 3532"/>
                <a:gd name="T67" fmla="*/ 2978 h 3444"/>
                <a:gd name="T68" fmla="*/ 1987 w 3532"/>
                <a:gd name="T69" fmla="*/ 2144 h 3444"/>
                <a:gd name="T70" fmla="*/ 1988 w 3532"/>
                <a:gd name="T71" fmla="*/ 2114 h 3444"/>
                <a:gd name="T72" fmla="*/ 2009 w 3532"/>
                <a:gd name="T73" fmla="*/ 2091 h 3444"/>
                <a:gd name="T74" fmla="*/ 2707 w 3532"/>
                <a:gd name="T75" fmla="*/ 1899 h 3444"/>
                <a:gd name="T76" fmla="*/ 2780 w 3532"/>
                <a:gd name="T77" fmla="*/ 1910 h 3444"/>
                <a:gd name="T78" fmla="*/ 2832 w 3532"/>
                <a:gd name="T79" fmla="*/ 1953 h 3444"/>
                <a:gd name="T80" fmla="*/ 3229 w 3532"/>
                <a:gd name="T81" fmla="*/ 2739 h 3444"/>
                <a:gd name="T82" fmla="*/ 3227 w 3532"/>
                <a:gd name="T83" fmla="*/ 2806 h 3444"/>
                <a:gd name="T84" fmla="*/ 3184 w 3532"/>
                <a:gd name="T85" fmla="*/ 2871 h 3444"/>
                <a:gd name="T86" fmla="*/ 2624 w 3532"/>
                <a:gd name="T87" fmla="*/ 3314 h 3444"/>
                <a:gd name="T88" fmla="*/ 2593 w 3532"/>
                <a:gd name="T89" fmla="*/ 3313 h 3444"/>
                <a:gd name="T90" fmla="*/ 2570 w 3532"/>
                <a:gd name="T91" fmla="*/ 3292 h 3444"/>
                <a:gd name="T92" fmla="*/ 2206 w 3532"/>
                <a:gd name="T93" fmla="*/ 1686 h 3444"/>
                <a:gd name="T94" fmla="*/ 2183 w 3532"/>
                <a:gd name="T95" fmla="*/ 1667 h 3444"/>
                <a:gd name="T96" fmla="*/ 2176 w 3532"/>
                <a:gd name="T97" fmla="*/ 1635 h 3444"/>
                <a:gd name="T98" fmla="*/ 2229 w 3532"/>
                <a:gd name="T99" fmla="*/ 892 h 3444"/>
                <a:gd name="T100" fmla="*/ 2275 w 3532"/>
                <a:gd name="T101" fmla="*/ 841 h 3444"/>
                <a:gd name="T102" fmla="*/ 3142 w 3532"/>
                <a:gd name="T103" fmla="*/ 700 h 3444"/>
                <a:gd name="T104" fmla="*/ 3211 w 3532"/>
                <a:gd name="T105" fmla="*/ 706 h 3444"/>
                <a:gd name="T106" fmla="*/ 3268 w 3532"/>
                <a:gd name="T107" fmla="*/ 746 h 3444"/>
                <a:gd name="T108" fmla="*/ 3530 w 3532"/>
                <a:gd name="T109" fmla="*/ 1438 h 3444"/>
                <a:gd name="T110" fmla="*/ 3529 w 3532"/>
                <a:gd name="T111" fmla="*/ 1469 h 3444"/>
                <a:gd name="T112" fmla="*/ 3510 w 3532"/>
                <a:gd name="T113" fmla="*/ 1493 h 3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32" h="3444">
                  <a:moveTo>
                    <a:pt x="2072" y="52"/>
                  </a:moveTo>
                  <a:lnTo>
                    <a:pt x="1861" y="1317"/>
                  </a:lnTo>
                  <a:lnTo>
                    <a:pt x="1860" y="1322"/>
                  </a:lnTo>
                  <a:lnTo>
                    <a:pt x="1858" y="1327"/>
                  </a:lnTo>
                  <a:lnTo>
                    <a:pt x="1856" y="1332"/>
                  </a:lnTo>
                  <a:lnTo>
                    <a:pt x="1853" y="1336"/>
                  </a:lnTo>
                  <a:lnTo>
                    <a:pt x="1849" y="1340"/>
                  </a:lnTo>
                  <a:lnTo>
                    <a:pt x="1846" y="1343"/>
                  </a:lnTo>
                  <a:lnTo>
                    <a:pt x="1842" y="1346"/>
                  </a:lnTo>
                  <a:lnTo>
                    <a:pt x="1837" y="1348"/>
                  </a:lnTo>
                  <a:lnTo>
                    <a:pt x="1833" y="1350"/>
                  </a:lnTo>
                  <a:lnTo>
                    <a:pt x="1828" y="1351"/>
                  </a:lnTo>
                  <a:lnTo>
                    <a:pt x="1822" y="1352"/>
                  </a:lnTo>
                  <a:lnTo>
                    <a:pt x="1817" y="1353"/>
                  </a:lnTo>
                  <a:lnTo>
                    <a:pt x="1811" y="1352"/>
                  </a:lnTo>
                  <a:lnTo>
                    <a:pt x="1806" y="1352"/>
                  </a:lnTo>
                  <a:lnTo>
                    <a:pt x="1801" y="1351"/>
                  </a:lnTo>
                  <a:lnTo>
                    <a:pt x="1795" y="1349"/>
                  </a:lnTo>
                  <a:lnTo>
                    <a:pt x="1163" y="1105"/>
                  </a:lnTo>
                  <a:lnTo>
                    <a:pt x="1149" y="1099"/>
                  </a:lnTo>
                  <a:lnTo>
                    <a:pt x="1136" y="1092"/>
                  </a:lnTo>
                  <a:lnTo>
                    <a:pt x="1125" y="1085"/>
                  </a:lnTo>
                  <a:lnTo>
                    <a:pt x="1114" y="1077"/>
                  </a:lnTo>
                  <a:lnTo>
                    <a:pt x="1104" y="1069"/>
                  </a:lnTo>
                  <a:lnTo>
                    <a:pt x="1096" y="1060"/>
                  </a:lnTo>
                  <a:lnTo>
                    <a:pt x="1089" y="1050"/>
                  </a:lnTo>
                  <a:lnTo>
                    <a:pt x="1083" y="1041"/>
                  </a:lnTo>
                  <a:lnTo>
                    <a:pt x="1078" y="1031"/>
                  </a:lnTo>
                  <a:lnTo>
                    <a:pt x="1074" y="1020"/>
                  </a:lnTo>
                  <a:lnTo>
                    <a:pt x="1071" y="1010"/>
                  </a:lnTo>
                  <a:lnTo>
                    <a:pt x="1068" y="999"/>
                  </a:lnTo>
                  <a:lnTo>
                    <a:pt x="1067" y="986"/>
                  </a:lnTo>
                  <a:lnTo>
                    <a:pt x="1067" y="975"/>
                  </a:lnTo>
                  <a:lnTo>
                    <a:pt x="1068" y="963"/>
                  </a:lnTo>
                  <a:lnTo>
                    <a:pt x="1069" y="951"/>
                  </a:lnTo>
                  <a:lnTo>
                    <a:pt x="1204" y="141"/>
                  </a:lnTo>
                  <a:lnTo>
                    <a:pt x="1206" y="130"/>
                  </a:lnTo>
                  <a:lnTo>
                    <a:pt x="1209" y="118"/>
                  </a:lnTo>
                  <a:lnTo>
                    <a:pt x="1213" y="107"/>
                  </a:lnTo>
                  <a:lnTo>
                    <a:pt x="1218" y="97"/>
                  </a:lnTo>
                  <a:lnTo>
                    <a:pt x="1224" y="86"/>
                  </a:lnTo>
                  <a:lnTo>
                    <a:pt x="1231" y="77"/>
                  </a:lnTo>
                  <a:lnTo>
                    <a:pt x="1238" y="69"/>
                  </a:lnTo>
                  <a:lnTo>
                    <a:pt x="1246" y="61"/>
                  </a:lnTo>
                  <a:lnTo>
                    <a:pt x="1255" y="54"/>
                  </a:lnTo>
                  <a:lnTo>
                    <a:pt x="1265" y="47"/>
                  </a:lnTo>
                  <a:lnTo>
                    <a:pt x="1275" y="42"/>
                  </a:lnTo>
                  <a:lnTo>
                    <a:pt x="1287" y="37"/>
                  </a:lnTo>
                  <a:lnTo>
                    <a:pt x="1300" y="33"/>
                  </a:lnTo>
                  <a:lnTo>
                    <a:pt x="1313" y="29"/>
                  </a:lnTo>
                  <a:lnTo>
                    <a:pt x="1327" y="27"/>
                  </a:lnTo>
                  <a:lnTo>
                    <a:pt x="1342" y="26"/>
                  </a:lnTo>
                  <a:lnTo>
                    <a:pt x="2020" y="0"/>
                  </a:lnTo>
                  <a:lnTo>
                    <a:pt x="2026" y="0"/>
                  </a:lnTo>
                  <a:lnTo>
                    <a:pt x="2031" y="1"/>
                  </a:lnTo>
                  <a:lnTo>
                    <a:pt x="2036" y="2"/>
                  </a:lnTo>
                  <a:lnTo>
                    <a:pt x="2042" y="3"/>
                  </a:lnTo>
                  <a:lnTo>
                    <a:pt x="2046" y="5"/>
                  </a:lnTo>
                  <a:lnTo>
                    <a:pt x="2051" y="8"/>
                  </a:lnTo>
                  <a:lnTo>
                    <a:pt x="2055" y="11"/>
                  </a:lnTo>
                  <a:lnTo>
                    <a:pt x="2059" y="14"/>
                  </a:lnTo>
                  <a:lnTo>
                    <a:pt x="2062" y="18"/>
                  </a:lnTo>
                  <a:lnTo>
                    <a:pt x="2066" y="22"/>
                  </a:lnTo>
                  <a:lnTo>
                    <a:pt x="2068" y="26"/>
                  </a:lnTo>
                  <a:lnTo>
                    <a:pt x="2070" y="32"/>
                  </a:lnTo>
                  <a:lnTo>
                    <a:pt x="2072" y="37"/>
                  </a:lnTo>
                  <a:lnTo>
                    <a:pt x="2072" y="42"/>
                  </a:lnTo>
                  <a:lnTo>
                    <a:pt x="2073" y="47"/>
                  </a:lnTo>
                  <a:lnTo>
                    <a:pt x="2072" y="52"/>
                  </a:lnTo>
                  <a:close/>
                  <a:moveTo>
                    <a:pt x="255" y="963"/>
                  </a:moveTo>
                  <a:lnTo>
                    <a:pt x="1394" y="1551"/>
                  </a:lnTo>
                  <a:lnTo>
                    <a:pt x="1399" y="1554"/>
                  </a:lnTo>
                  <a:lnTo>
                    <a:pt x="1403" y="1557"/>
                  </a:lnTo>
                  <a:lnTo>
                    <a:pt x="1408" y="1561"/>
                  </a:lnTo>
                  <a:lnTo>
                    <a:pt x="1411" y="1565"/>
                  </a:lnTo>
                  <a:lnTo>
                    <a:pt x="1413" y="1569"/>
                  </a:lnTo>
                  <a:lnTo>
                    <a:pt x="1415" y="1574"/>
                  </a:lnTo>
                  <a:lnTo>
                    <a:pt x="1417" y="1578"/>
                  </a:lnTo>
                  <a:lnTo>
                    <a:pt x="1418" y="1583"/>
                  </a:lnTo>
                  <a:lnTo>
                    <a:pt x="1418" y="1588"/>
                  </a:lnTo>
                  <a:lnTo>
                    <a:pt x="1418" y="1593"/>
                  </a:lnTo>
                  <a:lnTo>
                    <a:pt x="1417" y="1599"/>
                  </a:lnTo>
                  <a:lnTo>
                    <a:pt x="1416" y="1605"/>
                  </a:lnTo>
                  <a:lnTo>
                    <a:pt x="1414" y="1610"/>
                  </a:lnTo>
                  <a:lnTo>
                    <a:pt x="1412" y="1614"/>
                  </a:lnTo>
                  <a:lnTo>
                    <a:pt x="1409" y="1619"/>
                  </a:lnTo>
                  <a:lnTo>
                    <a:pt x="1405" y="1624"/>
                  </a:lnTo>
                  <a:lnTo>
                    <a:pt x="978" y="2151"/>
                  </a:lnTo>
                  <a:lnTo>
                    <a:pt x="969" y="2162"/>
                  </a:lnTo>
                  <a:lnTo>
                    <a:pt x="958" y="2172"/>
                  </a:lnTo>
                  <a:lnTo>
                    <a:pt x="948" y="2181"/>
                  </a:lnTo>
                  <a:lnTo>
                    <a:pt x="938" y="2188"/>
                  </a:lnTo>
                  <a:lnTo>
                    <a:pt x="926" y="2195"/>
                  </a:lnTo>
                  <a:lnTo>
                    <a:pt x="915" y="2200"/>
                  </a:lnTo>
                  <a:lnTo>
                    <a:pt x="904" y="2204"/>
                  </a:lnTo>
                  <a:lnTo>
                    <a:pt x="893" y="2208"/>
                  </a:lnTo>
                  <a:lnTo>
                    <a:pt x="882" y="2209"/>
                  </a:lnTo>
                  <a:lnTo>
                    <a:pt x="871" y="2210"/>
                  </a:lnTo>
                  <a:lnTo>
                    <a:pt x="859" y="2209"/>
                  </a:lnTo>
                  <a:lnTo>
                    <a:pt x="848" y="2208"/>
                  </a:lnTo>
                  <a:lnTo>
                    <a:pt x="837" y="2206"/>
                  </a:lnTo>
                  <a:lnTo>
                    <a:pt x="826" y="2201"/>
                  </a:lnTo>
                  <a:lnTo>
                    <a:pt x="815" y="2197"/>
                  </a:lnTo>
                  <a:lnTo>
                    <a:pt x="803" y="2192"/>
                  </a:lnTo>
                  <a:lnTo>
                    <a:pt x="74" y="1816"/>
                  </a:lnTo>
                  <a:lnTo>
                    <a:pt x="64" y="1810"/>
                  </a:lnTo>
                  <a:lnTo>
                    <a:pt x="54" y="1803"/>
                  </a:lnTo>
                  <a:lnTo>
                    <a:pt x="45" y="1796"/>
                  </a:lnTo>
                  <a:lnTo>
                    <a:pt x="37" y="1789"/>
                  </a:lnTo>
                  <a:lnTo>
                    <a:pt x="28" y="1779"/>
                  </a:lnTo>
                  <a:lnTo>
                    <a:pt x="21" y="1771"/>
                  </a:lnTo>
                  <a:lnTo>
                    <a:pt x="15" y="1761"/>
                  </a:lnTo>
                  <a:lnTo>
                    <a:pt x="10" y="1751"/>
                  </a:lnTo>
                  <a:lnTo>
                    <a:pt x="6" y="1741"/>
                  </a:lnTo>
                  <a:lnTo>
                    <a:pt x="3" y="1729"/>
                  </a:lnTo>
                  <a:lnTo>
                    <a:pt x="1" y="1717"/>
                  </a:lnTo>
                  <a:lnTo>
                    <a:pt x="0" y="1704"/>
                  </a:lnTo>
                  <a:lnTo>
                    <a:pt x="0" y="1691"/>
                  </a:lnTo>
                  <a:lnTo>
                    <a:pt x="1" y="1678"/>
                  </a:lnTo>
                  <a:lnTo>
                    <a:pt x="4" y="1664"/>
                  </a:lnTo>
                  <a:lnTo>
                    <a:pt x="7" y="1648"/>
                  </a:lnTo>
                  <a:lnTo>
                    <a:pt x="190" y="995"/>
                  </a:lnTo>
                  <a:lnTo>
                    <a:pt x="192" y="990"/>
                  </a:lnTo>
                  <a:lnTo>
                    <a:pt x="194" y="985"/>
                  </a:lnTo>
                  <a:lnTo>
                    <a:pt x="197" y="980"/>
                  </a:lnTo>
                  <a:lnTo>
                    <a:pt x="200" y="976"/>
                  </a:lnTo>
                  <a:lnTo>
                    <a:pt x="203" y="972"/>
                  </a:lnTo>
                  <a:lnTo>
                    <a:pt x="207" y="969"/>
                  </a:lnTo>
                  <a:lnTo>
                    <a:pt x="212" y="965"/>
                  </a:lnTo>
                  <a:lnTo>
                    <a:pt x="216" y="963"/>
                  </a:lnTo>
                  <a:lnTo>
                    <a:pt x="221" y="961"/>
                  </a:lnTo>
                  <a:lnTo>
                    <a:pt x="226" y="959"/>
                  </a:lnTo>
                  <a:lnTo>
                    <a:pt x="230" y="958"/>
                  </a:lnTo>
                  <a:lnTo>
                    <a:pt x="235" y="958"/>
                  </a:lnTo>
                  <a:lnTo>
                    <a:pt x="240" y="958"/>
                  </a:lnTo>
                  <a:lnTo>
                    <a:pt x="245" y="959"/>
                  </a:lnTo>
                  <a:lnTo>
                    <a:pt x="250" y="960"/>
                  </a:lnTo>
                  <a:lnTo>
                    <a:pt x="255" y="963"/>
                  </a:lnTo>
                  <a:close/>
                  <a:moveTo>
                    <a:pt x="560" y="2966"/>
                  </a:moveTo>
                  <a:lnTo>
                    <a:pt x="1474" y="2066"/>
                  </a:lnTo>
                  <a:lnTo>
                    <a:pt x="1478" y="2062"/>
                  </a:lnTo>
                  <a:lnTo>
                    <a:pt x="1482" y="2059"/>
                  </a:lnTo>
                  <a:lnTo>
                    <a:pt x="1487" y="2057"/>
                  </a:lnTo>
                  <a:lnTo>
                    <a:pt x="1491" y="2055"/>
                  </a:lnTo>
                  <a:lnTo>
                    <a:pt x="1496" y="2054"/>
                  </a:lnTo>
                  <a:lnTo>
                    <a:pt x="1501" y="2053"/>
                  </a:lnTo>
                  <a:lnTo>
                    <a:pt x="1506" y="2054"/>
                  </a:lnTo>
                  <a:lnTo>
                    <a:pt x="1511" y="2054"/>
                  </a:lnTo>
                  <a:lnTo>
                    <a:pt x="1516" y="2055"/>
                  </a:lnTo>
                  <a:lnTo>
                    <a:pt x="1521" y="2057"/>
                  </a:lnTo>
                  <a:lnTo>
                    <a:pt x="1526" y="2059"/>
                  </a:lnTo>
                  <a:lnTo>
                    <a:pt x="1531" y="2062"/>
                  </a:lnTo>
                  <a:lnTo>
                    <a:pt x="1535" y="2065"/>
                  </a:lnTo>
                  <a:lnTo>
                    <a:pt x="1539" y="2069"/>
                  </a:lnTo>
                  <a:lnTo>
                    <a:pt x="1543" y="2073"/>
                  </a:lnTo>
                  <a:lnTo>
                    <a:pt x="1546" y="2077"/>
                  </a:lnTo>
                  <a:lnTo>
                    <a:pt x="1914" y="2647"/>
                  </a:lnTo>
                  <a:lnTo>
                    <a:pt x="1922" y="2660"/>
                  </a:lnTo>
                  <a:lnTo>
                    <a:pt x="1928" y="2673"/>
                  </a:lnTo>
                  <a:lnTo>
                    <a:pt x="1933" y="2685"/>
                  </a:lnTo>
                  <a:lnTo>
                    <a:pt x="1937" y="2699"/>
                  </a:lnTo>
                  <a:lnTo>
                    <a:pt x="1940" y="2711"/>
                  </a:lnTo>
                  <a:lnTo>
                    <a:pt x="1941" y="2723"/>
                  </a:lnTo>
                  <a:lnTo>
                    <a:pt x="1942" y="2734"/>
                  </a:lnTo>
                  <a:lnTo>
                    <a:pt x="1941" y="2745"/>
                  </a:lnTo>
                  <a:lnTo>
                    <a:pt x="1939" y="2758"/>
                  </a:lnTo>
                  <a:lnTo>
                    <a:pt x="1936" y="2768"/>
                  </a:lnTo>
                  <a:lnTo>
                    <a:pt x="1933" y="2779"/>
                  </a:lnTo>
                  <a:lnTo>
                    <a:pt x="1928" y="2789"/>
                  </a:lnTo>
                  <a:lnTo>
                    <a:pt x="1922" y="2799"/>
                  </a:lnTo>
                  <a:lnTo>
                    <a:pt x="1915" y="2808"/>
                  </a:lnTo>
                  <a:lnTo>
                    <a:pt x="1908" y="2818"/>
                  </a:lnTo>
                  <a:lnTo>
                    <a:pt x="1900" y="2827"/>
                  </a:lnTo>
                  <a:lnTo>
                    <a:pt x="1315" y="3402"/>
                  </a:lnTo>
                  <a:lnTo>
                    <a:pt x="1307" y="3410"/>
                  </a:lnTo>
                  <a:lnTo>
                    <a:pt x="1297" y="3419"/>
                  </a:lnTo>
                  <a:lnTo>
                    <a:pt x="1288" y="3425"/>
                  </a:lnTo>
                  <a:lnTo>
                    <a:pt x="1277" y="3431"/>
                  </a:lnTo>
                  <a:lnTo>
                    <a:pt x="1267" y="3435"/>
                  </a:lnTo>
                  <a:lnTo>
                    <a:pt x="1256" y="3439"/>
                  </a:lnTo>
                  <a:lnTo>
                    <a:pt x="1245" y="3442"/>
                  </a:lnTo>
                  <a:lnTo>
                    <a:pt x="1234" y="3443"/>
                  </a:lnTo>
                  <a:lnTo>
                    <a:pt x="1222" y="3444"/>
                  </a:lnTo>
                  <a:lnTo>
                    <a:pt x="1211" y="3443"/>
                  </a:lnTo>
                  <a:lnTo>
                    <a:pt x="1199" y="3442"/>
                  </a:lnTo>
                  <a:lnTo>
                    <a:pt x="1187" y="3439"/>
                  </a:lnTo>
                  <a:lnTo>
                    <a:pt x="1174" y="3435"/>
                  </a:lnTo>
                  <a:lnTo>
                    <a:pt x="1161" y="3430"/>
                  </a:lnTo>
                  <a:lnTo>
                    <a:pt x="1148" y="3423"/>
                  </a:lnTo>
                  <a:lnTo>
                    <a:pt x="1136" y="3415"/>
                  </a:lnTo>
                  <a:lnTo>
                    <a:pt x="572" y="3038"/>
                  </a:lnTo>
                  <a:lnTo>
                    <a:pt x="567" y="3035"/>
                  </a:lnTo>
                  <a:lnTo>
                    <a:pt x="563" y="3031"/>
                  </a:lnTo>
                  <a:lnTo>
                    <a:pt x="559" y="3027"/>
                  </a:lnTo>
                  <a:lnTo>
                    <a:pt x="556" y="3023"/>
                  </a:lnTo>
                  <a:lnTo>
                    <a:pt x="553" y="3018"/>
                  </a:lnTo>
                  <a:lnTo>
                    <a:pt x="551" y="3014"/>
                  </a:lnTo>
                  <a:lnTo>
                    <a:pt x="549" y="3009"/>
                  </a:lnTo>
                  <a:lnTo>
                    <a:pt x="548" y="3004"/>
                  </a:lnTo>
                  <a:lnTo>
                    <a:pt x="548" y="2999"/>
                  </a:lnTo>
                  <a:lnTo>
                    <a:pt x="548" y="2994"/>
                  </a:lnTo>
                  <a:lnTo>
                    <a:pt x="548" y="2988"/>
                  </a:lnTo>
                  <a:lnTo>
                    <a:pt x="549" y="2983"/>
                  </a:lnTo>
                  <a:lnTo>
                    <a:pt x="551" y="2978"/>
                  </a:lnTo>
                  <a:lnTo>
                    <a:pt x="553" y="2974"/>
                  </a:lnTo>
                  <a:lnTo>
                    <a:pt x="556" y="2970"/>
                  </a:lnTo>
                  <a:lnTo>
                    <a:pt x="560" y="2966"/>
                  </a:lnTo>
                  <a:close/>
                  <a:moveTo>
                    <a:pt x="2570" y="3292"/>
                  </a:moveTo>
                  <a:lnTo>
                    <a:pt x="1990" y="2150"/>
                  </a:lnTo>
                  <a:lnTo>
                    <a:pt x="1987" y="2144"/>
                  </a:lnTo>
                  <a:lnTo>
                    <a:pt x="1986" y="2139"/>
                  </a:lnTo>
                  <a:lnTo>
                    <a:pt x="1985" y="2134"/>
                  </a:lnTo>
                  <a:lnTo>
                    <a:pt x="1985" y="2128"/>
                  </a:lnTo>
                  <a:lnTo>
                    <a:pt x="1986" y="2124"/>
                  </a:lnTo>
                  <a:lnTo>
                    <a:pt x="1987" y="2119"/>
                  </a:lnTo>
                  <a:lnTo>
                    <a:pt x="1988" y="2114"/>
                  </a:lnTo>
                  <a:lnTo>
                    <a:pt x="1990" y="2110"/>
                  </a:lnTo>
                  <a:lnTo>
                    <a:pt x="1993" y="2105"/>
                  </a:lnTo>
                  <a:lnTo>
                    <a:pt x="1996" y="2101"/>
                  </a:lnTo>
                  <a:lnTo>
                    <a:pt x="2000" y="2098"/>
                  </a:lnTo>
                  <a:lnTo>
                    <a:pt x="2003" y="2094"/>
                  </a:lnTo>
                  <a:lnTo>
                    <a:pt x="2009" y="2091"/>
                  </a:lnTo>
                  <a:lnTo>
                    <a:pt x="2013" y="2088"/>
                  </a:lnTo>
                  <a:lnTo>
                    <a:pt x="2018" y="2086"/>
                  </a:lnTo>
                  <a:lnTo>
                    <a:pt x="2024" y="2084"/>
                  </a:lnTo>
                  <a:lnTo>
                    <a:pt x="2678" y="1906"/>
                  </a:lnTo>
                  <a:lnTo>
                    <a:pt x="2693" y="1902"/>
                  </a:lnTo>
                  <a:lnTo>
                    <a:pt x="2707" y="1899"/>
                  </a:lnTo>
                  <a:lnTo>
                    <a:pt x="2720" y="1898"/>
                  </a:lnTo>
                  <a:lnTo>
                    <a:pt x="2734" y="1898"/>
                  </a:lnTo>
                  <a:lnTo>
                    <a:pt x="2746" y="1900"/>
                  </a:lnTo>
                  <a:lnTo>
                    <a:pt x="2758" y="1902"/>
                  </a:lnTo>
                  <a:lnTo>
                    <a:pt x="2769" y="1906"/>
                  </a:lnTo>
                  <a:lnTo>
                    <a:pt x="2780" y="1910"/>
                  </a:lnTo>
                  <a:lnTo>
                    <a:pt x="2791" y="1915"/>
                  </a:lnTo>
                  <a:lnTo>
                    <a:pt x="2800" y="1921"/>
                  </a:lnTo>
                  <a:lnTo>
                    <a:pt x="2809" y="1928"/>
                  </a:lnTo>
                  <a:lnTo>
                    <a:pt x="2817" y="1936"/>
                  </a:lnTo>
                  <a:lnTo>
                    <a:pt x="2825" y="1944"/>
                  </a:lnTo>
                  <a:lnTo>
                    <a:pt x="2832" y="1953"/>
                  </a:lnTo>
                  <a:lnTo>
                    <a:pt x="2838" y="1963"/>
                  </a:lnTo>
                  <a:lnTo>
                    <a:pt x="2845" y="1974"/>
                  </a:lnTo>
                  <a:lnTo>
                    <a:pt x="3216" y="2706"/>
                  </a:lnTo>
                  <a:lnTo>
                    <a:pt x="3221" y="2717"/>
                  </a:lnTo>
                  <a:lnTo>
                    <a:pt x="3225" y="2727"/>
                  </a:lnTo>
                  <a:lnTo>
                    <a:pt x="3229" y="2739"/>
                  </a:lnTo>
                  <a:lnTo>
                    <a:pt x="3231" y="2751"/>
                  </a:lnTo>
                  <a:lnTo>
                    <a:pt x="3232" y="2762"/>
                  </a:lnTo>
                  <a:lnTo>
                    <a:pt x="3233" y="2773"/>
                  </a:lnTo>
                  <a:lnTo>
                    <a:pt x="3232" y="2784"/>
                  </a:lnTo>
                  <a:lnTo>
                    <a:pt x="3230" y="2795"/>
                  </a:lnTo>
                  <a:lnTo>
                    <a:pt x="3227" y="2806"/>
                  </a:lnTo>
                  <a:lnTo>
                    <a:pt x="3223" y="2818"/>
                  </a:lnTo>
                  <a:lnTo>
                    <a:pt x="3218" y="2829"/>
                  </a:lnTo>
                  <a:lnTo>
                    <a:pt x="3212" y="2839"/>
                  </a:lnTo>
                  <a:lnTo>
                    <a:pt x="3204" y="2850"/>
                  </a:lnTo>
                  <a:lnTo>
                    <a:pt x="3194" y="2860"/>
                  </a:lnTo>
                  <a:lnTo>
                    <a:pt x="3184" y="2871"/>
                  </a:lnTo>
                  <a:lnTo>
                    <a:pt x="3173" y="2881"/>
                  </a:lnTo>
                  <a:lnTo>
                    <a:pt x="2643" y="3304"/>
                  </a:lnTo>
                  <a:lnTo>
                    <a:pt x="2638" y="3307"/>
                  </a:lnTo>
                  <a:lnTo>
                    <a:pt x="2633" y="3310"/>
                  </a:lnTo>
                  <a:lnTo>
                    <a:pt x="2629" y="3312"/>
                  </a:lnTo>
                  <a:lnTo>
                    <a:pt x="2624" y="3314"/>
                  </a:lnTo>
                  <a:lnTo>
                    <a:pt x="2619" y="3315"/>
                  </a:lnTo>
                  <a:lnTo>
                    <a:pt x="2613" y="3316"/>
                  </a:lnTo>
                  <a:lnTo>
                    <a:pt x="2608" y="3316"/>
                  </a:lnTo>
                  <a:lnTo>
                    <a:pt x="2603" y="3315"/>
                  </a:lnTo>
                  <a:lnTo>
                    <a:pt x="2598" y="3314"/>
                  </a:lnTo>
                  <a:lnTo>
                    <a:pt x="2593" y="3313"/>
                  </a:lnTo>
                  <a:lnTo>
                    <a:pt x="2588" y="3311"/>
                  </a:lnTo>
                  <a:lnTo>
                    <a:pt x="2584" y="3308"/>
                  </a:lnTo>
                  <a:lnTo>
                    <a:pt x="2580" y="3305"/>
                  </a:lnTo>
                  <a:lnTo>
                    <a:pt x="2576" y="3302"/>
                  </a:lnTo>
                  <a:lnTo>
                    <a:pt x="2573" y="3297"/>
                  </a:lnTo>
                  <a:lnTo>
                    <a:pt x="2570" y="3292"/>
                  </a:lnTo>
                  <a:close/>
                  <a:moveTo>
                    <a:pt x="3494" y="1498"/>
                  </a:moveTo>
                  <a:lnTo>
                    <a:pt x="2227" y="1688"/>
                  </a:lnTo>
                  <a:lnTo>
                    <a:pt x="2222" y="1688"/>
                  </a:lnTo>
                  <a:lnTo>
                    <a:pt x="2216" y="1688"/>
                  </a:lnTo>
                  <a:lnTo>
                    <a:pt x="2211" y="1687"/>
                  </a:lnTo>
                  <a:lnTo>
                    <a:pt x="2206" y="1686"/>
                  </a:lnTo>
                  <a:lnTo>
                    <a:pt x="2202" y="1684"/>
                  </a:lnTo>
                  <a:lnTo>
                    <a:pt x="2198" y="1681"/>
                  </a:lnTo>
                  <a:lnTo>
                    <a:pt x="2194" y="1678"/>
                  </a:lnTo>
                  <a:lnTo>
                    <a:pt x="2190" y="1675"/>
                  </a:lnTo>
                  <a:lnTo>
                    <a:pt x="2187" y="1671"/>
                  </a:lnTo>
                  <a:lnTo>
                    <a:pt x="2183" y="1667"/>
                  </a:lnTo>
                  <a:lnTo>
                    <a:pt x="2181" y="1661"/>
                  </a:lnTo>
                  <a:lnTo>
                    <a:pt x="2179" y="1657"/>
                  </a:lnTo>
                  <a:lnTo>
                    <a:pt x="2177" y="1652"/>
                  </a:lnTo>
                  <a:lnTo>
                    <a:pt x="2176" y="1646"/>
                  </a:lnTo>
                  <a:lnTo>
                    <a:pt x="2176" y="1641"/>
                  </a:lnTo>
                  <a:lnTo>
                    <a:pt x="2176" y="1635"/>
                  </a:lnTo>
                  <a:lnTo>
                    <a:pt x="2213" y="959"/>
                  </a:lnTo>
                  <a:lnTo>
                    <a:pt x="2214" y="944"/>
                  </a:lnTo>
                  <a:lnTo>
                    <a:pt x="2217" y="929"/>
                  </a:lnTo>
                  <a:lnTo>
                    <a:pt x="2220" y="915"/>
                  </a:lnTo>
                  <a:lnTo>
                    <a:pt x="2224" y="903"/>
                  </a:lnTo>
                  <a:lnTo>
                    <a:pt x="2229" y="892"/>
                  </a:lnTo>
                  <a:lnTo>
                    <a:pt x="2235" y="881"/>
                  </a:lnTo>
                  <a:lnTo>
                    <a:pt x="2241" y="871"/>
                  </a:lnTo>
                  <a:lnTo>
                    <a:pt x="2250" y="862"/>
                  </a:lnTo>
                  <a:lnTo>
                    <a:pt x="2257" y="854"/>
                  </a:lnTo>
                  <a:lnTo>
                    <a:pt x="2266" y="847"/>
                  </a:lnTo>
                  <a:lnTo>
                    <a:pt x="2275" y="841"/>
                  </a:lnTo>
                  <a:lnTo>
                    <a:pt x="2285" y="836"/>
                  </a:lnTo>
                  <a:lnTo>
                    <a:pt x="2296" y="831"/>
                  </a:lnTo>
                  <a:lnTo>
                    <a:pt x="2307" y="827"/>
                  </a:lnTo>
                  <a:lnTo>
                    <a:pt x="2319" y="824"/>
                  </a:lnTo>
                  <a:lnTo>
                    <a:pt x="2331" y="822"/>
                  </a:lnTo>
                  <a:lnTo>
                    <a:pt x="3142" y="700"/>
                  </a:lnTo>
                  <a:lnTo>
                    <a:pt x="3154" y="699"/>
                  </a:lnTo>
                  <a:lnTo>
                    <a:pt x="3166" y="699"/>
                  </a:lnTo>
                  <a:lnTo>
                    <a:pt x="3177" y="699"/>
                  </a:lnTo>
                  <a:lnTo>
                    <a:pt x="3189" y="700"/>
                  </a:lnTo>
                  <a:lnTo>
                    <a:pt x="3200" y="702"/>
                  </a:lnTo>
                  <a:lnTo>
                    <a:pt x="3211" y="706"/>
                  </a:lnTo>
                  <a:lnTo>
                    <a:pt x="3222" y="710"/>
                  </a:lnTo>
                  <a:lnTo>
                    <a:pt x="3232" y="715"/>
                  </a:lnTo>
                  <a:lnTo>
                    <a:pt x="3241" y="721"/>
                  </a:lnTo>
                  <a:lnTo>
                    <a:pt x="3250" y="728"/>
                  </a:lnTo>
                  <a:lnTo>
                    <a:pt x="3259" y="737"/>
                  </a:lnTo>
                  <a:lnTo>
                    <a:pt x="3268" y="746"/>
                  </a:lnTo>
                  <a:lnTo>
                    <a:pt x="3275" y="758"/>
                  </a:lnTo>
                  <a:lnTo>
                    <a:pt x="3282" y="769"/>
                  </a:lnTo>
                  <a:lnTo>
                    <a:pt x="3289" y="782"/>
                  </a:lnTo>
                  <a:lnTo>
                    <a:pt x="3294" y="796"/>
                  </a:lnTo>
                  <a:lnTo>
                    <a:pt x="3529" y="1433"/>
                  </a:lnTo>
                  <a:lnTo>
                    <a:pt x="3530" y="1438"/>
                  </a:lnTo>
                  <a:lnTo>
                    <a:pt x="3531" y="1443"/>
                  </a:lnTo>
                  <a:lnTo>
                    <a:pt x="3532" y="1449"/>
                  </a:lnTo>
                  <a:lnTo>
                    <a:pt x="3532" y="1454"/>
                  </a:lnTo>
                  <a:lnTo>
                    <a:pt x="3531" y="1459"/>
                  </a:lnTo>
                  <a:lnTo>
                    <a:pt x="3530" y="1464"/>
                  </a:lnTo>
                  <a:lnTo>
                    <a:pt x="3529" y="1469"/>
                  </a:lnTo>
                  <a:lnTo>
                    <a:pt x="3527" y="1474"/>
                  </a:lnTo>
                  <a:lnTo>
                    <a:pt x="3525" y="1478"/>
                  </a:lnTo>
                  <a:lnTo>
                    <a:pt x="3522" y="1483"/>
                  </a:lnTo>
                  <a:lnTo>
                    <a:pt x="3518" y="1487"/>
                  </a:lnTo>
                  <a:lnTo>
                    <a:pt x="3515" y="1490"/>
                  </a:lnTo>
                  <a:lnTo>
                    <a:pt x="3510" y="1493"/>
                  </a:lnTo>
                  <a:lnTo>
                    <a:pt x="3506" y="1495"/>
                  </a:lnTo>
                  <a:lnTo>
                    <a:pt x="3501" y="1497"/>
                  </a:lnTo>
                  <a:lnTo>
                    <a:pt x="3494" y="1498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601719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Вертикальный заголовок и текст">
    <p:bg>
      <p:bgPr>
        <a:blipFill dpi="0" rotWithShape="1">
          <a:blip r:embed="rId2" cstate="print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3"/>
          <p:cNvSpPr>
            <a:spLocks noChangeAspect="1" noChangeArrowheads="1" noTextEdit="1"/>
          </p:cNvSpPr>
          <p:nvPr userDrawn="1"/>
        </p:nvSpPr>
        <p:spPr bwMode="auto">
          <a:xfrm>
            <a:off x="1910701" y="1639888"/>
            <a:ext cx="7995311" cy="521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Freeform 6"/>
          <p:cNvSpPr>
            <a:spLocks/>
          </p:cNvSpPr>
          <p:nvPr userDrawn="1"/>
        </p:nvSpPr>
        <p:spPr bwMode="auto">
          <a:xfrm>
            <a:off x="7334927" y="3109913"/>
            <a:ext cx="797983" cy="1746250"/>
          </a:xfrm>
          <a:custGeom>
            <a:avLst/>
            <a:gdLst>
              <a:gd name="T0" fmla="*/ 1858 w 1858"/>
              <a:gd name="T1" fmla="*/ 4402 h 4402"/>
              <a:gd name="T2" fmla="*/ 382 w 1858"/>
              <a:gd name="T3" fmla="*/ 3832 h 4402"/>
              <a:gd name="T4" fmla="*/ 353 w 1858"/>
              <a:gd name="T5" fmla="*/ 3820 h 4402"/>
              <a:gd name="T6" fmla="*/ 327 w 1858"/>
              <a:gd name="T7" fmla="*/ 3807 h 4402"/>
              <a:gd name="T8" fmla="*/ 300 w 1858"/>
              <a:gd name="T9" fmla="*/ 3794 h 4402"/>
              <a:gd name="T10" fmla="*/ 276 w 1858"/>
              <a:gd name="T11" fmla="*/ 3782 h 4402"/>
              <a:gd name="T12" fmla="*/ 251 w 1858"/>
              <a:gd name="T13" fmla="*/ 3768 h 4402"/>
              <a:gd name="T14" fmla="*/ 229 w 1858"/>
              <a:gd name="T15" fmla="*/ 3753 h 4402"/>
              <a:gd name="T16" fmla="*/ 207 w 1858"/>
              <a:gd name="T17" fmla="*/ 3737 h 4402"/>
              <a:gd name="T18" fmla="*/ 187 w 1858"/>
              <a:gd name="T19" fmla="*/ 3721 h 4402"/>
              <a:gd name="T20" fmla="*/ 167 w 1858"/>
              <a:gd name="T21" fmla="*/ 3705 h 4402"/>
              <a:gd name="T22" fmla="*/ 150 w 1858"/>
              <a:gd name="T23" fmla="*/ 3689 h 4402"/>
              <a:gd name="T24" fmla="*/ 133 w 1858"/>
              <a:gd name="T25" fmla="*/ 3671 h 4402"/>
              <a:gd name="T26" fmla="*/ 116 w 1858"/>
              <a:gd name="T27" fmla="*/ 3653 h 4402"/>
              <a:gd name="T28" fmla="*/ 101 w 1858"/>
              <a:gd name="T29" fmla="*/ 3635 h 4402"/>
              <a:gd name="T30" fmla="*/ 87 w 1858"/>
              <a:gd name="T31" fmla="*/ 3615 h 4402"/>
              <a:gd name="T32" fmla="*/ 74 w 1858"/>
              <a:gd name="T33" fmla="*/ 3597 h 4402"/>
              <a:gd name="T34" fmla="*/ 63 w 1858"/>
              <a:gd name="T35" fmla="*/ 3577 h 4402"/>
              <a:gd name="T36" fmla="*/ 52 w 1858"/>
              <a:gd name="T37" fmla="*/ 3557 h 4402"/>
              <a:gd name="T38" fmla="*/ 43 w 1858"/>
              <a:gd name="T39" fmla="*/ 3536 h 4402"/>
              <a:gd name="T40" fmla="*/ 34 w 1858"/>
              <a:gd name="T41" fmla="*/ 3515 h 4402"/>
              <a:gd name="T42" fmla="*/ 27 w 1858"/>
              <a:gd name="T43" fmla="*/ 3495 h 4402"/>
              <a:gd name="T44" fmla="*/ 20 w 1858"/>
              <a:gd name="T45" fmla="*/ 3472 h 4402"/>
              <a:gd name="T46" fmla="*/ 14 w 1858"/>
              <a:gd name="T47" fmla="*/ 3452 h 4402"/>
              <a:gd name="T48" fmla="*/ 9 w 1858"/>
              <a:gd name="T49" fmla="*/ 3429 h 4402"/>
              <a:gd name="T50" fmla="*/ 6 w 1858"/>
              <a:gd name="T51" fmla="*/ 3406 h 4402"/>
              <a:gd name="T52" fmla="*/ 4 w 1858"/>
              <a:gd name="T53" fmla="*/ 3384 h 4402"/>
              <a:gd name="T54" fmla="*/ 1 w 1858"/>
              <a:gd name="T55" fmla="*/ 3361 h 4402"/>
              <a:gd name="T56" fmla="*/ 0 w 1858"/>
              <a:gd name="T57" fmla="*/ 3338 h 4402"/>
              <a:gd name="T58" fmla="*/ 0 w 1858"/>
              <a:gd name="T59" fmla="*/ 3314 h 4402"/>
              <a:gd name="T60" fmla="*/ 1 w 1858"/>
              <a:gd name="T61" fmla="*/ 3291 h 4402"/>
              <a:gd name="T62" fmla="*/ 4 w 1858"/>
              <a:gd name="T63" fmla="*/ 3267 h 4402"/>
              <a:gd name="T64" fmla="*/ 6 w 1858"/>
              <a:gd name="T65" fmla="*/ 3243 h 4402"/>
              <a:gd name="T66" fmla="*/ 9 w 1858"/>
              <a:gd name="T67" fmla="*/ 3219 h 4402"/>
              <a:gd name="T68" fmla="*/ 546 w 1858"/>
              <a:gd name="T69" fmla="*/ 0 h 4402"/>
              <a:gd name="T70" fmla="*/ 518 w 1858"/>
              <a:gd name="T71" fmla="*/ 3019 h 4402"/>
              <a:gd name="T72" fmla="*/ 520 w 1858"/>
              <a:gd name="T73" fmla="*/ 3047 h 4402"/>
              <a:gd name="T74" fmla="*/ 521 w 1858"/>
              <a:gd name="T75" fmla="*/ 3076 h 4402"/>
              <a:gd name="T76" fmla="*/ 524 w 1858"/>
              <a:gd name="T77" fmla="*/ 3104 h 4402"/>
              <a:gd name="T78" fmla="*/ 529 w 1858"/>
              <a:gd name="T79" fmla="*/ 3132 h 4402"/>
              <a:gd name="T80" fmla="*/ 535 w 1858"/>
              <a:gd name="T81" fmla="*/ 3161 h 4402"/>
              <a:gd name="T82" fmla="*/ 542 w 1858"/>
              <a:gd name="T83" fmla="*/ 3189 h 4402"/>
              <a:gd name="T84" fmla="*/ 550 w 1858"/>
              <a:gd name="T85" fmla="*/ 3217 h 4402"/>
              <a:gd name="T86" fmla="*/ 560 w 1858"/>
              <a:gd name="T87" fmla="*/ 3245 h 4402"/>
              <a:gd name="T88" fmla="*/ 571 w 1858"/>
              <a:gd name="T89" fmla="*/ 3270 h 4402"/>
              <a:gd name="T90" fmla="*/ 584 w 1858"/>
              <a:gd name="T91" fmla="*/ 3297 h 4402"/>
              <a:gd name="T92" fmla="*/ 597 w 1858"/>
              <a:gd name="T93" fmla="*/ 3321 h 4402"/>
              <a:gd name="T94" fmla="*/ 613 w 1858"/>
              <a:gd name="T95" fmla="*/ 3346 h 4402"/>
              <a:gd name="T96" fmla="*/ 629 w 1858"/>
              <a:gd name="T97" fmla="*/ 3369 h 4402"/>
              <a:gd name="T98" fmla="*/ 647 w 1858"/>
              <a:gd name="T99" fmla="*/ 3390 h 4402"/>
              <a:gd name="T100" fmla="*/ 666 w 1858"/>
              <a:gd name="T101" fmla="*/ 3410 h 4402"/>
              <a:gd name="T102" fmla="*/ 687 w 1858"/>
              <a:gd name="T103" fmla="*/ 3428 h 4402"/>
              <a:gd name="T104" fmla="*/ 1858 w 1858"/>
              <a:gd name="T105" fmla="*/ 4402 h 44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858" h="4402">
                <a:moveTo>
                  <a:pt x="1858" y="4402"/>
                </a:moveTo>
                <a:lnTo>
                  <a:pt x="382" y="3832"/>
                </a:lnTo>
                <a:lnTo>
                  <a:pt x="353" y="3820"/>
                </a:lnTo>
                <a:lnTo>
                  <a:pt x="327" y="3807"/>
                </a:lnTo>
                <a:lnTo>
                  <a:pt x="300" y="3794"/>
                </a:lnTo>
                <a:lnTo>
                  <a:pt x="276" y="3782"/>
                </a:lnTo>
                <a:lnTo>
                  <a:pt x="251" y="3768"/>
                </a:lnTo>
                <a:lnTo>
                  <a:pt x="229" y="3753"/>
                </a:lnTo>
                <a:lnTo>
                  <a:pt x="207" y="3737"/>
                </a:lnTo>
                <a:lnTo>
                  <a:pt x="187" y="3721"/>
                </a:lnTo>
                <a:lnTo>
                  <a:pt x="167" y="3705"/>
                </a:lnTo>
                <a:lnTo>
                  <a:pt x="150" y="3689"/>
                </a:lnTo>
                <a:lnTo>
                  <a:pt x="133" y="3671"/>
                </a:lnTo>
                <a:lnTo>
                  <a:pt x="116" y="3653"/>
                </a:lnTo>
                <a:lnTo>
                  <a:pt x="101" y="3635"/>
                </a:lnTo>
                <a:lnTo>
                  <a:pt x="87" y="3615"/>
                </a:lnTo>
                <a:lnTo>
                  <a:pt x="74" y="3597"/>
                </a:lnTo>
                <a:lnTo>
                  <a:pt x="63" y="3577"/>
                </a:lnTo>
                <a:lnTo>
                  <a:pt x="52" y="3557"/>
                </a:lnTo>
                <a:lnTo>
                  <a:pt x="43" y="3536"/>
                </a:lnTo>
                <a:lnTo>
                  <a:pt x="34" y="3515"/>
                </a:lnTo>
                <a:lnTo>
                  <a:pt x="27" y="3495"/>
                </a:lnTo>
                <a:lnTo>
                  <a:pt x="20" y="3472"/>
                </a:lnTo>
                <a:lnTo>
                  <a:pt x="14" y="3452"/>
                </a:lnTo>
                <a:lnTo>
                  <a:pt x="9" y="3429"/>
                </a:lnTo>
                <a:lnTo>
                  <a:pt x="6" y="3406"/>
                </a:lnTo>
                <a:lnTo>
                  <a:pt x="4" y="3384"/>
                </a:lnTo>
                <a:lnTo>
                  <a:pt x="1" y="3361"/>
                </a:lnTo>
                <a:lnTo>
                  <a:pt x="0" y="3338"/>
                </a:lnTo>
                <a:lnTo>
                  <a:pt x="0" y="3314"/>
                </a:lnTo>
                <a:lnTo>
                  <a:pt x="1" y="3291"/>
                </a:lnTo>
                <a:lnTo>
                  <a:pt x="4" y="3267"/>
                </a:lnTo>
                <a:lnTo>
                  <a:pt x="6" y="3243"/>
                </a:lnTo>
                <a:lnTo>
                  <a:pt x="9" y="3219"/>
                </a:lnTo>
                <a:lnTo>
                  <a:pt x="546" y="0"/>
                </a:lnTo>
                <a:lnTo>
                  <a:pt x="518" y="3019"/>
                </a:lnTo>
                <a:lnTo>
                  <a:pt x="520" y="3047"/>
                </a:lnTo>
                <a:lnTo>
                  <a:pt x="521" y="3076"/>
                </a:lnTo>
                <a:lnTo>
                  <a:pt x="524" y="3104"/>
                </a:lnTo>
                <a:lnTo>
                  <a:pt x="529" y="3132"/>
                </a:lnTo>
                <a:lnTo>
                  <a:pt x="535" y="3161"/>
                </a:lnTo>
                <a:lnTo>
                  <a:pt x="542" y="3189"/>
                </a:lnTo>
                <a:lnTo>
                  <a:pt x="550" y="3217"/>
                </a:lnTo>
                <a:lnTo>
                  <a:pt x="560" y="3245"/>
                </a:lnTo>
                <a:lnTo>
                  <a:pt x="571" y="3270"/>
                </a:lnTo>
                <a:lnTo>
                  <a:pt x="584" y="3297"/>
                </a:lnTo>
                <a:lnTo>
                  <a:pt x="597" y="3321"/>
                </a:lnTo>
                <a:lnTo>
                  <a:pt x="613" y="3346"/>
                </a:lnTo>
                <a:lnTo>
                  <a:pt x="629" y="3369"/>
                </a:lnTo>
                <a:lnTo>
                  <a:pt x="647" y="3390"/>
                </a:lnTo>
                <a:lnTo>
                  <a:pt x="666" y="3410"/>
                </a:lnTo>
                <a:lnTo>
                  <a:pt x="687" y="3428"/>
                </a:lnTo>
                <a:lnTo>
                  <a:pt x="1858" y="4402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Freeform 8"/>
          <p:cNvSpPr>
            <a:spLocks/>
          </p:cNvSpPr>
          <p:nvPr userDrawn="1"/>
        </p:nvSpPr>
        <p:spPr bwMode="auto">
          <a:xfrm>
            <a:off x="9257730" y="4125913"/>
            <a:ext cx="648361" cy="900112"/>
          </a:xfrm>
          <a:custGeom>
            <a:avLst/>
            <a:gdLst>
              <a:gd name="T0" fmla="*/ 0 w 1507"/>
              <a:gd name="T1" fmla="*/ 2267 h 2267"/>
              <a:gd name="T2" fmla="*/ 87 w 1507"/>
              <a:gd name="T3" fmla="*/ 687 h 2267"/>
              <a:gd name="T4" fmla="*/ 88 w 1507"/>
              <a:gd name="T5" fmla="*/ 656 h 2267"/>
              <a:gd name="T6" fmla="*/ 91 w 1507"/>
              <a:gd name="T7" fmla="*/ 626 h 2267"/>
              <a:gd name="T8" fmla="*/ 96 w 1507"/>
              <a:gd name="T9" fmla="*/ 598 h 2267"/>
              <a:gd name="T10" fmla="*/ 101 w 1507"/>
              <a:gd name="T11" fmla="*/ 570 h 2267"/>
              <a:gd name="T12" fmla="*/ 106 w 1507"/>
              <a:gd name="T13" fmla="*/ 542 h 2267"/>
              <a:gd name="T14" fmla="*/ 113 w 1507"/>
              <a:gd name="T15" fmla="*/ 516 h 2267"/>
              <a:gd name="T16" fmla="*/ 122 w 1507"/>
              <a:gd name="T17" fmla="*/ 491 h 2267"/>
              <a:gd name="T18" fmla="*/ 131 w 1507"/>
              <a:gd name="T19" fmla="*/ 466 h 2267"/>
              <a:gd name="T20" fmla="*/ 140 w 1507"/>
              <a:gd name="T21" fmla="*/ 443 h 2267"/>
              <a:gd name="T22" fmla="*/ 151 w 1507"/>
              <a:gd name="T23" fmla="*/ 421 h 2267"/>
              <a:gd name="T24" fmla="*/ 162 w 1507"/>
              <a:gd name="T25" fmla="*/ 399 h 2267"/>
              <a:gd name="T26" fmla="*/ 174 w 1507"/>
              <a:gd name="T27" fmla="*/ 378 h 2267"/>
              <a:gd name="T28" fmla="*/ 187 w 1507"/>
              <a:gd name="T29" fmla="*/ 358 h 2267"/>
              <a:gd name="T30" fmla="*/ 201 w 1507"/>
              <a:gd name="T31" fmla="*/ 340 h 2267"/>
              <a:gd name="T32" fmla="*/ 215 w 1507"/>
              <a:gd name="T33" fmla="*/ 322 h 2267"/>
              <a:gd name="T34" fmla="*/ 230 w 1507"/>
              <a:gd name="T35" fmla="*/ 305 h 2267"/>
              <a:gd name="T36" fmla="*/ 246 w 1507"/>
              <a:gd name="T37" fmla="*/ 289 h 2267"/>
              <a:gd name="T38" fmla="*/ 262 w 1507"/>
              <a:gd name="T39" fmla="*/ 272 h 2267"/>
              <a:gd name="T40" fmla="*/ 279 w 1507"/>
              <a:gd name="T41" fmla="*/ 258 h 2267"/>
              <a:gd name="T42" fmla="*/ 297 w 1507"/>
              <a:gd name="T43" fmla="*/ 244 h 2267"/>
              <a:gd name="T44" fmla="*/ 316 w 1507"/>
              <a:gd name="T45" fmla="*/ 232 h 2267"/>
              <a:gd name="T46" fmla="*/ 334 w 1507"/>
              <a:gd name="T47" fmla="*/ 219 h 2267"/>
              <a:gd name="T48" fmla="*/ 354 w 1507"/>
              <a:gd name="T49" fmla="*/ 208 h 2267"/>
              <a:gd name="T50" fmla="*/ 374 w 1507"/>
              <a:gd name="T51" fmla="*/ 198 h 2267"/>
              <a:gd name="T52" fmla="*/ 395 w 1507"/>
              <a:gd name="T53" fmla="*/ 188 h 2267"/>
              <a:gd name="T54" fmla="*/ 416 w 1507"/>
              <a:gd name="T55" fmla="*/ 179 h 2267"/>
              <a:gd name="T56" fmla="*/ 438 w 1507"/>
              <a:gd name="T57" fmla="*/ 171 h 2267"/>
              <a:gd name="T58" fmla="*/ 460 w 1507"/>
              <a:gd name="T59" fmla="*/ 164 h 2267"/>
              <a:gd name="T60" fmla="*/ 483 w 1507"/>
              <a:gd name="T61" fmla="*/ 157 h 2267"/>
              <a:gd name="T62" fmla="*/ 506 w 1507"/>
              <a:gd name="T63" fmla="*/ 152 h 2267"/>
              <a:gd name="T64" fmla="*/ 530 w 1507"/>
              <a:gd name="T65" fmla="*/ 147 h 2267"/>
              <a:gd name="T66" fmla="*/ 554 w 1507"/>
              <a:gd name="T67" fmla="*/ 143 h 2267"/>
              <a:gd name="T68" fmla="*/ 1507 w 1507"/>
              <a:gd name="T69" fmla="*/ 0 h 2267"/>
              <a:gd name="T70" fmla="*/ 1507 w 1507"/>
              <a:gd name="T71" fmla="*/ 375 h 2267"/>
              <a:gd name="T72" fmla="*/ 900 w 1507"/>
              <a:gd name="T73" fmla="*/ 565 h 2267"/>
              <a:gd name="T74" fmla="*/ 875 w 1507"/>
              <a:gd name="T75" fmla="*/ 575 h 2267"/>
              <a:gd name="T76" fmla="*/ 848 w 1507"/>
              <a:gd name="T77" fmla="*/ 585 h 2267"/>
              <a:gd name="T78" fmla="*/ 822 w 1507"/>
              <a:gd name="T79" fmla="*/ 597 h 2267"/>
              <a:gd name="T80" fmla="*/ 796 w 1507"/>
              <a:gd name="T81" fmla="*/ 609 h 2267"/>
              <a:gd name="T82" fmla="*/ 771 w 1507"/>
              <a:gd name="T83" fmla="*/ 625 h 2267"/>
              <a:gd name="T84" fmla="*/ 747 w 1507"/>
              <a:gd name="T85" fmla="*/ 640 h 2267"/>
              <a:gd name="T86" fmla="*/ 722 w 1507"/>
              <a:gd name="T87" fmla="*/ 656 h 2267"/>
              <a:gd name="T88" fmla="*/ 699 w 1507"/>
              <a:gd name="T89" fmla="*/ 675 h 2267"/>
              <a:gd name="T90" fmla="*/ 678 w 1507"/>
              <a:gd name="T91" fmla="*/ 693 h 2267"/>
              <a:gd name="T92" fmla="*/ 657 w 1507"/>
              <a:gd name="T93" fmla="*/ 713 h 2267"/>
              <a:gd name="T94" fmla="*/ 638 w 1507"/>
              <a:gd name="T95" fmla="*/ 734 h 2267"/>
              <a:gd name="T96" fmla="*/ 619 w 1507"/>
              <a:gd name="T97" fmla="*/ 756 h 2267"/>
              <a:gd name="T98" fmla="*/ 603 w 1507"/>
              <a:gd name="T99" fmla="*/ 779 h 2267"/>
              <a:gd name="T100" fmla="*/ 588 w 1507"/>
              <a:gd name="T101" fmla="*/ 802 h 2267"/>
              <a:gd name="T102" fmla="*/ 575 w 1507"/>
              <a:gd name="T103" fmla="*/ 827 h 2267"/>
              <a:gd name="T104" fmla="*/ 563 w 1507"/>
              <a:gd name="T105" fmla="*/ 852 h 2267"/>
              <a:gd name="T106" fmla="*/ 0 w 1507"/>
              <a:gd name="T107" fmla="*/ 2267 h 22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507" h="2267">
                <a:moveTo>
                  <a:pt x="0" y="2267"/>
                </a:moveTo>
                <a:lnTo>
                  <a:pt x="87" y="687"/>
                </a:lnTo>
                <a:lnTo>
                  <a:pt x="88" y="656"/>
                </a:lnTo>
                <a:lnTo>
                  <a:pt x="91" y="626"/>
                </a:lnTo>
                <a:lnTo>
                  <a:pt x="96" y="598"/>
                </a:lnTo>
                <a:lnTo>
                  <a:pt x="101" y="570"/>
                </a:lnTo>
                <a:lnTo>
                  <a:pt x="106" y="542"/>
                </a:lnTo>
                <a:lnTo>
                  <a:pt x="113" y="516"/>
                </a:lnTo>
                <a:lnTo>
                  <a:pt x="122" y="491"/>
                </a:lnTo>
                <a:lnTo>
                  <a:pt x="131" y="466"/>
                </a:lnTo>
                <a:lnTo>
                  <a:pt x="140" y="443"/>
                </a:lnTo>
                <a:lnTo>
                  <a:pt x="151" y="421"/>
                </a:lnTo>
                <a:lnTo>
                  <a:pt x="162" y="399"/>
                </a:lnTo>
                <a:lnTo>
                  <a:pt x="174" y="378"/>
                </a:lnTo>
                <a:lnTo>
                  <a:pt x="187" y="358"/>
                </a:lnTo>
                <a:lnTo>
                  <a:pt x="201" y="340"/>
                </a:lnTo>
                <a:lnTo>
                  <a:pt x="215" y="322"/>
                </a:lnTo>
                <a:lnTo>
                  <a:pt x="230" y="305"/>
                </a:lnTo>
                <a:lnTo>
                  <a:pt x="246" y="289"/>
                </a:lnTo>
                <a:lnTo>
                  <a:pt x="262" y="272"/>
                </a:lnTo>
                <a:lnTo>
                  <a:pt x="279" y="258"/>
                </a:lnTo>
                <a:lnTo>
                  <a:pt x="297" y="244"/>
                </a:lnTo>
                <a:lnTo>
                  <a:pt x="316" y="232"/>
                </a:lnTo>
                <a:lnTo>
                  <a:pt x="334" y="219"/>
                </a:lnTo>
                <a:lnTo>
                  <a:pt x="354" y="208"/>
                </a:lnTo>
                <a:lnTo>
                  <a:pt x="374" y="198"/>
                </a:lnTo>
                <a:lnTo>
                  <a:pt x="395" y="188"/>
                </a:lnTo>
                <a:lnTo>
                  <a:pt x="416" y="179"/>
                </a:lnTo>
                <a:lnTo>
                  <a:pt x="438" y="171"/>
                </a:lnTo>
                <a:lnTo>
                  <a:pt x="460" y="164"/>
                </a:lnTo>
                <a:lnTo>
                  <a:pt x="483" y="157"/>
                </a:lnTo>
                <a:lnTo>
                  <a:pt x="506" y="152"/>
                </a:lnTo>
                <a:lnTo>
                  <a:pt x="530" y="147"/>
                </a:lnTo>
                <a:lnTo>
                  <a:pt x="554" y="143"/>
                </a:lnTo>
                <a:lnTo>
                  <a:pt x="1507" y="0"/>
                </a:lnTo>
                <a:lnTo>
                  <a:pt x="1507" y="375"/>
                </a:lnTo>
                <a:lnTo>
                  <a:pt x="900" y="565"/>
                </a:lnTo>
                <a:lnTo>
                  <a:pt x="875" y="575"/>
                </a:lnTo>
                <a:lnTo>
                  <a:pt x="848" y="585"/>
                </a:lnTo>
                <a:lnTo>
                  <a:pt x="822" y="597"/>
                </a:lnTo>
                <a:lnTo>
                  <a:pt x="796" y="609"/>
                </a:lnTo>
                <a:lnTo>
                  <a:pt x="771" y="625"/>
                </a:lnTo>
                <a:lnTo>
                  <a:pt x="747" y="640"/>
                </a:lnTo>
                <a:lnTo>
                  <a:pt x="722" y="656"/>
                </a:lnTo>
                <a:lnTo>
                  <a:pt x="699" y="675"/>
                </a:lnTo>
                <a:lnTo>
                  <a:pt x="678" y="693"/>
                </a:lnTo>
                <a:lnTo>
                  <a:pt x="657" y="713"/>
                </a:lnTo>
                <a:lnTo>
                  <a:pt x="638" y="734"/>
                </a:lnTo>
                <a:lnTo>
                  <a:pt x="619" y="756"/>
                </a:lnTo>
                <a:lnTo>
                  <a:pt x="603" y="779"/>
                </a:lnTo>
                <a:lnTo>
                  <a:pt x="588" y="802"/>
                </a:lnTo>
                <a:lnTo>
                  <a:pt x="575" y="827"/>
                </a:lnTo>
                <a:lnTo>
                  <a:pt x="563" y="852"/>
                </a:lnTo>
                <a:lnTo>
                  <a:pt x="0" y="2267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1" name="Freeform 10"/>
          <p:cNvSpPr>
            <a:spLocks/>
          </p:cNvSpPr>
          <p:nvPr userDrawn="1"/>
        </p:nvSpPr>
        <p:spPr bwMode="auto">
          <a:xfrm>
            <a:off x="9433058" y="5940425"/>
            <a:ext cx="472942" cy="144462"/>
          </a:xfrm>
          <a:custGeom>
            <a:avLst/>
            <a:gdLst>
              <a:gd name="T0" fmla="*/ 0 w 1098"/>
              <a:gd name="T1" fmla="*/ 298 h 363"/>
              <a:gd name="T2" fmla="*/ 1098 w 1098"/>
              <a:gd name="T3" fmla="*/ 0 h 363"/>
              <a:gd name="T4" fmla="*/ 1098 w 1098"/>
              <a:gd name="T5" fmla="*/ 363 h 363"/>
              <a:gd name="T6" fmla="*/ 0 w 1098"/>
              <a:gd name="T7" fmla="*/ 298 h 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98" h="363">
                <a:moveTo>
                  <a:pt x="0" y="298"/>
                </a:moveTo>
                <a:lnTo>
                  <a:pt x="1098" y="0"/>
                </a:lnTo>
                <a:lnTo>
                  <a:pt x="1098" y="363"/>
                </a:lnTo>
                <a:lnTo>
                  <a:pt x="0" y="298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3" name="Freeform 12"/>
          <p:cNvSpPr>
            <a:spLocks/>
          </p:cNvSpPr>
          <p:nvPr userDrawn="1"/>
        </p:nvSpPr>
        <p:spPr bwMode="auto">
          <a:xfrm>
            <a:off x="8415032" y="6537494"/>
            <a:ext cx="223573" cy="320675"/>
          </a:xfrm>
          <a:custGeom>
            <a:avLst/>
            <a:gdLst>
              <a:gd name="T0" fmla="*/ 0 w 520"/>
              <a:gd name="T1" fmla="*/ 0 h 807"/>
              <a:gd name="T2" fmla="*/ 520 w 520"/>
              <a:gd name="T3" fmla="*/ 807 h 807"/>
              <a:gd name="T4" fmla="*/ 205 w 520"/>
              <a:gd name="T5" fmla="*/ 807 h 807"/>
              <a:gd name="T6" fmla="*/ 0 w 520"/>
              <a:gd name="T7" fmla="*/ 0 h 8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20" h="807">
                <a:moveTo>
                  <a:pt x="0" y="0"/>
                </a:moveTo>
                <a:lnTo>
                  <a:pt x="520" y="807"/>
                </a:lnTo>
                <a:lnTo>
                  <a:pt x="205" y="807"/>
                </a:lnTo>
                <a:lnTo>
                  <a:pt x="0" y="0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5" name="Freeform 14"/>
          <p:cNvSpPr>
            <a:spLocks/>
          </p:cNvSpPr>
          <p:nvPr userDrawn="1"/>
        </p:nvSpPr>
        <p:spPr bwMode="auto">
          <a:xfrm>
            <a:off x="5637492" y="5753100"/>
            <a:ext cx="1974321" cy="620712"/>
          </a:xfrm>
          <a:custGeom>
            <a:avLst/>
            <a:gdLst>
              <a:gd name="T0" fmla="*/ 4593 w 4593"/>
              <a:gd name="T1" fmla="*/ 102 h 1567"/>
              <a:gd name="T2" fmla="*/ 3597 w 4593"/>
              <a:gd name="T3" fmla="*/ 1332 h 1567"/>
              <a:gd name="T4" fmla="*/ 3577 w 4593"/>
              <a:gd name="T5" fmla="*/ 1355 h 1567"/>
              <a:gd name="T6" fmla="*/ 3558 w 4593"/>
              <a:gd name="T7" fmla="*/ 1379 h 1567"/>
              <a:gd name="T8" fmla="*/ 3538 w 4593"/>
              <a:gd name="T9" fmla="*/ 1399 h 1567"/>
              <a:gd name="T10" fmla="*/ 3517 w 4593"/>
              <a:gd name="T11" fmla="*/ 1418 h 1567"/>
              <a:gd name="T12" fmla="*/ 3496 w 4593"/>
              <a:gd name="T13" fmla="*/ 1437 h 1567"/>
              <a:gd name="T14" fmla="*/ 3475 w 4593"/>
              <a:gd name="T15" fmla="*/ 1454 h 1567"/>
              <a:gd name="T16" fmla="*/ 3454 w 4593"/>
              <a:gd name="T17" fmla="*/ 1470 h 1567"/>
              <a:gd name="T18" fmla="*/ 3433 w 4593"/>
              <a:gd name="T19" fmla="*/ 1484 h 1567"/>
              <a:gd name="T20" fmla="*/ 3411 w 4593"/>
              <a:gd name="T21" fmla="*/ 1498 h 1567"/>
              <a:gd name="T22" fmla="*/ 3390 w 4593"/>
              <a:gd name="T23" fmla="*/ 1510 h 1567"/>
              <a:gd name="T24" fmla="*/ 3368 w 4593"/>
              <a:gd name="T25" fmla="*/ 1520 h 1567"/>
              <a:gd name="T26" fmla="*/ 3346 w 4593"/>
              <a:gd name="T27" fmla="*/ 1531 h 1567"/>
              <a:gd name="T28" fmla="*/ 3324 w 4593"/>
              <a:gd name="T29" fmla="*/ 1539 h 1567"/>
              <a:gd name="T30" fmla="*/ 3302 w 4593"/>
              <a:gd name="T31" fmla="*/ 1546 h 1567"/>
              <a:gd name="T32" fmla="*/ 3280 w 4593"/>
              <a:gd name="T33" fmla="*/ 1553 h 1567"/>
              <a:gd name="T34" fmla="*/ 3258 w 4593"/>
              <a:gd name="T35" fmla="*/ 1558 h 1567"/>
              <a:gd name="T36" fmla="*/ 3236 w 4593"/>
              <a:gd name="T37" fmla="*/ 1562 h 1567"/>
              <a:gd name="T38" fmla="*/ 3212 w 4593"/>
              <a:gd name="T39" fmla="*/ 1565 h 1567"/>
              <a:gd name="T40" fmla="*/ 3190 w 4593"/>
              <a:gd name="T41" fmla="*/ 1567 h 1567"/>
              <a:gd name="T42" fmla="*/ 3168 w 4593"/>
              <a:gd name="T43" fmla="*/ 1567 h 1567"/>
              <a:gd name="T44" fmla="*/ 3145 w 4593"/>
              <a:gd name="T45" fmla="*/ 1567 h 1567"/>
              <a:gd name="T46" fmla="*/ 3123 w 4593"/>
              <a:gd name="T47" fmla="*/ 1566 h 1567"/>
              <a:gd name="T48" fmla="*/ 3101 w 4593"/>
              <a:gd name="T49" fmla="*/ 1563 h 1567"/>
              <a:gd name="T50" fmla="*/ 3078 w 4593"/>
              <a:gd name="T51" fmla="*/ 1560 h 1567"/>
              <a:gd name="T52" fmla="*/ 3055 w 4593"/>
              <a:gd name="T53" fmla="*/ 1555 h 1567"/>
              <a:gd name="T54" fmla="*/ 3033 w 4593"/>
              <a:gd name="T55" fmla="*/ 1551 h 1567"/>
              <a:gd name="T56" fmla="*/ 3010 w 4593"/>
              <a:gd name="T57" fmla="*/ 1544 h 1567"/>
              <a:gd name="T58" fmla="*/ 2988 w 4593"/>
              <a:gd name="T59" fmla="*/ 1537 h 1567"/>
              <a:gd name="T60" fmla="*/ 2966 w 4593"/>
              <a:gd name="T61" fmla="*/ 1528 h 1567"/>
              <a:gd name="T62" fmla="*/ 2944 w 4593"/>
              <a:gd name="T63" fmla="*/ 1519 h 1567"/>
              <a:gd name="T64" fmla="*/ 2922 w 4593"/>
              <a:gd name="T65" fmla="*/ 1510 h 1567"/>
              <a:gd name="T66" fmla="*/ 2900 w 4593"/>
              <a:gd name="T67" fmla="*/ 1499 h 1567"/>
              <a:gd name="T68" fmla="*/ 0 w 4593"/>
              <a:gd name="T69" fmla="*/ 0 h 1567"/>
              <a:gd name="T70" fmla="*/ 2867 w 4593"/>
              <a:gd name="T71" fmla="*/ 953 h 1567"/>
              <a:gd name="T72" fmla="*/ 2893 w 4593"/>
              <a:gd name="T73" fmla="*/ 961 h 1567"/>
              <a:gd name="T74" fmla="*/ 2921 w 4593"/>
              <a:gd name="T75" fmla="*/ 968 h 1567"/>
              <a:gd name="T76" fmla="*/ 2949 w 4593"/>
              <a:gd name="T77" fmla="*/ 974 h 1567"/>
              <a:gd name="T78" fmla="*/ 2978 w 4593"/>
              <a:gd name="T79" fmla="*/ 979 h 1567"/>
              <a:gd name="T80" fmla="*/ 3005 w 4593"/>
              <a:gd name="T81" fmla="*/ 981 h 1567"/>
              <a:gd name="T82" fmla="*/ 3035 w 4593"/>
              <a:gd name="T83" fmla="*/ 983 h 1567"/>
              <a:gd name="T84" fmla="*/ 3064 w 4593"/>
              <a:gd name="T85" fmla="*/ 983 h 1567"/>
              <a:gd name="T86" fmla="*/ 3093 w 4593"/>
              <a:gd name="T87" fmla="*/ 983 h 1567"/>
              <a:gd name="T88" fmla="*/ 3122 w 4593"/>
              <a:gd name="T89" fmla="*/ 980 h 1567"/>
              <a:gd name="T90" fmla="*/ 3151 w 4593"/>
              <a:gd name="T91" fmla="*/ 976 h 1567"/>
              <a:gd name="T92" fmla="*/ 3179 w 4593"/>
              <a:gd name="T93" fmla="*/ 971 h 1567"/>
              <a:gd name="T94" fmla="*/ 3207 w 4593"/>
              <a:gd name="T95" fmla="*/ 964 h 1567"/>
              <a:gd name="T96" fmla="*/ 3233 w 4593"/>
              <a:gd name="T97" fmla="*/ 956 h 1567"/>
              <a:gd name="T98" fmla="*/ 3259 w 4593"/>
              <a:gd name="T99" fmla="*/ 945 h 1567"/>
              <a:gd name="T100" fmla="*/ 3283 w 4593"/>
              <a:gd name="T101" fmla="*/ 932 h 1567"/>
              <a:gd name="T102" fmla="*/ 3308 w 4593"/>
              <a:gd name="T103" fmla="*/ 918 h 1567"/>
              <a:gd name="T104" fmla="*/ 4593 w 4593"/>
              <a:gd name="T105" fmla="*/ 102 h 15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593" h="1567">
                <a:moveTo>
                  <a:pt x="4593" y="102"/>
                </a:moveTo>
                <a:lnTo>
                  <a:pt x="3597" y="1332"/>
                </a:lnTo>
                <a:lnTo>
                  <a:pt x="3577" y="1355"/>
                </a:lnTo>
                <a:lnTo>
                  <a:pt x="3558" y="1379"/>
                </a:lnTo>
                <a:lnTo>
                  <a:pt x="3538" y="1399"/>
                </a:lnTo>
                <a:lnTo>
                  <a:pt x="3517" y="1418"/>
                </a:lnTo>
                <a:lnTo>
                  <a:pt x="3496" y="1437"/>
                </a:lnTo>
                <a:lnTo>
                  <a:pt x="3475" y="1454"/>
                </a:lnTo>
                <a:lnTo>
                  <a:pt x="3454" y="1470"/>
                </a:lnTo>
                <a:lnTo>
                  <a:pt x="3433" y="1484"/>
                </a:lnTo>
                <a:lnTo>
                  <a:pt x="3411" y="1498"/>
                </a:lnTo>
                <a:lnTo>
                  <a:pt x="3390" y="1510"/>
                </a:lnTo>
                <a:lnTo>
                  <a:pt x="3368" y="1520"/>
                </a:lnTo>
                <a:lnTo>
                  <a:pt x="3346" y="1531"/>
                </a:lnTo>
                <a:lnTo>
                  <a:pt x="3324" y="1539"/>
                </a:lnTo>
                <a:lnTo>
                  <a:pt x="3302" y="1546"/>
                </a:lnTo>
                <a:lnTo>
                  <a:pt x="3280" y="1553"/>
                </a:lnTo>
                <a:lnTo>
                  <a:pt x="3258" y="1558"/>
                </a:lnTo>
                <a:lnTo>
                  <a:pt x="3236" y="1562"/>
                </a:lnTo>
                <a:lnTo>
                  <a:pt x="3212" y="1565"/>
                </a:lnTo>
                <a:lnTo>
                  <a:pt x="3190" y="1567"/>
                </a:lnTo>
                <a:lnTo>
                  <a:pt x="3168" y="1567"/>
                </a:lnTo>
                <a:lnTo>
                  <a:pt x="3145" y="1567"/>
                </a:lnTo>
                <a:lnTo>
                  <a:pt x="3123" y="1566"/>
                </a:lnTo>
                <a:lnTo>
                  <a:pt x="3101" y="1563"/>
                </a:lnTo>
                <a:lnTo>
                  <a:pt x="3078" y="1560"/>
                </a:lnTo>
                <a:lnTo>
                  <a:pt x="3055" y="1555"/>
                </a:lnTo>
                <a:lnTo>
                  <a:pt x="3033" y="1551"/>
                </a:lnTo>
                <a:lnTo>
                  <a:pt x="3010" y="1544"/>
                </a:lnTo>
                <a:lnTo>
                  <a:pt x="2988" y="1537"/>
                </a:lnTo>
                <a:lnTo>
                  <a:pt x="2966" y="1528"/>
                </a:lnTo>
                <a:lnTo>
                  <a:pt x="2944" y="1519"/>
                </a:lnTo>
                <a:lnTo>
                  <a:pt x="2922" y="1510"/>
                </a:lnTo>
                <a:lnTo>
                  <a:pt x="2900" y="1499"/>
                </a:lnTo>
                <a:lnTo>
                  <a:pt x="0" y="0"/>
                </a:lnTo>
                <a:lnTo>
                  <a:pt x="2867" y="953"/>
                </a:lnTo>
                <a:lnTo>
                  <a:pt x="2893" y="961"/>
                </a:lnTo>
                <a:lnTo>
                  <a:pt x="2921" y="968"/>
                </a:lnTo>
                <a:lnTo>
                  <a:pt x="2949" y="974"/>
                </a:lnTo>
                <a:lnTo>
                  <a:pt x="2978" y="979"/>
                </a:lnTo>
                <a:lnTo>
                  <a:pt x="3005" y="981"/>
                </a:lnTo>
                <a:lnTo>
                  <a:pt x="3035" y="983"/>
                </a:lnTo>
                <a:lnTo>
                  <a:pt x="3064" y="983"/>
                </a:lnTo>
                <a:lnTo>
                  <a:pt x="3093" y="983"/>
                </a:lnTo>
                <a:lnTo>
                  <a:pt x="3122" y="980"/>
                </a:lnTo>
                <a:lnTo>
                  <a:pt x="3151" y="976"/>
                </a:lnTo>
                <a:lnTo>
                  <a:pt x="3179" y="971"/>
                </a:lnTo>
                <a:lnTo>
                  <a:pt x="3207" y="964"/>
                </a:lnTo>
                <a:lnTo>
                  <a:pt x="3233" y="956"/>
                </a:lnTo>
                <a:lnTo>
                  <a:pt x="3259" y="945"/>
                </a:lnTo>
                <a:lnTo>
                  <a:pt x="3283" y="932"/>
                </a:lnTo>
                <a:lnTo>
                  <a:pt x="3308" y="918"/>
                </a:lnTo>
                <a:lnTo>
                  <a:pt x="4593" y="102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Freeform 5"/>
          <p:cNvSpPr>
            <a:spLocks/>
          </p:cNvSpPr>
          <p:nvPr userDrawn="1"/>
        </p:nvSpPr>
        <p:spPr bwMode="auto">
          <a:xfrm>
            <a:off x="7334912" y="2886077"/>
            <a:ext cx="1719792" cy="2135187"/>
          </a:xfrm>
          <a:custGeom>
            <a:avLst/>
            <a:gdLst>
              <a:gd name="T0" fmla="*/ 3159 w 4000"/>
              <a:gd name="T1" fmla="*/ 5238 h 5382"/>
              <a:gd name="T2" fmla="*/ 3155 w 4000"/>
              <a:gd name="T3" fmla="*/ 5259 h 5382"/>
              <a:gd name="T4" fmla="*/ 3146 w 4000"/>
              <a:gd name="T5" fmla="*/ 5280 h 5382"/>
              <a:gd name="T6" fmla="*/ 3137 w 4000"/>
              <a:gd name="T7" fmla="*/ 5299 h 5382"/>
              <a:gd name="T8" fmla="*/ 3126 w 4000"/>
              <a:gd name="T9" fmla="*/ 5315 h 5382"/>
              <a:gd name="T10" fmla="*/ 3113 w 4000"/>
              <a:gd name="T11" fmla="*/ 5330 h 5382"/>
              <a:gd name="T12" fmla="*/ 3098 w 4000"/>
              <a:gd name="T13" fmla="*/ 5343 h 5382"/>
              <a:gd name="T14" fmla="*/ 3064 w 4000"/>
              <a:gd name="T15" fmla="*/ 5364 h 5382"/>
              <a:gd name="T16" fmla="*/ 3024 w 4000"/>
              <a:gd name="T17" fmla="*/ 5378 h 5382"/>
              <a:gd name="T18" fmla="*/ 2984 w 4000"/>
              <a:gd name="T19" fmla="*/ 5382 h 5382"/>
              <a:gd name="T20" fmla="*/ 2941 w 4000"/>
              <a:gd name="T21" fmla="*/ 5380 h 5382"/>
              <a:gd name="T22" fmla="*/ 2898 w 4000"/>
              <a:gd name="T23" fmla="*/ 5368 h 5382"/>
              <a:gd name="T24" fmla="*/ 354 w 4000"/>
              <a:gd name="T25" fmla="*/ 4384 h 5382"/>
              <a:gd name="T26" fmla="*/ 300 w 4000"/>
              <a:gd name="T27" fmla="*/ 4358 h 5382"/>
              <a:gd name="T28" fmla="*/ 250 w 4000"/>
              <a:gd name="T29" fmla="*/ 4332 h 5382"/>
              <a:gd name="T30" fmla="*/ 206 w 4000"/>
              <a:gd name="T31" fmla="*/ 4301 h 5382"/>
              <a:gd name="T32" fmla="*/ 166 w 4000"/>
              <a:gd name="T33" fmla="*/ 4269 h 5382"/>
              <a:gd name="T34" fmla="*/ 132 w 4000"/>
              <a:gd name="T35" fmla="*/ 4235 h 5382"/>
              <a:gd name="T36" fmla="*/ 100 w 4000"/>
              <a:gd name="T37" fmla="*/ 4198 h 5382"/>
              <a:gd name="T38" fmla="*/ 75 w 4000"/>
              <a:gd name="T39" fmla="*/ 4161 h 5382"/>
              <a:gd name="T40" fmla="*/ 51 w 4000"/>
              <a:gd name="T41" fmla="*/ 4121 h 5382"/>
              <a:gd name="T42" fmla="*/ 34 w 4000"/>
              <a:gd name="T43" fmla="*/ 4079 h 5382"/>
              <a:gd name="T44" fmla="*/ 19 w 4000"/>
              <a:gd name="T45" fmla="*/ 4036 h 5382"/>
              <a:gd name="T46" fmla="*/ 8 w 4000"/>
              <a:gd name="T47" fmla="*/ 3993 h 5382"/>
              <a:gd name="T48" fmla="*/ 3 w 4000"/>
              <a:gd name="T49" fmla="*/ 3948 h 5382"/>
              <a:gd name="T50" fmla="*/ 0 w 4000"/>
              <a:gd name="T51" fmla="*/ 3902 h 5382"/>
              <a:gd name="T52" fmla="*/ 0 w 4000"/>
              <a:gd name="T53" fmla="*/ 3855 h 5382"/>
              <a:gd name="T54" fmla="*/ 5 w 4000"/>
              <a:gd name="T55" fmla="*/ 3807 h 5382"/>
              <a:gd name="T56" fmla="*/ 545 w 4000"/>
              <a:gd name="T57" fmla="*/ 564 h 5382"/>
              <a:gd name="T58" fmla="*/ 555 w 4000"/>
              <a:gd name="T59" fmla="*/ 516 h 5382"/>
              <a:gd name="T60" fmla="*/ 567 w 4000"/>
              <a:gd name="T61" fmla="*/ 471 h 5382"/>
              <a:gd name="T62" fmla="*/ 583 w 4000"/>
              <a:gd name="T63" fmla="*/ 427 h 5382"/>
              <a:gd name="T64" fmla="*/ 602 w 4000"/>
              <a:gd name="T65" fmla="*/ 385 h 5382"/>
              <a:gd name="T66" fmla="*/ 624 w 4000"/>
              <a:gd name="T67" fmla="*/ 345 h 5382"/>
              <a:gd name="T68" fmla="*/ 650 w 4000"/>
              <a:gd name="T69" fmla="*/ 308 h 5382"/>
              <a:gd name="T70" fmla="*/ 679 w 4000"/>
              <a:gd name="T71" fmla="*/ 274 h 5382"/>
              <a:gd name="T72" fmla="*/ 712 w 4000"/>
              <a:gd name="T73" fmla="*/ 242 h 5382"/>
              <a:gd name="T74" fmla="*/ 746 w 4000"/>
              <a:gd name="T75" fmla="*/ 214 h 5382"/>
              <a:gd name="T76" fmla="*/ 786 w 4000"/>
              <a:gd name="T77" fmla="*/ 187 h 5382"/>
              <a:gd name="T78" fmla="*/ 829 w 4000"/>
              <a:gd name="T79" fmla="*/ 165 h 5382"/>
              <a:gd name="T80" fmla="*/ 875 w 4000"/>
              <a:gd name="T81" fmla="*/ 145 h 5382"/>
              <a:gd name="T82" fmla="*/ 924 w 4000"/>
              <a:gd name="T83" fmla="*/ 130 h 5382"/>
              <a:gd name="T84" fmla="*/ 978 w 4000"/>
              <a:gd name="T85" fmla="*/ 117 h 5382"/>
              <a:gd name="T86" fmla="*/ 1035 w 4000"/>
              <a:gd name="T87" fmla="*/ 109 h 5382"/>
              <a:gd name="T88" fmla="*/ 1096 w 4000"/>
              <a:gd name="T89" fmla="*/ 105 h 5382"/>
              <a:gd name="T90" fmla="*/ 3814 w 4000"/>
              <a:gd name="T91" fmla="*/ 0 h 5382"/>
              <a:gd name="T92" fmla="*/ 3857 w 4000"/>
              <a:gd name="T93" fmla="*/ 7 h 5382"/>
              <a:gd name="T94" fmla="*/ 3897 w 4000"/>
              <a:gd name="T95" fmla="*/ 22 h 5382"/>
              <a:gd name="T96" fmla="*/ 3932 w 4000"/>
              <a:gd name="T97" fmla="*/ 44 h 5382"/>
              <a:gd name="T98" fmla="*/ 3960 w 4000"/>
              <a:gd name="T99" fmla="*/ 72 h 5382"/>
              <a:gd name="T100" fmla="*/ 3977 w 4000"/>
              <a:gd name="T101" fmla="*/ 97 h 5382"/>
              <a:gd name="T102" fmla="*/ 3987 w 4000"/>
              <a:gd name="T103" fmla="*/ 115 h 5382"/>
              <a:gd name="T104" fmla="*/ 3993 w 4000"/>
              <a:gd name="T105" fmla="*/ 134 h 5382"/>
              <a:gd name="T106" fmla="*/ 3997 w 4000"/>
              <a:gd name="T107" fmla="*/ 154 h 5382"/>
              <a:gd name="T108" fmla="*/ 4000 w 4000"/>
              <a:gd name="T109" fmla="*/ 174 h 5382"/>
              <a:gd name="T110" fmla="*/ 3998 w 4000"/>
              <a:gd name="T111" fmla="*/ 197 h 5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000" h="5382">
                <a:moveTo>
                  <a:pt x="3997" y="207"/>
                </a:moveTo>
                <a:lnTo>
                  <a:pt x="3159" y="5238"/>
                </a:lnTo>
                <a:lnTo>
                  <a:pt x="3157" y="5249"/>
                </a:lnTo>
                <a:lnTo>
                  <a:pt x="3155" y="5259"/>
                </a:lnTo>
                <a:lnTo>
                  <a:pt x="3151" y="5270"/>
                </a:lnTo>
                <a:lnTo>
                  <a:pt x="3146" y="5280"/>
                </a:lnTo>
                <a:lnTo>
                  <a:pt x="3143" y="5289"/>
                </a:lnTo>
                <a:lnTo>
                  <a:pt x="3137" y="5299"/>
                </a:lnTo>
                <a:lnTo>
                  <a:pt x="3132" y="5307"/>
                </a:lnTo>
                <a:lnTo>
                  <a:pt x="3126" y="5315"/>
                </a:lnTo>
                <a:lnTo>
                  <a:pt x="3120" y="5323"/>
                </a:lnTo>
                <a:lnTo>
                  <a:pt x="3113" y="5330"/>
                </a:lnTo>
                <a:lnTo>
                  <a:pt x="3106" y="5337"/>
                </a:lnTo>
                <a:lnTo>
                  <a:pt x="3098" y="5343"/>
                </a:lnTo>
                <a:lnTo>
                  <a:pt x="3081" y="5354"/>
                </a:lnTo>
                <a:lnTo>
                  <a:pt x="3064" y="5364"/>
                </a:lnTo>
                <a:lnTo>
                  <a:pt x="3044" y="5372"/>
                </a:lnTo>
                <a:lnTo>
                  <a:pt x="3024" y="5378"/>
                </a:lnTo>
                <a:lnTo>
                  <a:pt x="3005" y="5381"/>
                </a:lnTo>
                <a:lnTo>
                  <a:pt x="2984" y="5382"/>
                </a:lnTo>
                <a:lnTo>
                  <a:pt x="2962" y="5382"/>
                </a:lnTo>
                <a:lnTo>
                  <a:pt x="2941" y="5380"/>
                </a:lnTo>
                <a:lnTo>
                  <a:pt x="2920" y="5375"/>
                </a:lnTo>
                <a:lnTo>
                  <a:pt x="2898" y="5368"/>
                </a:lnTo>
                <a:lnTo>
                  <a:pt x="381" y="4396"/>
                </a:lnTo>
                <a:lnTo>
                  <a:pt x="354" y="4384"/>
                </a:lnTo>
                <a:lnTo>
                  <a:pt x="326" y="4371"/>
                </a:lnTo>
                <a:lnTo>
                  <a:pt x="300" y="4358"/>
                </a:lnTo>
                <a:lnTo>
                  <a:pt x="275" y="4346"/>
                </a:lnTo>
                <a:lnTo>
                  <a:pt x="250" y="4332"/>
                </a:lnTo>
                <a:lnTo>
                  <a:pt x="228" y="4317"/>
                </a:lnTo>
                <a:lnTo>
                  <a:pt x="206" y="4301"/>
                </a:lnTo>
                <a:lnTo>
                  <a:pt x="186" y="4285"/>
                </a:lnTo>
                <a:lnTo>
                  <a:pt x="166" y="4269"/>
                </a:lnTo>
                <a:lnTo>
                  <a:pt x="149" y="4253"/>
                </a:lnTo>
                <a:lnTo>
                  <a:pt x="132" y="4235"/>
                </a:lnTo>
                <a:lnTo>
                  <a:pt x="115" y="4217"/>
                </a:lnTo>
                <a:lnTo>
                  <a:pt x="100" y="4198"/>
                </a:lnTo>
                <a:lnTo>
                  <a:pt x="87" y="4179"/>
                </a:lnTo>
                <a:lnTo>
                  <a:pt x="75" y="4161"/>
                </a:lnTo>
                <a:lnTo>
                  <a:pt x="62" y="4141"/>
                </a:lnTo>
                <a:lnTo>
                  <a:pt x="51" y="4121"/>
                </a:lnTo>
                <a:lnTo>
                  <a:pt x="42" y="4100"/>
                </a:lnTo>
                <a:lnTo>
                  <a:pt x="34" y="4079"/>
                </a:lnTo>
                <a:lnTo>
                  <a:pt x="26" y="4059"/>
                </a:lnTo>
                <a:lnTo>
                  <a:pt x="19" y="4036"/>
                </a:lnTo>
                <a:lnTo>
                  <a:pt x="13" y="4016"/>
                </a:lnTo>
                <a:lnTo>
                  <a:pt x="8" y="3993"/>
                </a:lnTo>
                <a:lnTo>
                  <a:pt x="5" y="3970"/>
                </a:lnTo>
                <a:lnTo>
                  <a:pt x="3" y="3948"/>
                </a:lnTo>
                <a:lnTo>
                  <a:pt x="0" y="3925"/>
                </a:lnTo>
                <a:lnTo>
                  <a:pt x="0" y="3902"/>
                </a:lnTo>
                <a:lnTo>
                  <a:pt x="0" y="3878"/>
                </a:lnTo>
                <a:lnTo>
                  <a:pt x="0" y="3855"/>
                </a:lnTo>
                <a:lnTo>
                  <a:pt x="3" y="3831"/>
                </a:lnTo>
                <a:lnTo>
                  <a:pt x="5" y="3807"/>
                </a:lnTo>
                <a:lnTo>
                  <a:pt x="8" y="3783"/>
                </a:lnTo>
                <a:lnTo>
                  <a:pt x="545" y="564"/>
                </a:lnTo>
                <a:lnTo>
                  <a:pt x="549" y="539"/>
                </a:lnTo>
                <a:lnTo>
                  <a:pt x="555" y="516"/>
                </a:lnTo>
                <a:lnTo>
                  <a:pt x="560" y="493"/>
                </a:lnTo>
                <a:lnTo>
                  <a:pt x="567" y="471"/>
                </a:lnTo>
                <a:lnTo>
                  <a:pt x="574" y="449"/>
                </a:lnTo>
                <a:lnTo>
                  <a:pt x="583" y="427"/>
                </a:lnTo>
                <a:lnTo>
                  <a:pt x="592" y="406"/>
                </a:lnTo>
                <a:lnTo>
                  <a:pt x="602" y="385"/>
                </a:lnTo>
                <a:lnTo>
                  <a:pt x="613" y="365"/>
                </a:lnTo>
                <a:lnTo>
                  <a:pt x="624" y="345"/>
                </a:lnTo>
                <a:lnTo>
                  <a:pt x="637" y="327"/>
                </a:lnTo>
                <a:lnTo>
                  <a:pt x="650" y="308"/>
                </a:lnTo>
                <a:lnTo>
                  <a:pt x="664" y="291"/>
                </a:lnTo>
                <a:lnTo>
                  <a:pt x="679" y="274"/>
                </a:lnTo>
                <a:lnTo>
                  <a:pt x="695" y="258"/>
                </a:lnTo>
                <a:lnTo>
                  <a:pt x="712" y="242"/>
                </a:lnTo>
                <a:lnTo>
                  <a:pt x="729" y="228"/>
                </a:lnTo>
                <a:lnTo>
                  <a:pt x="746" y="214"/>
                </a:lnTo>
                <a:lnTo>
                  <a:pt x="766" y="200"/>
                </a:lnTo>
                <a:lnTo>
                  <a:pt x="786" y="187"/>
                </a:lnTo>
                <a:lnTo>
                  <a:pt x="807" y="176"/>
                </a:lnTo>
                <a:lnTo>
                  <a:pt x="829" y="165"/>
                </a:lnTo>
                <a:lnTo>
                  <a:pt x="851" y="155"/>
                </a:lnTo>
                <a:lnTo>
                  <a:pt x="875" y="145"/>
                </a:lnTo>
                <a:lnTo>
                  <a:pt x="900" y="137"/>
                </a:lnTo>
                <a:lnTo>
                  <a:pt x="924" y="130"/>
                </a:lnTo>
                <a:lnTo>
                  <a:pt x="951" y="123"/>
                </a:lnTo>
                <a:lnTo>
                  <a:pt x="978" y="117"/>
                </a:lnTo>
                <a:lnTo>
                  <a:pt x="1007" y="113"/>
                </a:lnTo>
                <a:lnTo>
                  <a:pt x="1035" y="109"/>
                </a:lnTo>
                <a:lnTo>
                  <a:pt x="1065" y="107"/>
                </a:lnTo>
                <a:lnTo>
                  <a:pt x="1096" y="105"/>
                </a:lnTo>
                <a:lnTo>
                  <a:pt x="3791" y="0"/>
                </a:lnTo>
                <a:lnTo>
                  <a:pt x="3814" y="0"/>
                </a:lnTo>
                <a:lnTo>
                  <a:pt x="3836" y="2"/>
                </a:lnTo>
                <a:lnTo>
                  <a:pt x="3857" y="7"/>
                </a:lnTo>
                <a:lnTo>
                  <a:pt x="3877" y="14"/>
                </a:lnTo>
                <a:lnTo>
                  <a:pt x="3897" y="22"/>
                </a:lnTo>
                <a:lnTo>
                  <a:pt x="3915" y="33"/>
                </a:lnTo>
                <a:lnTo>
                  <a:pt x="3932" y="44"/>
                </a:lnTo>
                <a:lnTo>
                  <a:pt x="3947" y="57"/>
                </a:lnTo>
                <a:lnTo>
                  <a:pt x="3960" y="72"/>
                </a:lnTo>
                <a:lnTo>
                  <a:pt x="3973" y="88"/>
                </a:lnTo>
                <a:lnTo>
                  <a:pt x="3977" y="97"/>
                </a:lnTo>
                <a:lnTo>
                  <a:pt x="3982" y="106"/>
                </a:lnTo>
                <a:lnTo>
                  <a:pt x="3987" y="115"/>
                </a:lnTo>
                <a:lnTo>
                  <a:pt x="3990" y="124"/>
                </a:lnTo>
                <a:lnTo>
                  <a:pt x="3993" y="134"/>
                </a:lnTo>
                <a:lnTo>
                  <a:pt x="3996" y="143"/>
                </a:lnTo>
                <a:lnTo>
                  <a:pt x="3997" y="154"/>
                </a:lnTo>
                <a:lnTo>
                  <a:pt x="3998" y="164"/>
                </a:lnTo>
                <a:lnTo>
                  <a:pt x="4000" y="174"/>
                </a:lnTo>
                <a:lnTo>
                  <a:pt x="4000" y="185"/>
                </a:lnTo>
                <a:lnTo>
                  <a:pt x="3998" y="197"/>
                </a:lnTo>
                <a:lnTo>
                  <a:pt x="3997" y="207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Freeform 7"/>
          <p:cNvSpPr>
            <a:spLocks/>
          </p:cNvSpPr>
          <p:nvPr userDrawn="1"/>
        </p:nvSpPr>
        <p:spPr bwMode="auto">
          <a:xfrm>
            <a:off x="9231842" y="4125920"/>
            <a:ext cx="674158" cy="1425575"/>
          </a:xfrm>
          <a:custGeom>
            <a:avLst/>
            <a:gdLst>
              <a:gd name="T0" fmla="*/ 1569 w 1569"/>
              <a:gd name="T1" fmla="*/ 3384 h 3590"/>
              <a:gd name="T2" fmla="*/ 205 w 1569"/>
              <a:gd name="T3" fmla="*/ 3589 h 3590"/>
              <a:gd name="T4" fmla="*/ 194 w 1569"/>
              <a:gd name="T5" fmla="*/ 3590 h 3590"/>
              <a:gd name="T6" fmla="*/ 182 w 1569"/>
              <a:gd name="T7" fmla="*/ 3590 h 3590"/>
              <a:gd name="T8" fmla="*/ 172 w 1569"/>
              <a:gd name="T9" fmla="*/ 3590 h 3590"/>
              <a:gd name="T10" fmla="*/ 162 w 1569"/>
              <a:gd name="T11" fmla="*/ 3590 h 3590"/>
              <a:gd name="T12" fmla="*/ 151 w 1569"/>
              <a:gd name="T13" fmla="*/ 3588 h 3590"/>
              <a:gd name="T14" fmla="*/ 141 w 1569"/>
              <a:gd name="T15" fmla="*/ 3587 h 3590"/>
              <a:gd name="T16" fmla="*/ 131 w 1569"/>
              <a:gd name="T17" fmla="*/ 3584 h 3590"/>
              <a:gd name="T18" fmla="*/ 121 w 1569"/>
              <a:gd name="T19" fmla="*/ 3581 h 3590"/>
              <a:gd name="T20" fmla="*/ 112 w 1569"/>
              <a:gd name="T21" fmla="*/ 3577 h 3590"/>
              <a:gd name="T22" fmla="*/ 103 w 1569"/>
              <a:gd name="T23" fmla="*/ 3573 h 3590"/>
              <a:gd name="T24" fmla="*/ 94 w 1569"/>
              <a:gd name="T25" fmla="*/ 3568 h 3590"/>
              <a:gd name="T26" fmla="*/ 86 w 1569"/>
              <a:gd name="T27" fmla="*/ 3563 h 3590"/>
              <a:gd name="T28" fmla="*/ 70 w 1569"/>
              <a:gd name="T29" fmla="*/ 3551 h 3590"/>
              <a:gd name="T30" fmla="*/ 56 w 1569"/>
              <a:gd name="T31" fmla="*/ 3537 h 3590"/>
              <a:gd name="T32" fmla="*/ 42 w 1569"/>
              <a:gd name="T33" fmla="*/ 3521 h 3590"/>
              <a:gd name="T34" fmla="*/ 30 w 1569"/>
              <a:gd name="T35" fmla="*/ 3504 h 3590"/>
              <a:gd name="T36" fmla="*/ 21 w 1569"/>
              <a:gd name="T37" fmla="*/ 3486 h 3590"/>
              <a:gd name="T38" fmla="*/ 13 w 1569"/>
              <a:gd name="T39" fmla="*/ 3466 h 3590"/>
              <a:gd name="T40" fmla="*/ 7 w 1569"/>
              <a:gd name="T41" fmla="*/ 3446 h 3590"/>
              <a:gd name="T42" fmla="*/ 2 w 1569"/>
              <a:gd name="T43" fmla="*/ 3424 h 3590"/>
              <a:gd name="T44" fmla="*/ 0 w 1569"/>
              <a:gd name="T45" fmla="*/ 3403 h 3590"/>
              <a:gd name="T46" fmla="*/ 0 w 1569"/>
              <a:gd name="T47" fmla="*/ 3380 h 3590"/>
              <a:gd name="T48" fmla="*/ 149 w 1569"/>
              <a:gd name="T49" fmla="*/ 687 h 3590"/>
              <a:gd name="T50" fmla="*/ 150 w 1569"/>
              <a:gd name="T51" fmla="*/ 656 h 3590"/>
              <a:gd name="T52" fmla="*/ 153 w 1569"/>
              <a:gd name="T53" fmla="*/ 627 h 3590"/>
              <a:gd name="T54" fmla="*/ 158 w 1569"/>
              <a:gd name="T55" fmla="*/ 598 h 3590"/>
              <a:gd name="T56" fmla="*/ 163 w 1569"/>
              <a:gd name="T57" fmla="*/ 570 h 3590"/>
              <a:gd name="T58" fmla="*/ 168 w 1569"/>
              <a:gd name="T59" fmla="*/ 542 h 3590"/>
              <a:gd name="T60" fmla="*/ 175 w 1569"/>
              <a:gd name="T61" fmla="*/ 516 h 3590"/>
              <a:gd name="T62" fmla="*/ 184 w 1569"/>
              <a:gd name="T63" fmla="*/ 491 h 3590"/>
              <a:gd name="T64" fmla="*/ 193 w 1569"/>
              <a:gd name="T65" fmla="*/ 466 h 3590"/>
              <a:gd name="T66" fmla="*/ 202 w 1569"/>
              <a:gd name="T67" fmla="*/ 443 h 3590"/>
              <a:gd name="T68" fmla="*/ 213 w 1569"/>
              <a:gd name="T69" fmla="*/ 421 h 3590"/>
              <a:gd name="T70" fmla="*/ 224 w 1569"/>
              <a:gd name="T71" fmla="*/ 399 h 3590"/>
              <a:gd name="T72" fmla="*/ 236 w 1569"/>
              <a:gd name="T73" fmla="*/ 378 h 3590"/>
              <a:gd name="T74" fmla="*/ 249 w 1569"/>
              <a:gd name="T75" fmla="*/ 358 h 3590"/>
              <a:gd name="T76" fmla="*/ 263 w 1569"/>
              <a:gd name="T77" fmla="*/ 340 h 3590"/>
              <a:gd name="T78" fmla="*/ 277 w 1569"/>
              <a:gd name="T79" fmla="*/ 322 h 3590"/>
              <a:gd name="T80" fmla="*/ 292 w 1569"/>
              <a:gd name="T81" fmla="*/ 305 h 3590"/>
              <a:gd name="T82" fmla="*/ 308 w 1569"/>
              <a:gd name="T83" fmla="*/ 289 h 3590"/>
              <a:gd name="T84" fmla="*/ 324 w 1569"/>
              <a:gd name="T85" fmla="*/ 272 h 3590"/>
              <a:gd name="T86" fmla="*/ 342 w 1569"/>
              <a:gd name="T87" fmla="*/ 258 h 3590"/>
              <a:gd name="T88" fmla="*/ 359 w 1569"/>
              <a:gd name="T89" fmla="*/ 244 h 3590"/>
              <a:gd name="T90" fmla="*/ 378 w 1569"/>
              <a:gd name="T91" fmla="*/ 232 h 3590"/>
              <a:gd name="T92" fmla="*/ 396 w 1569"/>
              <a:gd name="T93" fmla="*/ 219 h 3590"/>
              <a:gd name="T94" fmla="*/ 416 w 1569"/>
              <a:gd name="T95" fmla="*/ 208 h 3590"/>
              <a:gd name="T96" fmla="*/ 436 w 1569"/>
              <a:gd name="T97" fmla="*/ 198 h 3590"/>
              <a:gd name="T98" fmla="*/ 457 w 1569"/>
              <a:gd name="T99" fmla="*/ 188 h 3590"/>
              <a:gd name="T100" fmla="*/ 478 w 1569"/>
              <a:gd name="T101" fmla="*/ 179 h 3590"/>
              <a:gd name="T102" fmla="*/ 500 w 1569"/>
              <a:gd name="T103" fmla="*/ 171 h 3590"/>
              <a:gd name="T104" fmla="*/ 522 w 1569"/>
              <a:gd name="T105" fmla="*/ 164 h 3590"/>
              <a:gd name="T106" fmla="*/ 545 w 1569"/>
              <a:gd name="T107" fmla="*/ 157 h 3590"/>
              <a:gd name="T108" fmla="*/ 568 w 1569"/>
              <a:gd name="T109" fmla="*/ 152 h 3590"/>
              <a:gd name="T110" fmla="*/ 592 w 1569"/>
              <a:gd name="T111" fmla="*/ 147 h 3590"/>
              <a:gd name="T112" fmla="*/ 616 w 1569"/>
              <a:gd name="T113" fmla="*/ 143 h 3590"/>
              <a:gd name="T114" fmla="*/ 1569 w 1569"/>
              <a:gd name="T115" fmla="*/ 0 h 3590"/>
              <a:gd name="T116" fmla="*/ 1569 w 1569"/>
              <a:gd name="T117" fmla="*/ 3384 h 35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569" h="3590">
                <a:moveTo>
                  <a:pt x="1569" y="3384"/>
                </a:moveTo>
                <a:lnTo>
                  <a:pt x="205" y="3589"/>
                </a:lnTo>
                <a:lnTo>
                  <a:pt x="194" y="3590"/>
                </a:lnTo>
                <a:lnTo>
                  <a:pt x="182" y="3590"/>
                </a:lnTo>
                <a:lnTo>
                  <a:pt x="172" y="3590"/>
                </a:lnTo>
                <a:lnTo>
                  <a:pt x="162" y="3590"/>
                </a:lnTo>
                <a:lnTo>
                  <a:pt x="151" y="3588"/>
                </a:lnTo>
                <a:lnTo>
                  <a:pt x="141" y="3587"/>
                </a:lnTo>
                <a:lnTo>
                  <a:pt x="131" y="3584"/>
                </a:lnTo>
                <a:lnTo>
                  <a:pt x="121" y="3581"/>
                </a:lnTo>
                <a:lnTo>
                  <a:pt x="112" y="3577"/>
                </a:lnTo>
                <a:lnTo>
                  <a:pt x="103" y="3573"/>
                </a:lnTo>
                <a:lnTo>
                  <a:pt x="94" y="3568"/>
                </a:lnTo>
                <a:lnTo>
                  <a:pt x="86" y="3563"/>
                </a:lnTo>
                <a:lnTo>
                  <a:pt x="70" y="3551"/>
                </a:lnTo>
                <a:lnTo>
                  <a:pt x="56" y="3537"/>
                </a:lnTo>
                <a:lnTo>
                  <a:pt x="42" y="3521"/>
                </a:lnTo>
                <a:lnTo>
                  <a:pt x="30" y="3504"/>
                </a:lnTo>
                <a:lnTo>
                  <a:pt x="21" y="3486"/>
                </a:lnTo>
                <a:lnTo>
                  <a:pt x="13" y="3466"/>
                </a:lnTo>
                <a:lnTo>
                  <a:pt x="7" y="3446"/>
                </a:lnTo>
                <a:lnTo>
                  <a:pt x="2" y="3424"/>
                </a:lnTo>
                <a:lnTo>
                  <a:pt x="0" y="3403"/>
                </a:lnTo>
                <a:lnTo>
                  <a:pt x="0" y="3380"/>
                </a:lnTo>
                <a:lnTo>
                  <a:pt x="149" y="687"/>
                </a:lnTo>
                <a:lnTo>
                  <a:pt x="150" y="656"/>
                </a:lnTo>
                <a:lnTo>
                  <a:pt x="153" y="627"/>
                </a:lnTo>
                <a:lnTo>
                  <a:pt x="158" y="598"/>
                </a:lnTo>
                <a:lnTo>
                  <a:pt x="163" y="570"/>
                </a:lnTo>
                <a:lnTo>
                  <a:pt x="168" y="542"/>
                </a:lnTo>
                <a:lnTo>
                  <a:pt x="175" y="516"/>
                </a:lnTo>
                <a:lnTo>
                  <a:pt x="184" y="491"/>
                </a:lnTo>
                <a:lnTo>
                  <a:pt x="193" y="466"/>
                </a:lnTo>
                <a:lnTo>
                  <a:pt x="202" y="443"/>
                </a:lnTo>
                <a:lnTo>
                  <a:pt x="213" y="421"/>
                </a:lnTo>
                <a:lnTo>
                  <a:pt x="224" y="399"/>
                </a:lnTo>
                <a:lnTo>
                  <a:pt x="236" y="378"/>
                </a:lnTo>
                <a:lnTo>
                  <a:pt x="249" y="358"/>
                </a:lnTo>
                <a:lnTo>
                  <a:pt x="263" y="340"/>
                </a:lnTo>
                <a:lnTo>
                  <a:pt x="277" y="322"/>
                </a:lnTo>
                <a:lnTo>
                  <a:pt x="292" y="305"/>
                </a:lnTo>
                <a:lnTo>
                  <a:pt x="308" y="289"/>
                </a:lnTo>
                <a:lnTo>
                  <a:pt x="324" y="272"/>
                </a:lnTo>
                <a:lnTo>
                  <a:pt x="342" y="258"/>
                </a:lnTo>
                <a:lnTo>
                  <a:pt x="359" y="244"/>
                </a:lnTo>
                <a:lnTo>
                  <a:pt x="378" y="232"/>
                </a:lnTo>
                <a:lnTo>
                  <a:pt x="396" y="219"/>
                </a:lnTo>
                <a:lnTo>
                  <a:pt x="416" y="208"/>
                </a:lnTo>
                <a:lnTo>
                  <a:pt x="436" y="198"/>
                </a:lnTo>
                <a:lnTo>
                  <a:pt x="457" y="188"/>
                </a:lnTo>
                <a:lnTo>
                  <a:pt x="478" y="179"/>
                </a:lnTo>
                <a:lnTo>
                  <a:pt x="500" y="171"/>
                </a:lnTo>
                <a:lnTo>
                  <a:pt x="522" y="164"/>
                </a:lnTo>
                <a:lnTo>
                  <a:pt x="545" y="157"/>
                </a:lnTo>
                <a:lnTo>
                  <a:pt x="568" y="152"/>
                </a:lnTo>
                <a:lnTo>
                  <a:pt x="592" y="147"/>
                </a:lnTo>
                <a:lnTo>
                  <a:pt x="616" y="143"/>
                </a:lnTo>
                <a:lnTo>
                  <a:pt x="1569" y="0"/>
                </a:lnTo>
                <a:lnTo>
                  <a:pt x="1569" y="3384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0" name="Freeform 9"/>
          <p:cNvSpPr>
            <a:spLocks/>
          </p:cNvSpPr>
          <p:nvPr userDrawn="1"/>
        </p:nvSpPr>
        <p:spPr bwMode="auto">
          <a:xfrm>
            <a:off x="8905172" y="5940594"/>
            <a:ext cx="1000919" cy="917575"/>
          </a:xfrm>
          <a:custGeom>
            <a:avLst/>
            <a:gdLst>
              <a:gd name="T0" fmla="*/ 759 w 2327"/>
              <a:gd name="T1" fmla="*/ 2310 h 2310"/>
              <a:gd name="T2" fmla="*/ 19 w 2327"/>
              <a:gd name="T3" fmla="*/ 851 h 2310"/>
              <a:gd name="T4" fmla="*/ 14 w 2327"/>
              <a:gd name="T5" fmla="*/ 841 h 2310"/>
              <a:gd name="T6" fmla="*/ 9 w 2327"/>
              <a:gd name="T7" fmla="*/ 832 h 2310"/>
              <a:gd name="T8" fmla="*/ 6 w 2327"/>
              <a:gd name="T9" fmla="*/ 821 h 2310"/>
              <a:gd name="T10" fmla="*/ 4 w 2327"/>
              <a:gd name="T11" fmla="*/ 811 h 2310"/>
              <a:gd name="T12" fmla="*/ 1 w 2327"/>
              <a:gd name="T13" fmla="*/ 800 h 2310"/>
              <a:gd name="T14" fmla="*/ 0 w 2327"/>
              <a:gd name="T15" fmla="*/ 790 h 2310"/>
              <a:gd name="T16" fmla="*/ 0 w 2327"/>
              <a:gd name="T17" fmla="*/ 781 h 2310"/>
              <a:gd name="T18" fmla="*/ 0 w 2327"/>
              <a:gd name="T19" fmla="*/ 770 h 2310"/>
              <a:gd name="T20" fmla="*/ 0 w 2327"/>
              <a:gd name="T21" fmla="*/ 760 h 2310"/>
              <a:gd name="T22" fmla="*/ 1 w 2327"/>
              <a:gd name="T23" fmla="*/ 750 h 2310"/>
              <a:gd name="T24" fmla="*/ 4 w 2327"/>
              <a:gd name="T25" fmla="*/ 740 h 2310"/>
              <a:gd name="T26" fmla="*/ 6 w 2327"/>
              <a:gd name="T27" fmla="*/ 731 h 2310"/>
              <a:gd name="T28" fmla="*/ 13 w 2327"/>
              <a:gd name="T29" fmla="*/ 712 h 2310"/>
              <a:gd name="T30" fmla="*/ 21 w 2327"/>
              <a:gd name="T31" fmla="*/ 693 h 2310"/>
              <a:gd name="T32" fmla="*/ 32 w 2327"/>
              <a:gd name="T33" fmla="*/ 676 h 2310"/>
              <a:gd name="T34" fmla="*/ 44 w 2327"/>
              <a:gd name="T35" fmla="*/ 660 h 2310"/>
              <a:gd name="T36" fmla="*/ 58 w 2327"/>
              <a:gd name="T37" fmla="*/ 645 h 2310"/>
              <a:gd name="T38" fmla="*/ 75 w 2327"/>
              <a:gd name="T39" fmla="*/ 631 h 2310"/>
              <a:gd name="T40" fmla="*/ 92 w 2327"/>
              <a:gd name="T41" fmla="*/ 619 h 2310"/>
              <a:gd name="T42" fmla="*/ 111 w 2327"/>
              <a:gd name="T43" fmla="*/ 607 h 2310"/>
              <a:gd name="T44" fmla="*/ 130 w 2327"/>
              <a:gd name="T45" fmla="*/ 599 h 2310"/>
              <a:gd name="T46" fmla="*/ 152 w 2327"/>
              <a:gd name="T47" fmla="*/ 592 h 2310"/>
              <a:gd name="T48" fmla="*/ 2327 w 2327"/>
              <a:gd name="T49" fmla="*/ 0 h 2310"/>
              <a:gd name="T50" fmla="*/ 2327 w 2327"/>
              <a:gd name="T51" fmla="*/ 2310 h 2310"/>
              <a:gd name="T52" fmla="*/ 759 w 2327"/>
              <a:gd name="T53" fmla="*/ 2310 h 2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2327" h="2310">
                <a:moveTo>
                  <a:pt x="759" y="2310"/>
                </a:moveTo>
                <a:lnTo>
                  <a:pt x="19" y="851"/>
                </a:lnTo>
                <a:lnTo>
                  <a:pt x="14" y="841"/>
                </a:lnTo>
                <a:lnTo>
                  <a:pt x="9" y="832"/>
                </a:lnTo>
                <a:lnTo>
                  <a:pt x="6" y="821"/>
                </a:lnTo>
                <a:lnTo>
                  <a:pt x="4" y="811"/>
                </a:lnTo>
                <a:lnTo>
                  <a:pt x="1" y="800"/>
                </a:lnTo>
                <a:lnTo>
                  <a:pt x="0" y="790"/>
                </a:lnTo>
                <a:lnTo>
                  <a:pt x="0" y="781"/>
                </a:lnTo>
                <a:lnTo>
                  <a:pt x="0" y="770"/>
                </a:lnTo>
                <a:lnTo>
                  <a:pt x="0" y="760"/>
                </a:lnTo>
                <a:lnTo>
                  <a:pt x="1" y="750"/>
                </a:lnTo>
                <a:lnTo>
                  <a:pt x="4" y="740"/>
                </a:lnTo>
                <a:lnTo>
                  <a:pt x="6" y="731"/>
                </a:lnTo>
                <a:lnTo>
                  <a:pt x="13" y="712"/>
                </a:lnTo>
                <a:lnTo>
                  <a:pt x="21" y="693"/>
                </a:lnTo>
                <a:lnTo>
                  <a:pt x="32" y="676"/>
                </a:lnTo>
                <a:lnTo>
                  <a:pt x="44" y="660"/>
                </a:lnTo>
                <a:lnTo>
                  <a:pt x="58" y="645"/>
                </a:lnTo>
                <a:lnTo>
                  <a:pt x="75" y="631"/>
                </a:lnTo>
                <a:lnTo>
                  <a:pt x="92" y="619"/>
                </a:lnTo>
                <a:lnTo>
                  <a:pt x="111" y="607"/>
                </a:lnTo>
                <a:lnTo>
                  <a:pt x="130" y="599"/>
                </a:lnTo>
                <a:lnTo>
                  <a:pt x="152" y="592"/>
                </a:lnTo>
                <a:lnTo>
                  <a:pt x="2327" y="0"/>
                </a:lnTo>
                <a:lnTo>
                  <a:pt x="2327" y="2310"/>
                </a:lnTo>
                <a:lnTo>
                  <a:pt x="759" y="2310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2" name="Freeform 11"/>
          <p:cNvSpPr>
            <a:spLocks/>
          </p:cNvSpPr>
          <p:nvPr userDrawn="1"/>
        </p:nvSpPr>
        <p:spPr bwMode="auto">
          <a:xfrm>
            <a:off x="7248937" y="6127750"/>
            <a:ext cx="1389592" cy="730250"/>
          </a:xfrm>
          <a:custGeom>
            <a:avLst/>
            <a:gdLst>
              <a:gd name="T0" fmla="*/ 0 w 3232"/>
              <a:gd name="T1" fmla="*/ 1840 h 1840"/>
              <a:gd name="T2" fmla="*/ 1817 w 3232"/>
              <a:gd name="T3" fmla="*/ 49 h 1840"/>
              <a:gd name="T4" fmla="*/ 1825 w 3232"/>
              <a:gd name="T5" fmla="*/ 42 h 1840"/>
              <a:gd name="T6" fmla="*/ 1834 w 3232"/>
              <a:gd name="T7" fmla="*/ 35 h 1840"/>
              <a:gd name="T8" fmla="*/ 1842 w 3232"/>
              <a:gd name="T9" fmla="*/ 28 h 1840"/>
              <a:gd name="T10" fmla="*/ 1852 w 3232"/>
              <a:gd name="T11" fmla="*/ 22 h 1840"/>
              <a:gd name="T12" fmla="*/ 1861 w 3232"/>
              <a:gd name="T13" fmla="*/ 18 h 1840"/>
              <a:gd name="T14" fmla="*/ 1870 w 3232"/>
              <a:gd name="T15" fmla="*/ 13 h 1840"/>
              <a:gd name="T16" fmla="*/ 1880 w 3232"/>
              <a:gd name="T17" fmla="*/ 10 h 1840"/>
              <a:gd name="T18" fmla="*/ 1889 w 3232"/>
              <a:gd name="T19" fmla="*/ 7 h 1840"/>
              <a:gd name="T20" fmla="*/ 1899 w 3232"/>
              <a:gd name="T21" fmla="*/ 4 h 1840"/>
              <a:gd name="T22" fmla="*/ 1909 w 3232"/>
              <a:gd name="T23" fmla="*/ 3 h 1840"/>
              <a:gd name="T24" fmla="*/ 1919 w 3232"/>
              <a:gd name="T25" fmla="*/ 1 h 1840"/>
              <a:gd name="T26" fmla="*/ 1928 w 3232"/>
              <a:gd name="T27" fmla="*/ 0 h 1840"/>
              <a:gd name="T28" fmla="*/ 1949 w 3232"/>
              <a:gd name="T29" fmla="*/ 0 h 1840"/>
              <a:gd name="T30" fmla="*/ 1969 w 3232"/>
              <a:gd name="T31" fmla="*/ 4 h 1840"/>
              <a:gd name="T32" fmla="*/ 1989 w 3232"/>
              <a:gd name="T33" fmla="*/ 8 h 1840"/>
              <a:gd name="T34" fmla="*/ 2007 w 3232"/>
              <a:gd name="T35" fmla="*/ 15 h 1840"/>
              <a:gd name="T36" fmla="*/ 2026 w 3232"/>
              <a:gd name="T37" fmla="*/ 25 h 1840"/>
              <a:gd name="T38" fmla="*/ 2045 w 3232"/>
              <a:gd name="T39" fmla="*/ 35 h 1840"/>
              <a:gd name="T40" fmla="*/ 2061 w 3232"/>
              <a:gd name="T41" fmla="*/ 48 h 1840"/>
              <a:gd name="T42" fmla="*/ 2077 w 3232"/>
              <a:gd name="T43" fmla="*/ 63 h 1840"/>
              <a:gd name="T44" fmla="*/ 2092 w 3232"/>
              <a:gd name="T45" fmla="*/ 79 h 1840"/>
              <a:gd name="T46" fmla="*/ 2105 w 3232"/>
              <a:gd name="T47" fmla="*/ 98 h 1840"/>
              <a:gd name="T48" fmla="*/ 3232 w 3232"/>
              <a:gd name="T49" fmla="*/ 1840 h 1840"/>
              <a:gd name="T50" fmla="*/ 0 w 3232"/>
              <a:gd name="T51" fmla="*/ 1840 h 18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232" h="1840">
                <a:moveTo>
                  <a:pt x="0" y="1840"/>
                </a:moveTo>
                <a:lnTo>
                  <a:pt x="1817" y="49"/>
                </a:lnTo>
                <a:lnTo>
                  <a:pt x="1825" y="42"/>
                </a:lnTo>
                <a:lnTo>
                  <a:pt x="1834" y="35"/>
                </a:lnTo>
                <a:lnTo>
                  <a:pt x="1842" y="28"/>
                </a:lnTo>
                <a:lnTo>
                  <a:pt x="1852" y="22"/>
                </a:lnTo>
                <a:lnTo>
                  <a:pt x="1861" y="18"/>
                </a:lnTo>
                <a:lnTo>
                  <a:pt x="1870" y="13"/>
                </a:lnTo>
                <a:lnTo>
                  <a:pt x="1880" y="10"/>
                </a:lnTo>
                <a:lnTo>
                  <a:pt x="1889" y="7"/>
                </a:lnTo>
                <a:lnTo>
                  <a:pt x="1899" y="4"/>
                </a:lnTo>
                <a:lnTo>
                  <a:pt x="1909" y="3"/>
                </a:lnTo>
                <a:lnTo>
                  <a:pt x="1919" y="1"/>
                </a:lnTo>
                <a:lnTo>
                  <a:pt x="1928" y="0"/>
                </a:lnTo>
                <a:lnTo>
                  <a:pt x="1949" y="0"/>
                </a:lnTo>
                <a:lnTo>
                  <a:pt x="1969" y="4"/>
                </a:lnTo>
                <a:lnTo>
                  <a:pt x="1989" y="8"/>
                </a:lnTo>
                <a:lnTo>
                  <a:pt x="2007" y="15"/>
                </a:lnTo>
                <a:lnTo>
                  <a:pt x="2026" y="25"/>
                </a:lnTo>
                <a:lnTo>
                  <a:pt x="2045" y="35"/>
                </a:lnTo>
                <a:lnTo>
                  <a:pt x="2061" y="48"/>
                </a:lnTo>
                <a:lnTo>
                  <a:pt x="2077" y="63"/>
                </a:lnTo>
                <a:lnTo>
                  <a:pt x="2092" y="79"/>
                </a:lnTo>
                <a:lnTo>
                  <a:pt x="2105" y="98"/>
                </a:lnTo>
                <a:lnTo>
                  <a:pt x="3232" y="1840"/>
                </a:lnTo>
                <a:lnTo>
                  <a:pt x="0" y="1840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4" name="Freeform 13"/>
          <p:cNvSpPr>
            <a:spLocks/>
          </p:cNvSpPr>
          <p:nvPr userDrawn="1"/>
        </p:nvSpPr>
        <p:spPr bwMode="auto">
          <a:xfrm>
            <a:off x="5510213" y="4397544"/>
            <a:ext cx="2424906" cy="1976437"/>
          </a:xfrm>
          <a:custGeom>
            <a:avLst/>
            <a:gdLst>
              <a:gd name="T0" fmla="*/ 5548 w 5640"/>
              <a:gd name="T1" fmla="*/ 2360 h 4980"/>
              <a:gd name="T2" fmla="*/ 5567 w 5640"/>
              <a:gd name="T3" fmla="*/ 2372 h 4980"/>
              <a:gd name="T4" fmla="*/ 5584 w 5640"/>
              <a:gd name="T5" fmla="*/ 2385 h 4980"/>
              <a:gd name="T6" fmla="*/ 5598 w 5640"/>
              <a:gd name="T7" fmla="*/ 2400 h 4980"/>
              <a:gd name="T8" fmla="*/ 5611 w 5640"/>
              <a:gd name="T9" fmla="*/ 2415 h 4980"/>
              <a:gd name="T10" fmla="*/ 5621 w 5640"/>
              <a:gd name="T11" fmla="*/ 2432 h 4980"/>
              <a:gd name="T12" fmla="*/ 5629 w 5640"/>
              <a:gd name="T13" fmla="*/ 2451 h 4980"/>
              <a:gd name="T14" fmla="*/ 5639 w 5640"/>
              <a:gd name="T15" fmla="*/ 2490 h 4980"/>
              <a:gd name="T16" fmla="*/ 5640 w 5640"/>
              <a:gd name="T17" fmla="*/ 2531 h 4980"/>
              <a:gd name="T18" fmla="*/ 5632 w 5640"/>
              <a:gd name="T19" fmla="*/ 2572 h 4980"/>
              <a:gd name="T20" fmla="*/ 5616 w 5640"/>
              <a:gd name="T21" fmla="*/ 2611 h 4980"/>
              <a:gd name="T22" fmla="*/ 5591 w 5640"/>
              <a:gd name="T23" fmla="*/ 2648 h 4980"/>
              <a:gd name="T24" fmla="*/ 3873 w 5640"/>
              <a:gd name="T25" fmla="*/ 4768 h 4980"/>
              <a:gd name="T26" fmla="*/ 3834 w 5640"/>
              <a:gd name="T27" fmla="*/ 4811 h 4980"/>
              <a:gd name="T28" fmla="*/ 3792 w 5640"/>
              <a:gd name="T29" fmla="*/ 4850 h 4980"/>
              <a:gd name="T30" fmla="*/ 3750 w 5640"/>
              <a:gd name="T31" fmla="*/ 4882 h 4980"/>
              <a:gd name="T32" fmla="*/ 3707 w 5640"/>
              <a:gd name="T33" fmla="*/ 4910 h 4980"/>
              <a:gd name="T34" fmla="*/ 3664 w 5640"/>
              <a:gd name="T35" fmla="*/ 4933 h 4980"/>
              <a:gd name="T36" fmla="*/ 3620 w 5640"/>
              <a:gd name="T37" fmla="*/ 4952 h 4980"/>
              <a:gd name="T38" fmla="*/ 3576 w 5640"/>
              <a:gd name="T39" fmla="*/ 4966 h 4980"/>
              <a:gd name="T40" fmla="*/ 3530 w 5640"/>
              <a:gd name="T41" fmla="*/ 4975 h 4980"/>
              <a:gd name="T42" fmla="*/ 3486 w 5640"/>
              <a:gd name="T43" fmla="*/ 4980 h 4980"/>
              <a:gd name="T44" fmla="*/ 3441 w 5640"/>
              <a:gd name="T45" fmla="*/ 4980 h 4980"/>
              <a:gd name="T46" fmla="*/ 3397 w 5640"/>
              <a:gd name="T47" fmla="*/ 4976 h 4980"/>
              <a:gd name="T48" fmla="*/ 3351 w 5640"/>
              <a:gd name="T49" fmla="*/ 4968 h 4980"/>
              <a:gd name="T50" fmla="*/ 3306 w 5640"/>
              <a:gd name="T51" fmla="*/ 4957 h 4980"/>
              <a:gd name="T52" fmla="*/ 3262 w 5640"/>
              <a:gd name="T53" fmla="*/ 4941 h 4980"/>
              <a:gd name="T54" fmla="*/ 3218 w 5640"/>
              <a:gd name="T55" fmla="*/ 4923 h 4980"/>
              <a:gd name="T56" fmla="*/ 297 w 5640"/>
              <a:gd name="T57" fmla="*/ 3413 h 4980"/>
              <a:gd name="T58" fmla="*/ 254 w 5640"/>
              <a:gd name="T59" fmla="*/ 3390 h 4980"/>
              <a:gd name="T60" fmla="*/ 215 w 5640"/>
              <a:gd name="T61" fmla="*/ 3363 h 4980"/>
              <a:gd name="T62" fmla="*/ 179 w 5640"/>
              <a:gd name="T63" fmla="*/ 3335 h 4980"/>
              <a:gd name="T64" fmla="*/ 144 w 5640"/>
              <a:gd name="T65" fmla="*/ 3304 h 4980"/>
              <a:gd name="T66" fmla="*/ 113 w 5640"/>
              <a:gd name="T67" fmla="*/ 3270 h 4980"/>
              <a:gd name="T68" fmla="*/ 87 w 5640"/>
              <a:gd name="T69" fmla="*/ 3235 h 4980"/>
              <a:gd name="T70" fmla="*/ 62 w 5640"/>
              <a:gd name="T71" fmla="*/ 3197 h 4980"/>
              <a:gd name="T72" fmla="*/ 43 w 5640"/>
              <a:gd name="T73" fmla="*/ 3156 h 4980"/>
              <a:gd name="T74" fmla="*/ 25 w 5640"/>
              <a:gd name="T75" fmla="*/ 3113 h 4980"/>
              <a:gd name="T76" fmla="*/ 13 w 5640"/>
              <a:gd name="T77" fmla="*/ 3068 h 4980"/>
              <a:gd name="T78" fmla="*/ 4 w 5640"/>
              <a:gd name="T79" fmla="*/ 3020 h 4980"/>
              <a:gd name="T80" fmla="*/ 1 w 5640"/>
              <a:gd name="T81" fmla="*/ 2972 h 4980"/>
              <a:gd name="T82" fmla="*/ 1 w 5640"/>
              <a:gd name="T83" fmla="*/ 2919 h 4980"/>
              <a:gd name="T84" fmla="*/ 5 w 5640"/>
              <a:gd name="T85" fmla="*/ 2865 h 4980"/>
              <a:gd name="T86" fmla="*/ 15 w 5640"/>
              <a:gd name="T87" fmla="*/ 2808 h 4980"/>
              <a:gd name="T88" fmla="*/ 30 w 5640"/>
              <a:gd name="T89" fmla="*/ 2748 h 4980"/>
              <a:gd name="T90" fmla="*/ 764 w 5640"/>
              <a:gd name="T91" fmla="*/ 130 h 4980"/>
              <a:gd name="T92" fmla="*/ 784 w 5640"/>
              <a:gd name="T93" fmla="*/ 90 h 4980"/>
              <a:gd name="T94" fmla="*/ 810 w 5640"/>
              <a:gd name="T95" fmla="*/ 58 h 4980"/>
              <a:gd name="T96" fmla="*/ 841 w 5640"/>
              <a:gd name="T97" fmla="*/ 31 h 4980"/>
              <a:gd name="T98" fmla="*/ 877 w 5640"/>
              <a:gd name="T99" fmla="*/ 11 h 4980"/>
              <a:gd name="T100" fmla="*/ 906 w 5640"/>
              <a:gd name="T101" fmla="*/ 3 h 4980"/>
              <a:gd name="T102" fmla="*/ 926 w 5640"/>
              <a:gd name="T103" fmla="*/ 1 h 4980"/>
              <a:gd name="T104" fmla="*/ 946 w 5640"/>
              <a:gd name="T105" fmla="*/ 0 h 4980"/>
              <a:gd name="T106" fmla="*/ 967 w 5640"/>
              <a:gd name="T107" fmla="*/ 2 h 4980"/>
              <a:gd name="T108" fmla="*/ 986 w 5640"/>
              <a:gd name="T109" fmla="*/ 7 h 4980"/>
              <a:gd name="T110" fmla="*/ 1007 w 5640"/>
              <a:gd name="T111" fmla="*/ 14 h 49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640" h="4980">
                <a:moveTo>
                  <a:pt x="1018" y="20"/>
                </a:moveTo>
                <a:lnTo>
                  <a:pt x="5548" y="2360"/>
                </a:lnTo>
                <a:lnTo>
                  <a:pt x="5557" y="2366"/>
                </a:lnTo>
                <a:lnTo>
                  <a:pt x="5567" y="2372"/>
                </a:lnTo>
                <a:lnTo>
                  <a:pt x="5576" y="2378"/>
                </a:lnTo>
                <a:lnTo>
                  <a:pt x="5584" y="2385"/>
                </a:lnTo>
                <a:lnTo>
                  <a:pt x="5591" y="2392"/>
                </a:lnTo>
                <a:lnTo>
                  <a:pt x="5598" y="2400"/>
                </a:lnTo>
                <a:lnTo>
                  <a:pt x="5605" y="2407"/>
                </a:lnTo>
                <a:lnTo>
                  <a:pt x="5611" y="2415"/>
                </a:lnTo>
                <a:lnTo>
                  <a:pt x="5617" y="2424"/>
                </a:lnTo>
                <a:lnTo>
                  <a:pt x="5621" y="2432"/>
                </a:lnTo>
                <a:lnTo>
                  <a:pt x="5626" y="2442"/>
                </a:lnTo>
                <a:lnTo>
                  <a:pt x="5629" y="2451"/>
                </a:lnTo>
                <a:lnTo>
                  <a:pt x="5635" y="2471"/>
                </a:lnTo>
                <a:lnTo>
                  <a:pt x="5639" y="2490"/>
                </a:lnTo>
                <a:lnTo>
                  <a:pt x="5640" y="2510"/>
                </a:lnTo>
                <a:lnTo>
                  <a:pt x="5640" y="2531"/>
                </a:lnTo>
                <a:lnTo>
                  <a:pt x="5636" y="2551"/>
                </a:lnTo>
                <a:lnTo>
                  <a:pt x="5632" y="2572"/>
                </a:lnTo>
                <a:lnTo>
                  <a:pt x="5625" y="2592"/>
                </a:lnTo>
                <a:lnTo>
                  <a:pt x="5616" y="2611"/>
                </a:lnTo>
                <a:lnTo>
                  <a:pt x="5605" y="2631"/>
                </a:lnTo>
                <a:lnTo>
                  <a:pt x="5591" y="2648"/>
                </a:lnTo>
                <a:lnTo>
                  <a:pt x="3894" y="4745"/>
                </a:lnTo>
                <a:lnTo>
                  <a:pt x="3873" y="4768"/>
                </a:lnTo>
                <a:lnTo>
                  <a:pt x="3854" y="4790"/>
                </a:lnTo>
                <a:lnTo>
                  <a:pt x="3834" y="4811"/>
                </a:lnTo>
                <a:lnTo>
                  <a:pt x="3813" y="4831"/>
                </a:lnTo>
                <a:lnTo>
                  <a:pt x="3792" y="4850"/>
                </a:lnTo>
                <a:lnTo>
                  <a:pt x="3771" y="4867"/>
                </a:lnTo>
                <a:lnTo>
                  <a:pt x="3750" y="4882"/>
                </a:lnTo>
                <a:lnTo>
                  <a:pt x="3729" y="4897"/>
                </a:lnTo>
                <a:lnTo>
                  <a:pt x="3707" y="4910"/>
                </a:lnTo>
                <a:lnTo>
                  <a:pt x="3686" y="4923"/>
                </a:lnTo>
                <a:lnTo>
                  <a:pt x="3664" y="4933"/>
                </a:lnTo>
                <a:lnTo>
                  <a:pt x="3642" y="4944"/>
                </a:lnTo>
                <a:lnTo>
                  <a:pt x="3620" y="4952"/>
                </a:lnTo>
                <a:lnTo>
                  <a:pt x="3598" y="4959"/>
                </a:lnTo>
                <a:lnTo>
                  <a:pt x="3576" y="4966"/>
                </a:lnTo>
                <a:lnTo>
                  <a:pt x="3554" y="4971"/>
                </a:lnTo>
                <a:lnTo>
                  <a:pt x="3530" y="4975"/>
                </a:lnTo>
                <a:lnTo>
                  <a:pt x="3508" y="4978"/>
                </a:lnTo>
                <a:lnTo>
                  <a:pt x="3486" y="4980"/>
                </a:lnTo>
                <a:lnTo>
                  <a:pt x="3464" y="4980"/>
                </a:lnTo>
                <a:lnTo>
                  <a:pt x="3441" y="4980"/>
                </a:lnTo>
                <a:lnTo>
                  <a:pt x="3419" y="4979"/>
                </a:lnTo>
                <a:lnTo>
                  <a:pt x="3397" y="4976"/>
                </a:lnTo>
                <a:lnTo>
                  <a:pt x="3374" y="4973"/>
                </a:lnTo>
                <a:lnTo>
                  <a:pt x="3351" y="4968"/>
                </a:lnTo>
                <a:lnTo>
                  <a:pt x="3329" y="4964"/>
                </a:lnTo>
                <a:lnTo>
                  <a:pt x="3306" y="4957"/>
                </a:lnTo>
                <a:lnTo>
                  <a:pt x="3284" y="4950"/>
                </a:lnTo>
                <a:lnTo>
                  <a:pt x="3262" y="4941"/>
                </a:lnTo>
                <a:lnTo>
                  <a:pt x="3240" y="4932"/>
                </a:lnTo>
                <a:lnTo>
                  <a:pt x="3218" y="4923"/>
                </a:lnTo>
                <a:lnTo>
                  <a:pt x="3196" y="4911"/>
                </a:lnTo>
                <a:lnTo>
                  <a:pt x="297" y="3413"/>
                </a:lnTo>
                <a:lnTo>
                  <a:pt x="275" y="3402"/>
                </a:lnTo>
                <a:lnTo>
                  <a:pt x="254" y="3390"/>
                </a:lnTo>
                <a:lnTo>
                  <a:pt x="234" y="3377"/>
                </a:lnTo>
                <a:lnTo>
                  <a:pt x="215" y="3363"/>
                </a:lnTo>
                <a:lnTo>
                  <a:pt x="196" y="3349"/>
                </a:lnTo>
                <a:lnTo>
                  <a:pt x="179" y="3335"/>
                </a:lnTo>
                <a:lnTo>
                  <a:pt x="161" y="3320"/>
                </a:lnTo>
                <a:lnTo>
                  <a:pt x="144" y="3304"/>
                </a:lnTo>
                <a:lnTo>
                  <a:pt x="129" y="3288"/>
                </a:lnTo>
                <a:lnTo>
                  <a:pt x="113" y="3270"/>
                </a:lnTo>
                <a:lnTo>
                  <a:pt x="99" y="3253"/>
                </a:lnTo>
                <a:lnTo>
                  <a:pt x="87" y="3235"/>
                </a:lnTo>
                <a:lnTo>
                  <a:pt x="74" y="3217"/>
                </a:lnTo>
                <a:lnTo>
                  <a:pt x="62" y="3197"/>
                </a:lnTo>
                <a:lnTo>
                  <a:pt x="52" y="3177"/>
                </a:lnTo>
                <a:lnTo>
                  <a:pt x="43" y="3156"/>
                </a:lnTo>
                <a:lnTo>
                  <a:pt x="33" y="3135"/>
                </a:lnTo>
                <a:lnTo>
                  <a:pt x="25" y="3113"/>
                </a:lnTo>
                <a:lnTo>
                  <a:pt x="18" y="3091"/>
                </a:lnTo>
                <a:lnTo>
                  <a:pt x="13" y="3068"/>
                </a:lnTo>
                <a:lnTo>
                  <a:pt x="8" y="3045"/>
                </a:lnTo>
                <a:lnTo>
                  <a:pt x="4" y="3020"/>
                </a:lnTo>
                <a:lnTo>
                  <a:pt x="2" y="2996"/>
                </a:lnTo>
                <a:lnTo>
                  <a:pt x="1" y="2972"/>
                </a:lnTo>
                <a:lnTo>
                  <a:pt x="0" y="2945"/>
                </a:lnTo>
                <a:lnTo>
                  <a:pt x="1" y="2919"/>
                </a:lnTo>
                <a:lnTo>
                  <a:pt x="2" y="2891"/>
                </a:lnTo>
                <a:lnTo>
                  <a:pt x="5" y="2865"/>
                </a:lnTo>
                <a:lnTo>
                  <a:pt x="10" y="2836"/>
                </a:lnTo>
                <a:lnTo>
                  <a:pt x="15" y="2808"/>
                </a:lnTo>
                <a:lnTo>
                  <a:pt x="22" y="2779"/>
                </a:lnTo>
                <a:lnTo>
                  <a:pt x="30" y="2748"/>
                </a:lnTo>
                <a:lnTo>
                  <a:pt x="757" y="151"/>
                </a:lnTo>
                <a:lnTo>
                  <a:pt x="764" y="130"/>
                </a:lnTo>
                <a:lnTo>
                  <a:pt x="772" y="109"/>
                </a:lnTo>
                <a:lnTo>
                  <a:pt x="784" y="90"/>
                </a:lnTo>
                <a:lnTo>
                  <a:pt x="796" y="73"/>
                </a:lnTo>
                <a:lnTo>
                  <a:pt x="810" y="58"/>
                </a:lnTo>
                <a:lnTo>
                  <a:pt x="825" y="43"/>
                </a:lnTo>
                <a:lnTo>
                  <a:pt x="841" y="31"/>
                </a:lnTo>
                <a:lnTo>
                  <a:pt x="858" y="21"/>
                </a:lnTo>
                <a:lnTo>
                  <a:pt x="877" y="11"/>
                </a:lnTo>
                <a:lnTo>
                  <a:pt x="896" y="6"/>
                </a:lnTo>
                <a:lnTo>
                  <a:pt x="906" y="3"/>
                </a:lnTo>
                <a:lnTo>
                  <a:pt x="915" y="2"/>
                </a:lnTo>
                <a:lnTo>
                  <a:pt x="926" y="1"/>
                </a:lnTo>
                <a:lnTo>
                  <a:pt x="936" y="0"/>
                </a:lnTo>
                <a:lnTo>
                  <a:pt x="946" y="0"/>
                </a:lnTo>
                <a:lnTo>
                  <a:pt x="956" y="1"/>
                </a:lnTo>
                <a:lnTo>
                  <a:pt x="967" y="2"/>
                </a:lnTo>
                <a:lnTo>
                  <a:pt x="977" y="4"/>
                </a:lnTo>
                <a:lnTo>
                  <a:pt x="986" y="7"/>
                </a:lnTo>
                <a:lnTo>
                  <a:pt x="997" y="10"/>
                </a:lnTo>
                <a:lnTo>
                  <a:pt x="1007" y="14"/>
                </a:lnTo>
                <a:lnTo>
                  <a:pt x="1018" y="20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6" name="Группа 15"/>
          <p:cNvGrpSpPr/>
          <p:nvPr userDrawn="1"/>
        </p:nvGrpSpPr>
        <p:grpSpPr>
          <a:xfrm>
            <a:off x="531416" y="487363"/>
            <a:ext cx="2332038" cy="455612"/>
            <a:chOff x="490538" y="487363"/>
            <a:chExt cx="2152650" cy="455612"/>
          </a:xfrm>
        </p:grpSpPr>
        <p:sp>
          <p:nvSpPr>
            <p:cNvPr id="17" name="Freeform 5"/>
            <p:cNvSpPr>
              <a:spLocks noEditPoints="1"/>
            </p:cNvSpPr>
            <p:nvPr userDrawn="1"/>
          </p:nvSpPr>
          <p:spPr bwMode="auto">
            <a:xfrm>
              <a:off x="1144588" y="590550"/>
              <a:ext cx="1498600" cy="247650"/>
            </a:xfrm>
            <a:custGeom>
              <a:avLst/>
              <a:gdLst>
                <a:gd name="T0" fmla="*/ 2465 w 11327"/>
                <a:gd name="T1" fmla="*/ 803 h 1868"/>
                <a:gd name="T2" fmla="*/ 2667 w 11327"/>
                <a:gd name="T3" fmla="*/ 466 h 1868"/>
                <a:gd name="T4" fmla="*/ 3049 w 11327"/>
                <a:gd name="T5" fmla="*/ 345 h 1868"/>
                <a:gd name="T6" fmla="*/ 3430 w 11327"/>
                <a:gd name="T7" fmla="*/ 466 h 1868"/>
                <a:gd name="T8" fmla="*/ 3632 w 11327"/>
                <a:gd name="T9" fmla="*/ 803 h 1868"/>
                <a:gd name="T10" fmla="*/ 3574 w 11327"/>
                <a:gd name="T11" fmla="*/ 1233 h 1868"/>
                <a:gd name="T12" fmla="*/ 3284 w 11327"/>
                <a:gd name="T13" fmla="*/ 1483 h 1868"/>
                <a:gd name="T14" fmla="*/ 2870 w 11327"/>
                <a:gd name="T15" fmla="*/ 1500 h 1868"/>
                <a:gd name="T16" fmla="*/ 2553 w 11327"/>
                <a:gd name="T17" fmla="*/ 1281 h 1868"/>
                <a:gd name="T18" fmla="*/ 4046 w 11327"/>
                <a:gd name="T19" fmla="*/ 882 h 1868"/>
                <a:gd name="T20" fmla="*/ 3784 w 11327"/>
                <a:gd name="T21" fmla="*/ 289 h 1868"/>
                <a:gd name="T22" fmla="*/ 3199 w 11327"/>
                <a:gd name="T23" fmla="*/ 10 h 1868"/>
                <a:gd name="T24" fmla="*/ 2536 w 11327"/>
                <a:gd name="T25" fmla="*/ 125 h 1868"/>
                <a:gd name="T26" fmla="*/ 2113 w 11327"/>
                <a:gd name="T27" fmla="*/ 595 h 1868"/>
                <a:gd name="T28" fmla="*/ 2113 w 11327"/>
                <a:gd name="T29" fmla="*/ 1273 h 1868"/>
                <a:gd name="T30" fmla="*/ 2536 w 11327"/>
                <a:gd name="T31" fmla="*/ 1743 h 1868"/>
                <a:gd name="T32" fmla="*/ 3199 w 11327"/>
                <a:gd name="T33" fmla="*/ 1858 h 1868"/>
                <a:gd name="T34" fmla="*/ 3784 w 11327"/>
                <a:gd name="T35" fmla="*/ 1579 h 1868"/>
                <a:gd name="T36" fmla="*/ 4046 w 11327"/>
                <a:gd name="T37" fmla="*/ 985 h 1868"/>
                <a:gd name="T38" fmla="*/ 4444 w 11327"/>
                <a:gd name="T39" fmla="*/ 1443 h 1868"/>
                <a:gd name="T40" fmla="*/ 4540 w 11327"/>
                <a:gd name="T41" fmla="*/ 1808 h 1868"/>
                <a:gd name="T42" fmla="*/ 4811 w 11327"/>
                <a:gd name="T43" fmla="*/ 1650 h 1868"/>
                <a:gd name="T44" fmla="*/ 5796 w 11327"/>
                <a:gd name="T45" fmla="*/ 403 h 1868"/>
                <a:gd name="T46" fmla="*/ 7304 w 11327"/>
                <a:gd name="T47" fmla="*/ 1292 h 1868"/>
                <a:gd name="T48" fmla="*/ 7673 w 11327"/>
                <a:gd name="T49" fmla="*/ 1730 h 1868"/>
                <a:gd name="T50" fmla="*/ 8267 w 11327"/>
                <a:gd name="T51" fmla="*/ 1867 h 1868"/>
                <a:gd name="T52" fmla="*/ 8871 w 11327"/>
                <a:gd name="T53" fmla="*/ 1653 h 1868"/>
                <a:gd name="T54" fmla="*/ 9178 w 11327"/>
                <a:gd name="T55" fmla="*/ 1094 h 1868"/>
                <a:gd name="T56" fmla="*/ 9049 w 11327"/>
                <a:gd name="T57" fmla="*/ 414 h 1868"/>
                <a:gd name="T58" fmla="*/ 8552 w 11327"/>
                <a:gd name="T59" fmla="*/ 48 h 1868"/>
                <a:gd name="T60" fmla="*/ 7924 w 11327"/>
                <a:gd name="T61" fmla="*/ 36 h 1868"/>
                <a:gd name="T62" fmla="*/ 7459 w 11327"/>
                <a:gd name="T63" fmla="*/ 313 h 1868"/>
                <a:gd name="T64" fmla="*/ 6585 w 11327"/>
                <a:gd name="T65" fmla="*/ 42 h 1868"/>
                <a:gd name="T66" fmla="*/ 7740 w 11327"/>
                <a:gd name="T67" fmla="*/ 563 h 1868"/>
                <a:gd name="T68" fmla="*/ 8053 w 11327"/>
                <a:gd name="T69" fmla="*/ 361 h 1868"/>
                <a:gd name="T70" fmla="*/ 8492 w 11327"/>
                <a:gd name="T71" fmla="*/ 396 h 1868"/>
                <a:gd name="T72" fmla="*/ 8744 w 11327"/>
                <a:gd name="T73" fmla="*/ 660 h 1868"/>
                <a:gd name="T74" fmla="*/ 8775 w 11327"/>
                <a:gd name="T75" fmla="*/ 1095 h 1868"/>
                <a:gd name="T76" fmla="*/ 8585 w 11327"/>
                <a:gd name="T77" fmla="*/ 1418 h 1868"/>
                <a:gd name="T78" fmla="*/ 8182 w 11327"/>
                <a:gd name="T79" fmla="*/ 1522 h 1868"/>
                <a:gd name="T80" fmla="*/ 7807 w 11327"/>
                <a:gd name="T81" fmla="*/ 1385 h 1868"/>
                <a:gd name="T82" fmla="*/ 7649 w 11327"/>
                <a:gd name="T83" fmla="*/ 1033 h 1868"/>
                <a:gd name="T84" fmla="*/ 11121 w 11327"/>
                <a:gd name="T85" fmla="*/ 228 h 1868"/>
                <a:gd name="T86" fmla="*/ 10716 w 11327"/>
                <a:gd name="T87" fmla="*/ 30 h 1868"/>
                <a:gd name="T88" fmla="*/ 10126 w 11327"/>
                <a:gd name="T89" fmla="*/ 37 h 1868"/>
                <a:gd name="T90" fmla="*/ 9598 w 11327"/>
                <a:gd name="T91" fmla="*/ 385 h 1868"/>
                <a:gd name="T92" fmla="*/ 9435 w 11327"/>
                <a:gd name="T93" fmla="*/ 1039 h 1868"/>
                <a:gd name="T94" fmla="*/ 9714 w 11327"/>
                <a:gd name="T95" fmla="*/ 1617 h 1868"/>
                <a:gd name="T96" fmla="*/ 10320 w 11327"/>
                <a:gd name="T97" fmla="*/ 1863 h 1868"/>
                <a:gd name="T98" fmla="*/ 10845 w 11327"/>
                <a:gd name="T99" fmla="*/ 1799 h 1868"/>
                <a:gd name="T100" fmla="*/ 11211 w 11327"/>
                <a:gd name="T101" fmla="*/ 1551 h 1868"/>
                <a:gd name="T102" fmla="*/ 10919 w 11327"/>
                <a:gd name="T103" fmla="*/ 1325 h 1868"/>
                <a:gd name="T104" fmla="*/ 10676 w 11327"/>
                <a:gd name="T105" fmla="*/ 1473 h 1868"/>
                <a:gd name="T106" fmla="*/ 10324 w 11327"/>
                <a:gd name="T107" fmla="*/ 1504 h 1868"/>
                <a:gd name="T108" fmla="*/ 9975 w 11327"/>
                <a:gd name="T109" fmla="*/ 1332 h 1868"/>
                <a:gd name="T110" fmla="*/ 9831 w 11327"/>
                <a:gd name="T111" fmla="*/ 966 h 1868"/>
                <a:gd name="T112" fmla="*/ 9938 w 11327"/>
                <a:gd name="T113" fmla="*/ 575 h 1868"/>
                <a:gd name="T114" fmla="*/ 10261 w 11327"/>
                <a:gd name="T115" fmla="*/ 373 h 1868"/>
                <a:gd name="T116" fmla="*/ 10634 w 11327"/>
                <a:gd name="T117" fmla="*/ 382 h 1868"/>
                <a:gd name="T118" fmla="*/ 10890 w 11327"/>
                <a:gd name="T119" fmla="*/ 515 h 1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27" h="1868">
                  <a:moveTo>
                    <a:pt x="0" y="42"/>
                  </a:moveTo>
                  <a:lnTo>
                    <a:pt x="0" y="1822"/>
                  </a:lnTo>
                  <a:lnTo>
                    <a:pt x="399" y="1822"/>
                  </a:lnTo>
                  <a:lnTo>
                    <a:pt x="399" y="400"/>
                  </a:lnTo>
                  <a:lnTo>
                    <a:pt x="1352" y="400"/>
                  </a:lnTo>
                  <a:lnTo>
                    <a:pt x="1352" y="1822"/>
                  </a:lnTo>
                  <a:lnTo>
                    <a:pt x="1755" y="1822"/>
                  </a:lnTo>
                  <a:lnTo>
                    <a:pt x="1755" y="42"/>
                  </a:lnTo>
                  <a:lnTo>
                    <a:pt x="0" y="42"/>
                  </a:lnTo>
                  <a:close/>
                  <a:moveTo>
                    <a:pt x="2454" y="933"/>
                  </a:moveTo>
                  <a:lnTo>
                    <a:pt x="2454" y="900"/>
                  </a:lnTo>
                  <a:lnTo>
                    <a:pt x="2457" y="866"/>
                  </a:lnTo>
                  <a:lnTo>
                    <a:pt x="2460" y="835"/>
                  </a:lnTo>
                  <a:lnTo>
                    <a:pt x="2465" y="803"/>
                  </a:lnTo>
                  <a:lnTo>
                    <a:pt x="2472" y="773"/>
                  </a:lnTo>
                  <a:lnTo>
                    <a:pt x="2480" y="743"/>
                  </a:lnTo>
                  <a:lnTo>
                    <a:pt x="2489" y="715"/>
                  </a:lnTo>
                  <a:lnTo>
                    <a:pt x="2499" y="686"/>
                  </a:lnTo>
                  <a:lnTo>
                    <a:pt x="2511" y="660"/>
                  </a:lnTo>
                  <a:lnTo>
                    <a:pt x="2524" y="634"/>
                  </a:lnTo>
                  <a:lnTo>
                    <a:pt x="2538" y="610"/>
                  </a:lnTo>
                  <a:lnTo>
                    <a:pt x="2553" y="586"/>
                  </a:lnTo>
                  <a:lnTo>
                    <a:pt x="2570" y="563"/>
                  </a:lnTo>
                  <a:lnTo>
                    <a:pt x="2588" y="542"/>
                  </a:lnTo>
                  <a:lnTo>
                    <a:pt x="2606" y="521"/>
                  </a:lnTo>
                  <a:lnTo>
                    <a:pt x="2626" y="501"/>
                  </a:lnTo>
                  <a:lnTo>
                    <a:pt x="2646" y="483"/>
                  </a:lnTo>
                  <a:lnTo>
                    <a:pt x="2667" y="466"/>
                  </a:lnTo>
                  <a:lnTo>
                    <a:pt x="2691" y="449"/>
                  </a:lnTo>
                  <a:lnTo>
                    <a:pt x="2713" y="434"/>
                  </a:lnTo>
                  <a:lnTo>
                    <a:pt x="2737" y="420"/>
                  </a:lnTo>
                  <a:lnTo>
                    <a:pt x="2763" y="408"/>
                  </a:lnTo>
                  <a:lnTo>
                    <a:pt x="2788" y="396"/>
                  </a:lnTo>
                  <a:lnTo>
                    <a:pt x="2815" y="385"/>
                  </a:lnTo>
                  <a:lnTo>
                    <a:pt x="2842" y="375"/>
                  </a:lnTo>
                  <a:lnTo>
                    <a:pt x="2870" y="367"/>
                  </a:lnTo>
                  <a:lnTo>
                    <a:pt x="2898" y="361"/>
                  </a:lnTo>
                  <a:lnTo>
                    <a:pt x="2928" y="355"/>
                  </a:lnTo>
                  <a:lnTo>
                    <a:pt x="2957" y="351"/>
                  </a:lnTo>
                  <a:lnTo>
                    <a:pt x="2988" y="347"/>
                  </a:lnTo>
                  <a:lnTo>
                    <a:pt x="3018" y="345"/>
                  </a:lnTo>
                  <a:lnTo>
                    <a:pt x="3049" y="345"/>
                  </a:lnTo>
                  <a:lnTo>
                    <a:pt x="3080" y="345"/>
                  </a:lnTo>
                  <a:lnTo>
                    <a:pt x="3111" y="347"/>
                  </a:lnTo>
                  <a:lnTo>
                    <a:pt x="3141" y="351"/>
                  </a:lnTo>
                  <a:lnTo>
                    <a:pt x="3171" y="355"/>
                  </a:lnTo>
                  <a:lnTo>
                    <a:pt x="3200" y="361"/>
                  </a:lnTo>
                  <a:lnTo>
                    <a:pt x="3229" y="367"/>
                  </a:lnTo>
                  <a:lnTo>
                    <a:pt x="3256" y="375"/>
                  </a:lnTo>
                  <a:lnTo>
                    <a:pt x="3284" y="385"/>
                  </a:lnTo>
                  <a:lnTo>
                    <a:pt x="3310" y="396"/>
                  </a:lnTo>
                  <a:lnTo>
                    <a:pt x="3335" y="408"/>
                  </a:lnTo>
                  <a:lnTo>
                    <a:pt x="3361" y="420"/>
                  </a:lnTo>
                  <a:lnTo>
                    <a:pt x="3384" y="434"/>
                  </a:lnTo>
                  <a:lnTo>
                    <a:pt x="3408" y="449"/>
                  </a:lnTo>
                  <a:lnTo>
                    <a:pt x="3430" y="466"/>
                  </a:lnTo>
                  <a:lnTo>
                    <a:pt x="3452" y="483"/>
                  </a:lnTo>
                  <a:lnTo>
                    <a:pt x="3473" y="501"/>
                  </a:lnTo>
                  <a:lnTo>
                    <a:pt x="3492" y="521"/>
                  </a:lnTo>
                  <a:lnTo>
                    <a:pt x="3510" y="542"/>
                  </a:lnTo>
                  <a:lnTo>
                    <a:pt x="3528" y="563"/>
                  </a:lnTo>
                  <a:lnTo>
                    <a:pt x="3545" y="586"/>
                  </a:lnTo>
                  <a:lnTo>
                    <a:pt x="3560" y="610"/>
                  </a:lnTo>
                  <a:lnTo>
                    <a:pt x="3574" y="634"/>
                  </a:lnTo>
                  <a:lnTo>
                    <a:pt x="3587" y="660"/>
                  </a:lnTo>
                  <a:lnTo>
                    <a:pt x="3599" y="686"/>
                  </a:lnTo>
                  <a:lnTo>
                    <a:pt x="3609" y="715"/>
                  </a:lnTo>
                  <a:lnTo>
                    <a:pt x="3618" y="743"/>
                  </a:lnTo>
                  <a:lnTo>
                    <a:pt x="3626" y="773"/>
                  </a:lnTo>
                  <a:lnTo>
                    <a:pt x="3632" y="803"/>
                  </a:lnTo>
                  <a:lnTo>
                    <a:pt x="3637" y="835"/>
                  </a:lnTo>
                  <a:lnTo>
                    <a:pt x="3642" y="866"/>
                  </a:lnTo>
                  <a:lnTo>
                    <a:pt x="3644" y="900"/>
                  </a:lnTo>
                  <a:lnTo>
                    <a:pt x="3645" y="933"/>
                  </a:lnTo>
                  <a:lnTo>
                    <a:pt x="3644" y="968"/>
                  </a:lnTo>
                  <a:lnTo>
                    <a:pt x="3642" y="1001"/>
                  </a:lnTo>
                  <a:lnTo>
                    <a:pt x="3637" y="1033"/>
                  </a:lnTo>
                  <a:lnTo>
                    <a:pt x="3632" y="1065"/>
                  </a:lnTo>
                  <a:lnTo>
                    <a:pt x="3626" y="1095"/>
                  </a:lnTo>
                  <a:lnTo>
                    <a:pt x="3618" y="1125"/>
                  </a:lnTo>
                  <a:lnTo>
                    <a:pt x="3609" y="1153"/>
                  </a:lnTo>
                  <a:lnTo>
                    <a:pt x="3599" y="1181"/>
                  </a:lnTo>
                  <a:lnTo>
                    <a:pt x="3587" y="1207"/>
                  </a:lnTo>
                  <a:lnTo>
                    <a:pt x="3574" y="1233"/>
                  </a:lnTo>
                  <a:lnTo>
                    <a:pt x="3560" y="1258"/>
                  </a:lnTo>
                  <a:lnTo>
                    <a:pt x="3545" y="1281"/>
                  </a:lnTo>
                  <a:lnTo>
                    <a:pt x="3528" y="1305"/>
                  </a:lnTo>
                  <a:lnTo>
                    <a:pt x="3510" y="1326"/>
                  </a:lnTo>
                  <a:lnTo>
                    <a:pt x="3492" y="1346"/>
                  </a:lnTo>
                  <a:lnTo>
                    <a:pt x="3473" y="1366"/>
                  </a:lnTo>
                  <a:lnTo>
                    <a:pt x="3452" y="1385"/>
                  </a:lnTo>
                  <a:lnTo>
                    <a:pt x="3430" y="1402"/>
                  </a:lnTo>
                  <a:lnTo>
                    <a:pt x="3408" y="1418"/>
                  </a:lnTo>
                  <a:lnTo>
                    <a:pt x="3384" y="1434"/>
                  </a:lnTo>
                  <a:lnTo>
                    <a:pt x="3361" y="1447"/>
                  </a:lnTo>
                  <a:lnTo>
                    <a:pt x="3335" y="1460"/>
                  </a:lnTo>
                  <a:lnTo>
                    <a:pt x="3310" y="1472"/>
                  </a:lnTo>
                  <a:lnTo>
                    <a:pt x="3284" y="1483"/>
                  </a:lnTo>
                  <a:lnTo>
                    <a:pt x="3256" y="1492"/>
                  </a:lnTo>
                  <a:lnTo>
                    <a:pt x="3229" y="1500"/>
                  </a:lnTo>
                  <a:lnTo>
                    <a:pt x="3200" y="1507"/>
                  </a:lnTo>
                  <a:lnTo>
                    <a:pt x="3171" y="1513"/>
                  </a:lnTo>
                  <a:lnTo>
                    <a:pt x="3141" y="1517"/>
                  </a:lnTo>
                  <a:lnTo>
                    <a:pt x="3111" y="1520"/>
                  </a:lnTo>
                  <a:lnTo>
                    <a:pt x="3080" y="1522"/>
                  </a:lnTo>
                  <a:lnTo>
                    <a:pt x="3049" y="1523"/>
                  </a:lnTo>
                  <a:lnTo>
                    <a:pt x="3018" y="1522"/>
                  </a:lnTo>
                  <a:lnTo>
                    <a:pt x="2988" y="1520"/>
                  </a:lnTo>
                  <a:lnTo>
                    <a:pt x="2957" y="1517"/>
                  </a:lnTo>
                  <a:lnTo>
                    <a:pt x="2928" y="1513"/>
                  </a:lnTo>
                  <a:lnTo>
                    <a:pt x="2898" y="1507"/>
                  </a:lnTo>
                  <a:lnTo>
                    <a:pt x="2870" y="1500"/>
                  </a:lnTo>
                  <a:lnTo>
                    <a:pt x="2842" y="1492"/>
                  </a:lnTo>
                  <a:lnTo>
                    <a:pt x="2815" y="1483"/>
                  </a:lnTo>
                  <a:lnTo>
                    <a:pt x="2788" y="1472"/>
                  </a:lnTo>
                  <a:lnTo>
                    <a:pt x="2763" y="1460"/>
                  </a:lnTo>
                  <a:lnTo>
                    <a:pt x="2737" y="1447"/>
                  </a:lnTo>
                  <a:lnTo>
                    <a:pt x="2713" y="1434"/>
                  </a:lnTo>
                  <a:lnTo>
                    <a:pt x="2691" y="1418"/>
                  </a:lnTo>
                  <a:lnTo>
                    <a:pt x="2667" y="1402"/>
                  </a:lnTo>
                  <a:lnTo>
                    <a:pt x="2646" y="1385"/>
                  </a:lnTo>
                  <a:lnTo>
                    <a:pt x="2626" y="1366"/>
                  </a:lnTo>
                  <a:lnTo>
                    <a:pt x="2606" y="1346"/>
                  </a:lnTo>
                  <a:lnTo>
                    <a:pt x="2588" y="1326"/>
                  </a:lnTo>
                  <a:lnTo>
                    <a:pt x="2570" y="1305"/>
                  </a:lnTo>
                  <a:lnTo>
                    <a:pt x="2553" y="1281"/>
                  </a:lnTo>
                  <a:lnTo>
                    <a:pt x="2538" y="1258"/>
                  </a:lnTo>
                  <a:lnTo>
                    <a:pt x="2524" y="1233"/>
                  </a:lnTo>
                  <a:lnTo>
                    <a:pt x="2511" y="1207"/>
                  </a:lnTo>
                  <a:lnTo>
                    <a:pt x="2499" y="1181"/>
                  </a:lnTo>
                  <a:lnTo>
                    <a:pt x="2489" y="1153"/>
                  </a:lnTo>
                  <a:lnTo>
                    <a:pt x="2480" y="1125"/>
                  </a:lnTo>
                  <a:lnTo>
                    <a:pt x="2472" y="1095"/>
                  </a:lnTo>
                  <a:lnTo>
                    <a:pt x="2465" y="1065"/>
                  </a:lnTo>
                  <a:lnTo>
                    <a:pt x="2460" y="1033"/>
                  </a:lnTo>
                  <a:lnTo>
                    <a:pt x="2457" y="1001"/>
                  </a:lnTo>
                  <a:lnTo>
                    <a:pt x="2454" y="968"/>
                  </a:lnTo>
                  <a:lnTo>
                    <a:pt x="2454" y="933"/>
                  </a:lnTo>
                  <a:close/>
                  <a:moveTo>
                    <a:pt x="4047" y="933"/>
                  </a:moveTo>
                  <a:lnTo>
                    <a:pt x="4046" y="882"/>
                  </a:lnTo>
                  <a:lnTo>
                    <a:pt x="4042" y="831"/>
                  </a:lnTo>
                  <a:lnTo>
                    <a:pt x="4035" y="781"/>
                  </a:lnTo>
                  <a:lnTo>
                    <a:pt x="4026" y="733"/>
                  </a:lnTo>
                  <a:lnTo>
                    <a:pt x="4015" y="685"/>
                  </a:lnTo>
                  <a:lnTo>
                    <a:pt x="4002" y="640"/>
                  </a:lnTo>
                  <a:lnTo>
                    <a:pt x="3985" y="595"/>
                  </a:lnTo>
                  <a:lnTo>
                    <a:pt x="3967" y="551"/>
                  </a:lnTo>
                  <a:lnTo>
                    <a:pt x="3947" y="509"/>
                  </a:lnTo>
                  <a:lnTo>
                    <a:pt x="3924" y="469"/>
                  </a:lnTo>
                  <a:lnTo>
                    <a:pt x="3900" y="430"/>
                  </a:lnTo>
                  <a:lnTo>
                    <a:pt x="3874" y="392"/>
                  </a:lnTo>
                  <a:lnTo>
                    <a:pt x="3846" y="356"/>
                  </a:lnTo>
                  <a:lnTo>
                    <a:pt x="3815" y="321"/>
                  </a:lnTo>
                  <a:lnTo>
                    <a:pt x="3784" y="289"/>
                  </a:lnTo>
                  <a:lnTo>
                    <a:pt x="3751" y="257"/>
                  </a:lnTo>
                  <a:lnTo>
                    <a:pt x="3716" y="227"/>
                  </a:lnTo>
                  <a:lnTo>
                    <a:pt x="3679" y="199"/>
                  </a:lnTo>
                  <a:lnTo>
                    <a:pt x="3642" y="173"/>
                  </a:lnTo>
                  <a:lnTo>
                    <a:pt x="3603" y="147"/>
                  </a:lnTo>
                  <a:lnTo>
                    <a:pt x="3562" y="125"/>
                  </a:lnTo>
                  <a:lnTo>
                    <a:pt x="3521" y="104"/>
                  </a:lnTo>
                  <a:lnTo>
                    <a:pt x="3477" y="84"/>
                  </a:lnTo>
                  <a:lnTo>
                    <a:pt x="3433" y="67"/>
                  </a:lnTo>
                  <a:lnTo>
                    <a:pt x="3388" y="52"/>
                  </a:lnTo>
                  <a:lnTo>
                    <a:pt x="3342" y="39"/>
                  </a:lnTo>
                  <a:lnTo>
                    <a:pt x="3295" y="26"/>
                  </a:lnTo>
                  <a:lnTo>
                    <a:pt x="3247" y="17"/>
                  </a:lnTo>
                  <a:lnTo>
                    <a:pt x="3199" y="10"/>
                  </a:lnTo>
                  <a:lnTo>
                    <a:pt x="3149" y="4"/>
                  </a:lnTo>
                  <a:lnTo>
                    <a:pt x="3099" y="1"/>
                  </a:lnTo>
                  <a:lnTo>
                    <a:pt x="3049" y="0"/>
                  </a:lnTo>
                  <a:lnTo>
                    <a:pt x="2999" y="1"/>
                  </a:lnTo>
                  <a:lnTo>
                    <a:pt x="2949" y="4"/>
                  </a:lnTo>
                  <a:lnTo>
                    <a:pt x="2899" y="10"/>
                  </a:lnTo>
                  <a:lnTo>
                    <a:pt x="2851" y="17"/>
                  </a:lnTo>
                  <a:lnTo>
                    <a:pt x="2804" y="26"/>
                  </a:lnTo>
                  <a:lnTo>
                    <a:pt x="2756" y="39"/>
                  </a:lnTo>
                  <a:lnTo>
                    <a:pt x="2710" y="52"/>
                  </a:lnTo>
                  <a:lnTo>
                    <a:pt x="2665" y="67"/>
                  </a:lnTo>
                  <a:lnTo>
                    <a:pt x="2620" y="84"/>
                  </a:lnTo>
                  <a:lnTo>
                    <a:pt x="2578" y="104"/>
                  </a:lnTo>
                  <a:lnTo>
                    <a:pt x="2536" y="125"/>
                  </a:lnTo>
                  <a:lnTo>
                    <a:pt x="2495" y="147"/>
                  </a:lnTo>
                  <a:lnTo>
                    <a:pt x="2457" y="173"/>
                  </a:lnTo>
                  <a:lnTo>
                    <a:pt x="2418" y="199"/>
                  </a:lnTo>
                  <a:lnTo>
                    <a:pt x="2382" y="227"/>
                  </a:lnTo>
                  <a:lnTo>
                    <a:pt x="2347" y="257"/>
                  </a:lnTo>
                  <a:lnTo>
                    <a:pt x="2313" y="289"/>
                  </a:lnTo>
                  <a:lnTo>
                    <a:pt x="2282" y="321"/>
                  </a:lnTo>
                  <a:lnTo>
                    <a:pt x="2252" y="356"/>
                  </a:lnTo>
                  <a:lnTo>
                    <a:pt x="2224" y="392"/>
                  </a:lnTo>
                  <a:lnTo>
                    <a:pt x="2197" y="430"/>
                  </a:lnTo>
                  <a:lnTo>
                    <a:pt x="2173" y="469"/>
                  </a:lnTo>
                  <a:lnTo>
                    <a:pt x="2152" y="509"/>
                  </a:lnTo>
                  <a:lnTo>
                    <a:pt x="2131" y="551"/>
                  </a:lnTo>
                  <a:lnTo>
                    <a:pt x="2113" y="595"/>
                  </a:lnTo>
                  <a:lnTo>
                    <a:pt x="2097" y="640"/>
                  </a:lnTo>
                  <a:lnTo>
                    <a:pt x="2083" y="685"/>
                  </a:lnTo>
                  <a:lnTo>
                    <a:pt x="2071" y="733"/>
                  </a:lnTo>
                  <a:lnTo>
                    <a:pt x="2063" y="781"/>
                  </a:lnTo>
                  <a:lnTo>
                    <a:pt x="2056" y="831"/>
                  </a:lnTo>
                  <a:lnTo>
                    <a:pt x="2052" y="882"/>
                  </a:lnTo>
                  <a:lnTo>
                    <a:pt x="2051" y="933"/>
                  </a:lnTo>
                  <a:lnTo>
                    <a:pt x="2052" y="985"/>
                  </a:lnTo>
                  <a:lnTo>
                    <a:pt x="2056" y="1036"/>
                  </a:lnTo>
                  <a:lnTo>
                    <a:pt x="2063" y="1086"/>
                  </a:lnTo>
                  <a:lnTo>
                    <a:pt x="2071" y="1135"/>
                  </a:lnTo>
                  <a:lnTo>
                    <a:pt x="2083" y="1182"/>
                  </a:lnTo>
                  <a:lnTo>
                    <a:pt x="2097" y="1228"/>
                  </a:lnTo>
                  <a:lnTo>
                    <a:pt x="2113" y="1273"/>
                  </a:lnTo>
                  <a:lnTo>
                    <a:pt x="2131" y="1316"/>
                  </a:lnTo>
                  <a:lnTo>
                    <a:pt x="2152" y="1357"/>
                  </a:lnTo>
                  <a:lnTo>
                    <a:pt x="2173" y="1398"/>
                  </a:lnTo>
                  <a:lnTo>
                    <a:pt x="2197" y="1438"/>
                  </a:lnTo>
                  <a:lnTo>
                    <a:pt x="2224" y="1475"/>
                  </a:lnTo>
                  <a:lnTo>
                    <a:pt x="2252" y="1512"/>
                  </a:lnTo>
                  <a:lnTo>
                    <a:pt x="2282" y="1547"/>
                  </a:lnTo>
                  <a:lnTo>
                    <a:pt x="2313" y="1579"/>
                  </a:lnTo>
                  <a:lnTo>
                    <a:pt x="2347" y="1611"/>
                  </a:lnTo>
                  <a:lnTo>
                    <a:pt x="2382" y="1640"/>
                  </a:lnTo>
                  <a:lnTo>
                    <a:pt x="2418" y="1669"/>
                  </a:lnTo>
                  <a:lnTo>
                    <a:pt x="2457" y="1695"/>
                  </a:lnTo>
                  <a:lnTo>
                    <a:pt x="2495" y="1719"/>
                  </a:lnTo>
                  <a:lnTo>
                    <a:pt x="2536" y="1743"/>
                  </a:lnTo>
                  <a:lnTo>
                    <a:pt x="2578" y="1764"/>
                  </a:lnTo>
                  <a:lnTo>
                    <a:pt x="2620" y="1782"/>
                  </a:lnTo>
                  <a:lnTo>
                    <a:pt x="2665" y="1801"/>
                  </a:lnTo>
                  <a:lnTo>
                    <a:pt x="2710" y="1816"/>
                  </a:lnTo>
                  <a:lnTo>
                    <a:pt x="2756" y="1829"/>
                  </a:lnTo>
                  <a:lnTo>
                    <a:pt x="2804" y="1840"/>
                  </a:lnTo>
                  <a:lnTo>
                    <a:pt x="2851" y="1851"/>
                  </a:lnTo>
                  <a:lnTo>
                    <a:pt x="2899" y="1858"/>
                  </a:lnTo>
                  <a:lnTo>
                    <a:pt x="2949" y="1863"/>
                  </a:lnTo>
                  <a:lnTo>
                    <a:pt x="2999" y="1866"/>
                  </a:lnTo>
                  <a:lnTo>
                    <a:pt x="3049" y="1868"/>
                  </a:lnTo>
                  <a:lnTo>
                    <a:pt x="3099" y="1866"/>
                  </a:lnTo>
                  <a:lnTo>
                    <a:pt x="3149" y="1863"/>
                  </a:lnTo>
                  <a:lnTo>
                    <a:pt x="3199" y="1858"/>
                  </a:lnTo>
                  <a:lnTo>
                    <a:pt x="3247" y="1851"/>
                  </a:lnTo>
                  <a:lnTo>
                    <a:pt x="3295" y="1840"/>
                  </a:lnTo>
                  <a:lnTo>
                    <a:pt x="3342" y="1829"/>
                  </a:lnTo>
                  <a:lnTo>
                    <a:pt x="3388" y="1816"/>
                  </a:lnTo>
                  <a:lnTo>
                    <a:pt x="3433" y="1801"/>
                  </a:lnTo>
                  <a:lnTo>
                    <a:pt x="3477" y="1782"/>
                  </a:lnTo>
                  <a:lnTo>
                    <a:pt x="3521" y="1764"/>
                  </a:lnTo>
                  <a:lnTo>
                    <a:pt x="3562" y="1743"/>
                  </a:lnTo>
                  <a:lnTo>
                    <a:pt x="3603" y="1719"/>
                  </a:lnTo>
                  <a:lnTo>
                    <a:pt x="3642" y="1695"/>
                  </a:lnTo>
                  <a:lnTo>
                    <a:pt x="3679" y="1669"/>
                  </a:lnTo>
                  <a:lnTo>
                    <a:pt x="3716" y="1640"/>
                  </a:lnTo>
                  <a:lnTo>
                    <a:pt x="3751" y="1611"/>
                  </a:lnTo>
                  <a:lnTo>
                    <a:pt x="3784" y="1579"/>
                  </a:lnTo>
                  <a:lnTo>
                    <a:pt x="3815" y="1547"/>
                  </a:lnTo>
                  <a:lnTo>
                    <a:pt x="3846" y="1512"/>
                  </a:lnTo>
                  <a:lnTo>
                    <a:pt x="3874" y="1475"/>
                  </a:lnTo>
                  <a:lnTo>
                    <a:pt x="3900" y="1438"/>
                  </a:lnTo>
                  <a:lnTo>
                    <a:pt x="3924" y="1398"/>
                  </a:lnTo>
                  <a:lnTo>
                    <a:pt x="3947" y="1357"/>
                  </a:lnTo>
                  <a:lnTo>
                    <a:pt x="3967" y="1316"/>
                  </a:lnTo>
                  <a:lnTo>
                    <a:pt x="3985" y="1273"/>
                  </a:lnTo>
                  <a:lnTo>
                    <a:pt x="4002" y="1228"/>
                  </a:lnTo>
                  <a:lnTo>
                    <a:pt x="4015" y="1182"/>
                  </a:lnTo>
                  <a:lnTo>
                    <a:pt x="4026" y="1135"/>
                  </a:lnTo>
                  <a:lnTo>
                    <a:pt x="4035" y="1086"/>
                  </a:lnTo>
                  <a:lnTo>
                    <a:pt x="4042" y="1036"/>
                  </a:lnTo>
                  <a:lnTo>
                    <a:pt x="4046" y="985"/>
                  </a:lnTo>
                  <a:lnTo>
                    <a:pt x="4047" y="933"/>
                  </a:lnTo>
                  <a:close/>
                  <a:moveTo>
                    <a:pt x="4779" y="42"/>
                  </a:moveTo>
                  <a:lnTo>
                    <a:pt x="4540" y="1317"/>
                  </a:lnTo>
                  <a:lnTo>
                    <a:pt x="4535" y="1334"/>
                  </a:lnTo>
                  <a:lnTo>
                    <a:pt x="4530" y="1350"/>
                  </a:lnTo>
                  <a:lnTo>
                    <a:pt x="4524" y="1366"/>
                  </a:lnTo>
                  <a:lnTo>
                    <a:pt x="4517" y="1379"/>
                  </a:lnTo>
                  <a:lnTo>
                    <a:pt x="4510" y="1392"/>
                  </a:lnTo>
                  <a:lnTo>
                    <a:pt x="4501" y="1403"/>
                  </a:lnTo>
                  <a:lnTo>
                    <a:pt x="4491" y="1413"/>
                  </a:lnTo>
                  <a:lnTo>
                    <a:pt x="4481" y="1423"/>
                  </a:lnTo>
                  <a:lnTo>
                    <a:pt x="4469" y="1431"/>
                  </a:lnTo>
                  <a:lnTo>
                    <a:pt x="4457" y="1437"/>
                  </a:lnTo>
                  <a:lnTo>
                    <a:pt x="4444" y="1443"/>
                  </a:lnTo>
                  <a:lnTo>
                    <a:pt x="4430" y="1447"/>
                  </a:lnTo>
                  <a:lnTo>
                    <a:pt x="4415" y="1451"/>
                  </a:lnTo>
                  <a:lnTo>
                    <a:pt x="4399" y="1453"/>
                  </a:lnTo>
                  <a:lnTo>
                    <a:pt x="4383" y="1455"/>
                  </a:lnTo>
                  <a:lnTo>
                    <a:pt x="4366" y="1455"/>
                  </a:lnTo>
                  <a:lnTo>
                    <a:pt x="4172" y="1455"/>
                  </a:lnTo>
                  <a:lnTo>
                    <a:pt x="4172" y="1822"/>
                  </a:lnTo>
                  <a:lnTo>
                    <a:pt x="4385" y="1822"/>
                  </a:lnTo>
                  <a:lnTo>
                    <a:pt x="4412" y="1822"/>
                  </a:lnTo>
                  <a:lnTo>
                    <a:pt x="4439" y="1821"/>
                  </a:lnTo>
                  <a:lnTo>
                    <a:pt x="4465" y="1819"/>
                  </a:lnTo>
                  <a:lnTo>
                    <a:pt x="4491" y="1816"/>
                  </a:lnTo>
                  <a:lnTo>
                    <a:pt x="4515" y="1812"/>
                  </a:lnTo>
                  <a:lnTo>
                    <a:pt x="4540" y="1808"/>
                  </a:lnTo>
                  <a:lnTo>
                    <a:pt x="4563" y="1802"/>
                  </a:lnTo>
                  <a:lnTo>
                    <a:pt x="4586" y="1796"/>
                  </a:lnTo>
                  <a:lnTo>
                    <a:pt x="4609" y="1789"/>
                  </a:lnTo>
                  <a:lnTo>
                    <a:pt x="4630" y="1780"/>
                  </a:lnTo>
                  <a:lnTo>
                    <a:pt x="4651" y="1771"/>
                  </a:lnTo>
                  <a:lnTo>
                    <a:pt x="4672" y="1762"/>
                  </a:lnTo>
                  <a:lnTo>
                    <a:pt x="4692" y="1751"/>
                  </a:lnTo>
                  <a:lnTo>
                    <a:pt x="4710" y="1740"/>
                  </a:lnTo>
                  <a:lnTo>
                    <a:pt x="4730" y="1728"/>
                  </a:lnTo>
                  <a:lnTo>
                    <a:pt x="4747" y="1713"/>
                  </a:lnTo>
                  <a:lnTo>
                    <a:pt x="4764" y="1699"/>
                  </a:lnTo>
                  <a:lnTo>
                    <a:pt x="4781" y="1684"/>
                  </a:lnTo>
                  <a:lnTo>
                    <a:pt x="4796" y="1668"/>
                  </a:lnTo>
                  <a:lnTo>
                    <a:pt x="4811" y="1650"/>
                  </a:lnTo>
                  <a:lnTo>
                    <a:pt x="4825" y="1633"/>
                  </a:lnTo>
                  <a:lnTo>
                    <a:pt x="4839" y="1614"/>
                  </a:lnTo>
                  <a:lnTo>
                    <a:pt x="4852" y="1593"/>
                  </a:lnTo>
                  <a:lnTo>
                    <a:pt x="4864" y="1572"/>
                  </a:lnTo>
                  <a:lnTo>
                    <a:pt x="4875" y="1551"/>
                  </a:lnTo>
                  <a:lnTo>
                    <a:pt x="4885" y="1527"/>
                  </a:lnTo>
                  <a:lnTo>
                    <a:pt x="4895" y="1504"/>
                  </a:lnTo>
                  <a:lnTo>
                    <a:pt x="4905" y="1478"/>
                  </a:lnTo>
                  <a:lnTo>
                    <a:pt x="4913" y="1452"/>
                  </a:lnTo>
                  <a:lnTo>
                    <a:pt x="4920" y="1426"/>
                  </a:lnTo>
                  <a:lnTo>
                    <a:pt x="4927" y="1397"/>
                  </a:lnTo>
                  <a:lnTo>
                    <a:pt x="4932" y="1369"/>
                  </a:lnTo>
                  <a:lnTo>
                    <a:pt x="5113" y="403"/>
                  </a:lnTo>
                  <a:lnTo>
                    <a:pt x="5796" y="403"/>
                  </a:lnTo>
                  <a:lnTo>
                    <a:pt x="5796" y="1822"/>
                  </a:lnTo>
                  <a:lnTo>
                    <a:pt x="6198" y="1822"/>
                  </a:lnTo>
                  <a:lnTo>
                    <a:pt x="6198" y="42"/>
                  </a:lnTo>
                  <a:lnTo>
                    <a:pt x="4779" y="42"/>
                  </a:lnTo>
                  <a:close/>
                  <a:moveTo>
                    <a:pt x="6585" y="42"/>
                  </a:moveTo>
                  <a:lnTo>
                    <a:pt x="6585" y="1822"/>
                  </a:lnTo>
                  <a:lnTo>
                    <a:pt x="6980" y="1822"/>
                  </a:lnTo>
                  <a:lnTo>
                    <a:pt x="6980" y="1069"/>
                  </a:lnTo>
                  <a:lnTo>
                    <a:pt x="7251" y="1069"/>
                  </a:lnTo>
                  <a:lnTo>
                    <a:pt x="7258" y="1116"/>
                  </a:lnTo>
                  <a:lnTo>
                    <a:pt x="7266" y="1162"/>
                  </a:lnTo>
                  <a:lnTo>
                    <a:pt x="7277" y="1207"/>
                  </a:lnTo>
                  <a:lnTo>
                    <a:pt x="7290" y="1251"/>
                  </a:lnTo>
                  <a:lnTo>
                    <a:pt x="7304" y="1292"/>
                  </a:lnTo>
                  <a:lnTo>
                    <a:pt x="7320" y="1333"/>
                  </a:lnTo>
                  <a:lnTo>
                    <a:pt x="7338" y="1372"/>
                  </a:lnTo>
                  <a:lnTo>
                    <a:pt x="7358" y="1409"/>
                  </a:lnTo>
                  <a:lnTo>
                    <a:pt x="7379" y="1446"/>
                  </a:lnTo>
                  <a:lnTo>
                    <a:pt x="7402" y="1482"/>
                  </a:lnTo>
                  <a:lnTo>
                    <a:pt x="7427" y="1514"/>
                  </a:lnTo>
                  <a:lnTo>
                    <a:pt x="7452" y="1547"/>
                  </a:lnTo>
                  <a:lnTo>
                    <a:pt x="7480" y="1577"/>
                  </a:lnTo>
                  <a:lnTo>
                    <a:pt x="7509" y="1607"/>
                  </a:lnTo>
                  <a:lnTo>
                    <a:pt x="7540" y="1634"/>
                  </a:lnTo>
                  <a:lnTo>
                    <a:pt x="7571" y="1660"/>
                  </a:lnTo>
                  <a:lnTo>
                    <a:pt x="7604" y="1685"/>
                  </a:lnTo>
                  <a:lnTo>
                    <a:pt x="7637" y="1708"/>
                  </a:lnTo>
                  <a:lnTo>
                    <a:pt x="7673" y="1730"/>
                  </a:lnTo>
                  <a:lnTo>
                    <a:pt x="7710" y="1750"/>
                  </a:lnTo>
                  <a:lnTo>
                    <a:pt x="7747" y="1768"/>
                  </a:lnTo>
                  <a:lnTo>
                    <a:pt x="7786" y="1786"/>
                  </a:lnTo>
                  <a:lnTo>
                    <a:pt x="7824" y="1801"/>
                  </a:lnTo>
                  <a:lnTo>
                    <a:pt x="7865" y="1815"/>
                  </a:lnTo>
                  <a:lnTo>
                    <a:pt x="7907" y="1827"/>
                  </a:lnTo>
                  <a:lnTo>
                    <a:pt x="7949" y="1837"/>
                  </a:lnTo>
                  <a:lnTo>
                    <a:pt x="7991" y="1847"/>
                  </a:lnTo>
                  <a:lnTo>
                    <a:pt x="8035" y="1854"/>
                  </a:lnTo>
                  <a:lnTo>
                    <a:pt x="8080" y="1860"/>
                  </a:lnTo>
                  <a:lnTo>
                    <a:pt x="8124" y="1864"/>
                  </a:lnTo>
                  <a:lnTo>
                    <a:pt x="8170" y="1867"/>
                  </a:lnTo>
                  <a:lnTo>
                    <a:pt x="8217" y="1868"/>
                  </a:lnTo>
                  <a:lnTo>
                    <a:pt x="8267" y="1867"/>
                  </a:lnTo>
                  <a:lnTo>
                    <a:pt x="8317" y="1864"/>
                  </a:lnTo>
                  <a:lnTo>
                    <a:pt x="8364" y="1859"/>
                  </a:lnTo>
                  <a:lnTo>
                    <a:pt x="8413" y="1852"/>
                  </a:lnTo>
                  <a:lnTo>
                    <a:pt x="8460" y="1842"/>
                  </a:lnTo>
                  <a:lnTo>
                    <a:pt x="8506" y="1832"/>
                  </a:lnTo>
                  <a:lnTo>
                    <a:pt x="8552" y="1820"/>
                  </a:lnTo>
                  <a:lnTo>
                    <a:pt x="8595" y="1805"/>
                  </a:lnTo>
                  <a:lnTo>
                    <a:pt x="8639" y="1789"/>
                  </a:lnTo>
                  <a:lnTo>
                    <a:pt x="8681" y="1771"/>
                  </a:lnTo>
                  <a:lnTo>
                    <a:pt x="8721" y="1751"/>
                  </a:lnTo>
                  <a:lnTo>
                    <a:pt x="8761" y="1729"/>
                  </a:lnTo>
                  <a:lnTo>
                    <a:pt x="8799" y="1705"/>
                  </a:lnTo>
                  <a:lnTo>
                    <a:pt x="8835" y="1680"/>
                  </a:lnTo>
                  <a:lnTo>
                    <a:pt x="8871" y="1653"/>
                  </a:lnTo>
                  <a:lnTo>
                    <a:pt x="8905" y="1624"/>
                  </a:lnTo>
                  <a:lnTo>
                    <a:pt x="8937" y="1593"/>
                  </a:lnTo>
                  <a:lnTo>
                    <a:pt x="8968" y="1561"/>
                  </a:lnTo>
                  <a:lnTo>
                    <a:pt x="8996" y="1526"/>
                  </a:lnTo>
                  <a:lnTo>
                    <a:pt x="9023" y="1491"/>
                  </a:lnTo>
                  <a:lnTo>
                    <a:pt x="9049" y="1453"/>
                  </a:lnTo>
                  <a:lnTo>
                    <a:pt x="9072" y="1414"/>
                  </a:lnTo>
                  <a:lnTo>
                    <a:pt x="9094" y="1374"/>
                  </a:lnTo>
                  <a:lnTo>
                    <a:pt x="9113" y="1331"/>
                  </a:lnTo>
                  <a:lnTo>
                    <a:pt x="9130" y="1287"/>
                  </a:lnTo>
                  <a:lnTo>
                    <a:pt x="9146" y="1242"/>
                  </a:lnTo>
                  <a:lnTo>
                    <a:pt x="9159" y="1194"/>
                  </a:lnTo>
                  <a:lnTo>
                    <a:pt x="9169" y="1145"/>
                  </a:lnTo>
                  <a:lnTo>
                    <a:pt x="9178" y="1094"/>
                  </a:lnTo>
                  <a:lnTo>
                    <a:pt x="9184" y="1042"/>
                  </a:lnTo>
                  <a:lnTo>
                    <a:pt x="9188" y="988"/>
                  </a:lnTo>
                  <a:lnTo>
                    <a:pt x="9189" y="933"/>
                  </a:lnTo>
                  <a:lnTo>
                    <a:pt x="9188" y="879"/>
                  </a:lnTo>
                  <a:lnTo>
                    <a:pt x="9184" y="825"/>
                  </a:lnTo>
                  <a:lnTo>
                    <a:pt x="9178" y="773"/>
                  </a:lnTo>
                  <a:lnTo>
                    <a:pt x="9169" y="723"/>
                  </a:lnTo>
                  <a:lnTo>
                    <a:pt x="9159" y="674"/>
                  </a:lnTo>
                  <a:lnTo>
                    <a:pt x="9146" y="626"/>
                  </a:lnTo>
                  <a:lnTo>
                    <a:pt x="9130" y="581"/>
                  </a:lnTo>
                  <a:lnTo>
                    <a:pt x="9113" y="537"/>
                  </a:lnTo>
                  <a:lnTo>
                    <a:pt x="9094" y="494"/>
                  </a:lnTo>
                  <a:lnTo>
                    <a:pt x="9072" y="453"/>
                  </a:lnTo>
                  <a:lnTo>
                    <a:pt x="9049" y="414"/>
                  </a:lnTo>
                  <a:lnTo>
                    <a:pt x="9023" y="376"/>
                  </a:lnTo>
                  <a:lnTo>
                    <a:pt x="8996" y="341"/>
                  </a:lnTo>
                  <a:lnTo>
                    <a:pt x="8968" y="307"/>
                  </a:lnTo>
                  <a:lnTo>
                    <a:pt x="8937" y="275"/>
                  </a:lnTo>
                  <a:lnTo>
                    <a:pt x="8905" y="244"/>
                  </a:lnTo>
                  <a:lnTo>
                    <a:pt x="8871" y="215"/>
                  </a:lnTo>
                  <a:lnTo>
                    <a:pt x="8835" y="187"/>
                  </a:lnTo>
                  <a:lnTo>
                    <a:pt x="8799" y="162"/>
                  </a:lnTo>
                  <a:lnTo>
                    <a:pt x="8761" y="138"/>
                  </a:lnTo>
                  <a:lnTo>
                    <a:pt x="8721" y="117"/>
                  </a:lnTo>
                  <a:lnTo>
                    <a:pt x="8681" y="97"/>
                  </a:lnTo>
                  <a:lnTo>
                    <a:pt x="8639" y="78"/>
                  </a:lnTo>
                  <a:lnTo>
                    <a:pt x="8595" y="62"/>
                  </a:lnTo>
                  <a:lnTo>
                    <a:pt x="8552" y="48"/>
                  </a:lnTo>
                  <a:lnTo>
                    <a:pt x="8506" y="36"/>
                  </a:lnTo>
                  <a:lnTo>
                    <a:pt x="8460" y="24"/>
                  </a:lnTo>
                  <a:lnTo>
                    <a:pt x="8413" y="16"/>
                  </a:lnTo>
                  <a:lnTo>
                    <a:pt x="8364" y="9"/>
                  </a:lnTo>
                  <a:lnTo>
                    <a:pt x="8317" y="4"/>
                  </a:lnTo>
                  <a:lnTo>
                    <a:pt x="8267" y="1"/>
                  </a:lnTo>
                  <a:lnTo>
                    <a:pt x="8217" y="0"/>
                  </a:lnTo>
                  <a:lnTo>
                    <a:pt x="8173" y="1"/>
                  </a:lnTo>
                  <a:lnTo>
                    <a:pt x="8131" y="3"/>
                  </a:lnTo>
                  <a:lnTo>
                    <a:pt x="8088" y="7"/>
                  </a:lnTo>
                  <a:lnTo>
                    <a:pt x="8046" y="12"/>
                  </a:lnTo>
                  <a:lnTo>
                    <a:pt x="8004" y="18"/>
                  </a:lnTo>
                  <a:lnTo>
                    <a:pt x="7964" y="26"/>
                  </a:lnTo>
                  <a:lnTo>
                    <a:pt x="7924" y="36"/>
                  </a:lnTo>
                  <a:lnTo>
                    <a:pt x="7884" y="47"/>
                  </a:lnTo>
                  <a:lnTo>
                    <a:pt x="7846" y="59"/>
                  </a:lnTo>
                  <a:lnTo>
                    <a:pt x="7808" y="73"/>
                  </a:lnTo>
                  <a:lnTo>
                    <a:pt x="7772" y="88"/>
                  </a:lnTo>
                  <a:lnTo>
                    <a:pt x="7736" y="105"/>
                  </a:lnTo>
                  <a:lnTo>
                    <a:pt x="7700" y="122"/>
                  </a:lnTo>
                  <a:lnTo>
                    <a:pt x="7667" y="141"/>
                  </a:lnTo>
                  <a:lnTo>
                    <a:pt x="7633" y="162"/>
                  </a:lnTo>
                  <a:lnTo>
                    <a:pt x="7602" y="184"/>
                  </a:lnTo>
                  <a:lnTo>
                    <a:pt x="7571" y="207"/>
                  </a:lnTo>
                  <a:lnTo>
                    <a:pt x="7542" y="232"/>
                  </a:lnTo>
                  <a:lnTo>
                    <a:pt x="7512" y="257"/>
                  </a:lnTo>
                  <a:lnTo>
                    <a:pt x="7486" y="285"/>
                  </a:lnTo>
                  <a:lnTo>
                    <a:pt x="7459" y="313"/>
                  </a:lnTo>
                  <a:lnTo>
                    <a:pt x="7435" y="343"/>
                  </a:lnTo>
                  <a:lnTo>
                    <a:pt x="7412" y="374"/>
                  </a:lnTo>
                  <a:lnTo>
                    <a:pt x="7389" y="406"/>
                  </a:lnTo>
                  <a:lnTo>
                    <a:pt x="7369" y="439"/>
                  </a:lnTo>
                  <a:lnTo>
                    <a:pt x="7350" y="475"/>
                  </a:lnTo>
                  <a:lnTo>
                    <a:pt x="7331" y="510"/>
                  </a:lnTo>
                  <a:lnTo>
                    <a:pt x="7315" y="548"/>
                  </a:lnTo>
                  <a:lnTo>
                    <a:pt x="7301" y="586"/>
                  </a:lnTo>
                  <a:lnTo>
                    <a:pt x="7287" y="625"/>
                  </a:lnTo>
                  <a:lnTo>
                    <a:pt x="7276" y="666"/>
                  </a:lnTo>
                  <a:lnTo>
                    <a:pt x="7267" y="709"/>
                  </a:lnTo>
                  <a:lnTo>
                    <a:pt x="6980" y="709"/>
                  </a:lnTo>
                  <a:lnTo>
                    <a:pt x="6980" y="42"/>
                  </a:lnTo>
                  <a:lnTo>
                    <a:pt x="6585" y="42"/>
                  </a:lnTo>
                  <a:close/>
                  <a:moveTo>
                    <a:pt x="7643" y="933"/>
                  </a:moveTo>
                  <a:lnTo>
                    <a:pt x="7644" y="900"/>
                  </a:lnTo>
                  <a:lnTo>
                    <a:pt x="7645" y="866"/>
                  </a:lnTo>
                  <a:lnTo>
                    <a:pt x="7649" y="835"/>
                  </a:lnTo>
                  <a:lnTo>
                    <a:pt x="7653" y="803"/>
                  </a:lnTo>
                  <a:lnTo>
                    <a:pt x="7658" y="773"/>
                  </a:lnTo>
                  <a:lnTo>
                    <a:pt x="7664" y="743"/>
                  </a:lnTo>
                  <a:lnTo>
                    <a:pt x="7672" y="715"/>
                  </a:lnTo>
                  <a:lnTo>
                    <a:pt x="7680" y="686"/>
                  </a:lnTo>
                  <a:lnTo>
                    <a:pt x="7690" y="660"/>
                  </a:lnTo>
                  <a:lnTo>
                    <a:pt x="7700" y="634"/>
                  </a:lnTo>
                  <a:lnTo>
                    <a:pt x="7713" y="610"/>
                  </a:lnTo>
                  <a:lnTo>
                    <a:pt x="7726" y="586"/>
                  </a:lnTo>
                  <a:lnTo>
                    <a:pt x="7740" y="563"/>
                  </a:lnTo>
                  <a:lnTo>
                    <a:pt x="7755" y="542"/>
                  </a:lnTo>
                  <a:lnTo>
                    <a:pt x="7772" y="521"/>
                  </a:lnTo>
                  <a:lnTo>
                    <a:pt x="7789" y="501"/>
                  </a:lnTo>
                  <a:lnTo>
                    <a:pt x="7807" y="483"/>
                  </a:lnTo>
                  <a:lnTo>
                    <a:pt x="7828" y="466"/>
                  </a:lnTo>
                  <a:lnTo>
                    <a:pt x="7848" y="449"/>
                  </a:lnTo>
                  <a:lnTo>
                    <a:pt x="7870" y="434"/>
                  </a:lnTo>
                  <a:lnTo>
                    <a:pt x="7893" y="420"/>
                  </a:lnTo>
                  <a:lnTo>
                    <a:pt x="7917" y="408"/>
                  </a:lnTo>
                  <a:lnTo>
                    <a:pt x="7942" y="396"/>
                  </a:lnTo>
                  <a:lnTo>
                    <a:pt x="7968" y="385"/>
                  </a:lnTo>
                  <a:lnTo>
                    <a:pt x="7995" y="375"/>
                  </a:lnTo>
                  <a:lnTo>
                    <a:pt x="8024" y="367"/>
                  </a:lnTo>
                  <a:lnTo>
                    <a:pt x="8053" y="361"/>
                  </a:lnTo>
                  <a:lnTo>
                    <a:pt x="8084" y="355"/>
                  </a:lnTo>
                  <a:lnTo>
                    <a:pt x="8115" y="351"/>
                  </a:lnTo>
                  <a:lnTo>
                    <a:pt x="8148" y="347"/>
                  </a:lnTo>
                  <a:lnTo>
                    <a:pt x="8182" y="345"/>
                  </a:lnTo>
                  <a:lnTo>
                    <a:pt x="8217" y="345"/>
                  </a:lnTo>
                  <a:lnTo>
                    <a:pt x="8252" y="345"/>
                  </a:lnTo>
                  <a:lnTo>
                    <a:pt x="8285" y="347"/>
                  </a:lnTo>
                  <a:lnTo>
                    <a:pt x="8318" y="351"/>
                  </a:lnTo>
                  <a:lnTo>
                    <a:pt x="8349" y="355"/>
                  </a:lnTo>
                  <a:lnTo>
                    <a:pt x="8380" y="361"/>
                  </a:lnTo>
                  <a:lnTo>
                    <a:pt x="8409" y="367"/>
                  </a:lnTo>
                  <a:lnTo>
                    <a:pt x="8438" y="375"/>
                  </a:lnTo>
                  <a:lnTo>
                    <a:pt x="8465" y="385"/>
                  </a:lnTo>
                  <a:lnTo>
                    <a:pt x="8492" y="396"/>
                  </a:lnTo>
                  <a:lnTo>
                    <a:pt x="8517" y="408"/>
                  </a:lnTo>
                  <a:lnTo>
                    <a:pt x="8540" y="420"/>
                  </a:lnTo>
                  <a:lnTo>
                    <a:pt x="8564" y="434"/>
                  </a:lnTo>
                  <a:lnTo>
                    <a:pt x="8585" y="449"/>
                  </a:lnTo>
                  <a:lnTo>
                    <a:pt x="8607" y="466"/>
                  </a:lnTo>
                  <a:lnTo>
                    <a:pt x="8626" y="483"/>
                  </a:lnTo>
                  <a:lnTo>
                    <a:pt x="8644" y="501"/>
                  </a:lnTo>
                  <a:lnTo>
                    <a:pt x="8662" y="521"/>
                  </a:lnTo>
                  <a:lnTo>
                    <a:pt x="8679" y="542"/>
                  </a:lnTo>
                  <a:lnTo>
                    <a:pt x="8694" y="563"/>
                  </a:lnTo>
                  <a:lnTo>
                    <a:pt x="8708" y="586"/>
                  </a:lnTo>
                  <a:lnTo>
                    <a:pt x="8720" y="610"/>
                  </a:lnTo>
                  <a:lnTo>
                    <a:pt x="8733" y="634"/>
                  </a:lnTo>
                  <a:lnTo>
                    <a:pt x="8744" y="660"/>
                  </a:lnTo>
                  <a:lnTo>
                    <a:pt x="8753" y="686"/>
                  </a:lnTo>
                  <a:lnTo>
                    <a:pt x="8762" y="715"/>
                  </a:lnTo>
                  <a:lnTo>
                    <a:pt x="8769" y="743"/>
                  </a:lnTo>
                  <a:lnTo>
                    <a:pt x="8775" y="773"/>
                  </a:lnTo>
                  <a:lnTo>
                    <a:pt x="8780" y="803"/>
                  </a:lnTo>
                  <a:lnTo>
                    <a:pt x="8785" y="835"/>
                  </a:lnTo>
                  <a:lnTo>
                    <a:pt x="8788" y="866"/>
                  </a:lnTo>
                  <a:lnTo>
                    <a:pt x="8790" y="900"/>
                  </a:lnTo>
                  <a:lnTo>
                    <a:pt x="8790" y="933"/>
                  </a:lnTo>
                  <a:lnTo>
                    <a:pt x="8790" y="968"/>
                  </a:lnTo>
                  <a:lnTo>
                    <a:pt x="8788" y="1001"/>
                  </a:lnTo>
                  <a:lnTo>
                    <a:pt x="8785" y="1033"/>
                  </a:lnTo>
                  <a:lnTo>
                    <a:pt x="8780" y="1065"/>
                  </a:lnTo>
                  <a:lnTo>
                    <a:pt x="8775" y="1095"/>
                  </a:lnTo>
                  <a:lnTo>
                    <a:pt x="8769" y="1125"/>
                  </a:lnTo>
                  <a:lnTo>
                    <a:pt x="8762" y="1153"/>
                  </a:lnTo>
                  <a:lnTo>
                    <a:pt x="8753" y="1181"/>
                  </a:lnTo>
                  <a:lnTo>
                    <a:pt x="8744" y="1207"/>
                  </a:lnTo>
                  <a:lnTo>
                    <a:pt x="8733" y="1233"/>
                  </a:lnTo>
                  <a:lnTo>
                    <a:pt x="8720" y="1258"/>
                  </a:lnTo>
                  <a:lnTo>
                    <a:pt x="8708" y="1281"/>
                  </a:lnTo>
                  <a:lnTo>
                    <a:pt x="8694" y="1305"/>
                  </a:lnTo>
                  <a:lnTo>
                    <a:pt x="8679" y="1326"/>
                  </a:lnTo>
                  <a:lnTo>
                    <a:pt x="8662" y="1346"/>
                  </a:lnTo>
                  <a:lnTo>
                    <a:pt x="8644" y="1366"/>
                  </a:lnTo>
                  <a:lnTo>
                    <a:pt x="8626" y="1385"/>
                  </a:lnTo>
                  <a:lnTo>
                    <a:pt x="8607" y="1402"/>
                  </a:lnTo>
                  <a:lnTo>
                    <a:pt x="8585" y="1418"/>
                  </a:lnTo>
                  <a:lnTo>
                    <a:pt x="8564" y="1434"/>
                  </a:lnTo>
                  <a:lnTo>
                    <a:pt x="8540" y="1447"/>
                  </a:lnTo>
                  <a:lnTo>
                    <a:pt x="8517" y="1460"/>
                  </a:lnTo>
                  <a:lnTo>
                    <a:pt x="8492" y="1472"/>
                  </a:lnTo>
                  <a:lnTo>
                    <a:pt x="8465" y="1483"/>
                  </a:lnTo>
                  <a:lnTo>
                    <a:pt x="8438" y="1492"/>
                  </a:lnTo>
                  <a:lnTo>
                    <a:pt x="8409" y="1500"/>
                  </a:lnTo>
                  <a:lnTo>
                    <a:pt x="8380" y="1507"/>
                  </a:lnTo>
                  <a:lnTo>
                    <a:pt x="8349" y="1513"/>
                  </a:lnTo>
                  <a:lnTo>
                    <a:pt x="8318" y="1517"/>
                  </a:lnTo>
                  <a:lnTo>
                    <a:pt x="8285" y="1520"/>
                  </a:lnTo>
                  <a:lnTo>
                    <a:pt x="8252" y="1522"/>
                  </a:lnTo>
                  <a:lnTo>
                    <a:pt x="8217" y="1523"/>
                  </a:lnTo>
                  <a:lnTo>
                    <a:pt x="8182" y="1522"/>
                  </a:lnTo>
                  <a:lnTo>
                    <a:pt x="8148" y="1520"/>
                  </a:lnTo>
                  <a:lnTo>
                    <a:pt x="8115" y="1517"/>
                  </a:lnTo>
                  <a:lnTo>
                    <a:pt x="8084" y="1513"/>
                  </a:lnTo>
                  <a:lnTo>
                    <a:pt x="8053" y="1507"/>
                  </a:lnTo>
                  <a:lnTo>
                    <a:pt x="8024" y="1500"/>
                  </a:lnTo>
                  <a:lnTo>
                    <a:pt x="7995" y="1492"/>
                  </a:lnTo>
                  <a:lnTo>
                    <a:pt x="7968" y="1483"/>
                  </a:lnTo>
                  <a:lnTo>
                    <a:pt x="7942" y="1472"/>
                  </a:lnTo>
                  <a:lnTo>
                    <a:pt x="7917" y="1460"/>
                  </a:lnTo>
                  <a:lnTo>
                    <a:pt x="7893" y="1447"/>
                  </a:lnTo>
                  <a:lnTo>
                    <a:pt x="7870" y="1434"/>
                  </a:lnTo>
                  <a:lnTo>
                    <a:pt x="7848" y="1418"/>
                  </a:lnTo>
                  <a:lnTo>
                    <a:pt x="7828" y="1402"/>
                  </a:lnTo>
                  <a:lnTo>
                    <a:pt x="7807" y="1385"/>
                  </a:lnTo>
                  <a:lnTo>
                    <a:pt x="7789" y="1366"/>
                  </a:lnTo>
                  <a:lnTo>
                    <a:pt x="7772" y="1346"/>
                  </a:lnTo>
                  <a:lnTo>
                    <a:pt x="7755" y="1326"/>
                  </a:lnTo>
                  <a:lnTo>
                    <a:pt x="7740" y="1305"/>
                  </a:lnTo>
                  <a:lnTo>
                    <a:pt x="7726" y="1281"/>
                  </a:lnTo>
                  <a:lnTo>
                    <a:pt x="7713" y="1258"/>
                  </a:lnTo>
                  <a:lnTo>
                    <a:pt x="7700" y="1233"/>
                  </a:lnTo>
                  <a:lnTo>
                    <a:pt x="7690" y="1207"/>
                  </a:lnTo>
                  <a:lnTo>
                    <a:pt x="7680" y="1181"/>
                  </a:lnTo>
                  <a:lnTo>
                    <a:pt x="7672" y="1153"/>
                  </a:lnTo>
                  <a:lnTo>
                    <a:pt x="7664" y="1125"/>
                  </a:lnTo>
                  <a:lnTo>
                    <a:pt x="7658" y="1095"/>
                  </a:lnTo>
                  <a:lnTo>
                    <a:pt x="7653" y="1065"/>
                  </a:lnTo>
                  <a:lnTo>
                    <a:pt x="7649" y="1033"/>
                  </a:lnTo>
                  <a:lnTo>
                    <a:pt x="7645" y="1001"/>
                  </a:lnTo>
                  <a:lnTo>
                    <a:pt x="7644" y="968"/>
                  </a:lnTo>
                  <a:lnTo>
                    <a:pt x="7643" y="933"/>
                  </a:lnTo>
                  <a:close/>
                  <a:moveTo>
                    <a:pt x="11327" y="477"/>
                  </a:moveTo>
                  <a:lnTo>
                    <a:pt x="11310" y="447"/>
                  </a:lnTo>
                  <a:lnTo>
                    <a:pt x="11291" y="420"/>
                  </a:lnTo>
                  <a:lnTo>
                    <a:pt x="11272" y="392"/>
                  </a:lnTo>
                  <a:lnTo>
                    <a:pt x="11253" y="366"/>
                  </a:lnTo>
                  <a:lnTo>
                    <a:pt x="11232" y="341"/>
                  </a:lnTo>
                  <a:lnTo>
                    <a:pt x="11211" y="316"/>
                  </a:lnTo>
                  <a:lnTo>
                    <a:pt x="11190" y="293"/>
                  </a:lnTo>
                  <a:lnTo>
                    <a:pt x="11167" y="270"/>
                  </a:lnTo>
                  <a:lnTo>
                    <a:pt x="11144" y="248"/>
                  </a:lnTo>
                  <a:lnTo>
                    <a:pt x="11121" y="228"/>
                  </a:lnTo>
                  <a:lnTo>
                    <a:pt x="11096" y="207"/>
                  </a:lnTo>
                  <a:lnTo>
                    <a:pt x="11071" y="188"/>
                  </a:lnTo>
                  <a:lnTo>
                    <a:pt x="11045" y="171"/>
                  </a:lnTo>
                  <a:lnTo>
                    <a:pt x="11018" y="154"/>
                  </a:lnTo>
                  <a:lnTo>
                    <a:pt x="10991" y="136"/>
                  </a:lnTo>
                  <a:lnTo>
                    <a:pt x="10963" y="121"/>
                  </a:lnTo>
                  <a:lnTo>
                    <a:pt x="10934" y="107"/>
                  </a:lnTo>
                  <a:lnTo>
                    <a:pt x="10905" y="93"/>
                  </a:lnTo>
                  <a:lnTo>
                    <a:pt x="10875" y="80"/>
                  </a:lnTo>
                  <a:lnTo>
                    <a:pt x="10845" y="68"/>
                  </a:lnTo>
                  <a:lnTo>
                    <a:pt x="10813" y="58"/>
                  </a:lnTo>
                  <a:lnTo>
                    <a:pt x="10782" y="48"/>
                  </a:lnTo>
                  <a:lnTo>
                    <a:pt x="10749" y="39"/>
                  </a:lnTo>
                  <a:lnTo>
                    <a:pt x="10716" y="30"/>
                  </a:lnTo>
                  <a:lnTo>
                    <a:pt x="10682" y="23"/>
                  </a:lnTo>
                  <a:lnTo>
                    <a:pt x="10648" y="17"/>
                  </a:lnTo>
                  <a:lnTo>
                    <a:pt x="10612" y="12"/>
                  </a:lnTo>
                  <a:lnTo>
                    <a:pt x="10576" y="8"/>
                  </a:lnTo>
                  <a:lnTo>
                    <a:pt x="10540" y="4"/>
                  </a:lnTo>
                  <a:lnTo>
                    <a:pt x="10502" y="2"/>
                  </a:lnTo>
                  <a:lnTo>
                    <a:pt x="10465" y="1"/>
                  </a:lnTo>
                  <a:lnTo>
                    <a:pt x="10426" y="0"/>
                  </a:lnTo>
                  <a:lnTo>
                    <a:pt x="10373" y="1"/>
                  </a:lnTo>
                  <a:lnTo>
                    <a:pt x="10322" y="4"/>
                  </a:lnTo>
                  <a:lnTo>
                    <a:pt x="10271" y="9"/>
                  </a:lnTo>
                  <a:lnTo>
                    <a:pt x="10222" y="16"/>
                  </a:lnTo>
                  <a:lnTo>
                    <a:pt x="10174" y="25"/>
                  </a:lnTo>
                  <a:lnTo>
                    <a:pt x="10126" y="37"/>
                  </a:lnTo>
                  <a:lnTo>
                    <a:pt x="10079" y="50"/>
                  </a:lnTo>
                  <a:lnTo>
                    <a:pt x="10033" y="65"/>
                  </a:lnTo>
                  <a:lnTo>
                    <a:pt x="9990" y="81"/>
                  </a:lnTo>
                  <a:lnTo>
                    <a:pt x="9947" y="101"/>
                  </a:lnTo>
                  <a:lnTo>
                    <a:pt x="9905" y="121"/>
                  </a:lnTo>
                  <a:lnTo>
                    <a:pt x="9865" y="143"/>
                  </a:lnTo>
                  <a:lnTo>
                    <a:pt x="9826" y="168"/>
                  </a:lnTo>
                  <a:lnTo>
                    <a:pt x="9788" y="194"/>
                  </a:lnTo>
                  <a:lnTo>
                    <a:pt x="9753" y="222"/>
                  </a:lnTo>
                  <a:lnTo>
                    <a:pt x="9718" y="251"/>
                  </a:lnTo>
                  <a:lnTo>
                    <a:pt x="9686" y="282"/>
                  </a:lnTo>
                  <a:lnTo>
                    <a:pt x="9654" y="314"/>
                  </a:lnTo>
                  <a:lnTo>
                    <a:pt x="9626" y="349"/>
                  </a:lnTo>
                  <a:lnTo>
                    <a:pt x="9598" y="385"/>
                  </a:lnTo>
                  <a:lnTo>
                    <a:pt x="9572" y="423"/>
                  </a:lnTo>
                  <a:lnTo>
                    <a:pt x="9548" y="462"/>
                  </a:lnTo>
                  <a:lnTo>
                    <a:pt x="9527" y="502"/>
                  </a:lnTo>
                  <a:lnTo>
                    <a:pt x="9508" y="545"/>
                  </a:lnTo>
                  <a:lnTo>
                    <a:pt x="9489" y="589"/>
                  </a:lnTo>
                  <a:lnTo>
                    <a:pt x="9474" y="633"/>
                  </a:lnTo>
                  <a:lnTo>
                    <a:pt x="9461" y="680"/>
                  </a:lnTo>
                  <a:lnTo>
                    <a:pt x="9451" y="728"/>
                  </a:lnTo>
                  <a:lnTo>
                    <a:pt x="9441" y="778"/>
                  </a:lnTo>
                  <a:lnTo>
                    <a:pt x="9435" y="829"/>
                  </a:lnTo>
                  <a:lnTo>
                    <a:pt x="9432" y="881"/>
                  </a:lnTo>
                  <a:lnTo>
                    <a:pt x="9430" y="933"/>
                  </a:lnTo>
                  <a:lnTo>
                    <a:pt x="9431" y="987"/>
                  </a:lnTo>
                  <a:lnTo>
                    <a:pt x="9435" y="1039"/>
                  </a:lnTo>
                  <a:lnTo>
                    <a:pt x="9441" y="1090"/>
                  </a:lnTo>
                  <a:lnTo>
                    <a:pt x="9450" y="1139"/>
                  </a:lnTo>
                  <a:lnTo>
                    <a:pt x="9461" y="1188"/>
                  </a:lnTo>
                  <a:lnTo>
                    <a:pt x="9474" y="1234"/>
                  </a:lnTo>
                  <a:lnTo>
                    <a:pt x="9488" y="1279"/>
                  </a:lnTo>
                  <a:lnTo>
                    <a:pt x="9506" y="1323"/>
                  </a:lnTo>
                  <a:lnTo>
                    <a:pt x="9525" y="1365"/>
                  </a:lnTo>
                  <a:lnTo>
                    <a:pt x="9546" y="1405"/>
                  </a:lnTo>
                  <a:lnTo>
                    <a:pt x="9570" y="1445"/>
                  </a:lnTo>
                  <a:lnTo>
                    <a:pt x="9595" y="1483"/>
                  </a:lnTo>
                  <a:lnTo>
                    <a:pt x="9623" y="1518"/>
                  </a:lnTo>
                  <a:lnTo>
                    <a:pt x="9651" y="1553"/>
                  </a:lnTo>
                  <a:lnTo>
                    <a:pt x="9681" y="1585"/>
                  </a:lnTo>
                  <a:lnTo>
                    <a:pt x="9714" y="1617"/>
                  </a:lnTo>
                  <a:lnTo>
                    <a:pt x="9749" y="1646"/>
                  </a:lnTo>
                  <a:lnTo>
                    <a:pt x="9784" y="1674"/>
                  </a:lnTo>
                  <a:lnTo>
                    <a:pt x="9822" y="1700"/>
                  </a:lnTo>
                  <a:lnTo>
                    <a:pt x="9860" y="1724"/>
                  </a:lnTo>
                  <a:lnTo>
                    <a:pt x="9900" y="1746"/>
                  </a:lnTo>
                  <a:lnTo>
                    <a:pt x="9942" y="1767"/>
                  </a:lnTo>
                  <a:lnTo>
                    <a:pt x="9986" y="1786"/>
                  </a:lnTo>
                  <a:lnTo>
                    <a:pt x="10029" y="1803"/>
                  </a:lnTo>
                  <a:lnTo>
                    <a:pt x="10075" y="1818"/>
                  </a:lnTo>
                  <a:lnTo>
                    <a:pt x="10122" y="1830"/>
                  </a:lnTo>
                  <a:lnTo>
                    <a:pt x="10170" y="1841"/>
                  </a:lnTo>
                  <a:lnTo>
                    <a:pt x="10219" y="1851"/>
                  </a:lnTo>
                  <a:lnTo>
                    <a:pt x="10269" y="1858"/>
                  </a:lnTo>
                  <a:lnTo>
                    <a:pt x="10320" y="1863"/>
                  </a:lnTo>
                  <a:lnTo>
                    <a:pt x="10372" y="1867"/>
                  </a:lnTo>
                  <a:lnTo>
                    <a:pt x="10426" y="1868"/>
                  </a:lnTo>
                  <a:lnTo>
                    <a:pt x="10465" y="1867"/>
                  </a:lnTo>
                  <a:lnTo>
                    <a:pt x="10502" y="1866"/>
                  </a:lnTo>
                  <a:lnTo>
                    <a:pt x="10540" y="1863"/>
                  </a:lnTo>
                  <a:lnTo>
                    <a:pt x="10576" y="1860"/>
                  </a:lnTo>
                  <a:lnTo>
                    <a:pt x="10612" y="1856"/>
                  </a:lnTo>
                  <a:lnTo>
                    <a:pt x="10648" y="1851"/>
                  </a:lnTo>
                  <a:lnTo>
                    <a:pt x="10682" y="1845"/>
                  </a:lnTo>
                  <a:lnTo>
                    <a:pt x="10716" y="1837"/>
                  </a:lnTo>
                  <a:lnTo>
                    <a:pt x="10749" y="1829"/>
                  </a:lnTo>
                  <a:lnTo>
                    <a:pt x="10782" y="1820"/>
                  </a:lnTo>
                  <a:lnTo>
                    <a:pt x="10813" y="1810"/>
                  </a:lnTo>
                  <a:lnTo>
                    <a:pt x="10845" y="1799"/>
                  </a:lnTo>
                  <a:lnTo>
                    <a:pt x="10875" y="1788"/>
                  </a:lnTo>
                  <a:lnTo>
                    <a:pt x="10905" y="1774"/>
                  </a:lnTo>
                  <a:lnTo>
                    <a:pt x="10934" y="1761"/>
                  </a:lnTo>
                  <a:lnTo>
                    <a:pt x="10963" y="1746"/>
                  </a:lnTo>
                  <a:lnTo>
                    <a:pt x="10991" y="1731"/>
                  </a:lnTo>
                  <a:lnTo>
                    <a:pt x="11018" y="1714"/>
                  </a:lnTo>
                  <a:lnTo>
                    <a:pt x="11045" y="1697"/>
                  </a:lnTo>
                  <a:lnTo>
                    <a:pt x="11071" y="1679"/>
                  </a:lnTo>
                  <a:lnTo>
                    <a:pt x="11096" y="1659"/>
                  </a:lnTo>
                  <a:lnTo>
                    <a:pt x="11121" y="1640"/>
                  </a:lnTo>
                  <a:lnTo>
                    <a:pt x="11144" y="1619"/>
                  </a:lnTo>
                  <a:lnTo>
                    <a:pt x="11167" y="1597"/>
                  </a:lnTo>
                  <a:lnTo>
                    <a:pt x="11190" y="1574"/>
                  </a:lnTo>
                  <a:lnTo>
                    <a:pt x="11211" y="1551"/>
                  </a:lnTo>
                  <a:lnTo>
                    <a:pt x="11232" y="1526"/>
                  </a:lnTo>
                  <a:lnTo>
                    <a:pt x="11253" y="1501"/>
                  </a:lnTo>
                  <a:lnTo>
                    <a:pt x="11272" y="1474"/>
                  </a:lnTo>
                  <a:lnTo>
                    <a:pt x="11291" y="1448"/>
                  </a:lnTo>
                  <a:lnTo>
                    <a:pt x="11310" y="1419"/>
                  </a:lnTo>
                  <a:lnTo>
                    <a:pt x="11327" y="1391"/>
                  </a:lnTo>
                  <a:lnTo>
                    <a:pt x="11015" y="1211"/>
                  </a:lnTo>
                  <a:lnTo>
                    <a:pt x="11002" y="1228"/>
                  </a:lnTo>
                  <a:lnTo>
                    <a:pt x="10988" y="1246"/>
                  </a:lnTo>
                  <a:lnTo>
                    <a:pt x="10975" y="1263"/>
                  </a:lnTo>
                  <a:lnTo>
                    <a:pt x="10962" y="1279"/>
                  </a:lnTo>
                  <a:lnTo>
                    <a:pt x="10948" y="1294"/>
                  </a:lnTo>
                  <a:lnTo>
                    <a:pt x="10933" y="1310"/>
                  </a:lnTo>
                  <a:lnTo>
                    <a:pt x="10919" y="1325"/>
                  </a:lnTo>
                  <a:lnTo>
                    <a:pt x="10904" y="1339"/>
                  </a:lnTo>
                  <a:lnTo>
                    <a:pt x="10890" y="1352"/>
                  </a:lnTo>
                  <a:lnTo>
                    <a:pt x="10873" y="1366"/>
                  </a:lnTo>
                  <a:lnTo>
                    <a:pt x="10858" y="1378"/>
                  </a:lnTo>
                  <a:lnTo>
                    <a:pt x="10842" y="1390"/>
                  </a:lnTo>
                  <a:lnTo>
                    <a:pt x="10825" y="1402"/>
                  </a:lnTo>
                  <a:lnTo>
                    <a:pt x="10807" y="1412"/>
                  </a:lnTo>
                  <a:lnTo>
                    <a:pt x="10790" y="1423"/>
                  </a:lnTo>
                  <a:lnTo>
                    <a:pt x="10773" y="1433"/>
                  </a:lnTo>
                  <a:lnTo>
                    <a:pt x="10754" y="1442"/>
                  </a:lnTo>
                  <a:lnTo>
                    <a:pt x="10735" y="1451"/>
                  </a:lnTo>
                  <a:lnTo>
                    <a:pt x="10716" y="1459"/>
                  </a:lnTo>
                  <a:lnTo>
                    <a:pt x="10696" y="1466"/>
                  </a:lnTo>
                  <a:lnTo>
                    <a:pt x="10676" y="1473"/>
                  </a:lnTo>
                  <a:lnTo>
                    <a:pt x="10656" y="1479"/>
                  </a:lnTo>
                  <a:lnTo>
                    <a:pt x="10634" y="1486"/>
                  </a:lnTo>
                  <a:lnTo>
                    <a:pt x="10613" y="1491"/>
                  </a:lnTo>
                  <a:lnTo>
                    <a:pt x="10591" y="1495"/>
                  </a:lnTo>
                  <a:lnTo>
                    <a:pt x="10567" y="1499"/>
                  </a:lnTo>
                  <a:lnTo>
                    <a:pt x="10544" y="1502"/>
                  </a:lnTo>
                  <a:lnTo>
                    <a:pt x="10521" y="1505"/>
                  </a:lnTo>
                  <a:lnTo>
                    <a:pt x="10496" y="1507"/>
                  </a:lnTo>
                  <a:lnTo>
                    <a:pt x="10471" y="1509"/>
                  </a:lnTo>
                  <a:lnTo>
                    <a:pt x="10445" y="1510"/>
                  </a:lnTo>
                  <a:lnTo>
                    <a:pt x="10419" y="1510"/>
                  </a:lnTo>
                  <a:lnTo>
                    <a:pt x="10386" y="1509"/>
                  </a:lnTo>
                  <a:lnTo>
                    <a:pt x="10355" y="1507"/>
                  </a:lnTo>
                  <a:lnTo>
                    <a:pt x="10324" y="1504"/>
                  </a:lnTo>
                  <a:lnTo>
                    <a:pt x="10294" y="1500"/>
                  </a:lnTo>
                  <a:lnTo>
                    <a:pt x="10264" y="1494"/>
                  </a:lnTo>
                  <a:lnTo>
                    <a:pt x="10236" y="1487"/>
                  </a:lnTo>
                  <a:lnTo>
                    <a:pt x="10207" y="1478"/>
                  </a:lnTo>
                  <a:lnTo>
                    <a:pt x="10180" y="1468"/>
                  </a:lnTo>
                  <a:lnTo>
                    <a:pt x="10153" y="1458"/>
                  </a:lnTo>
                  <a:lnTo>
                    <a:pt x="10128" y="1446"/>
                  </a:lnTo>
                  <a:lnTo>
                    <a:pt x="10104" y="1433"/>
                  </a:lnTo>
                  <a:lnTo>
                    <a:pt x="10080" y="1418"/>
                  </a:lnTo>
                  <a:lnTo>
                    <a:pt x="10057" y="1403"/>
                  </a:lnTo>
                  <a:lnTo>
                    <a:pt x="10035" y="1387"/>
                  </a:lnTo>
                  <a:lnTo>
                    <a:pt x="10014" y="1370"/>
                  </a:lnTo>
                  <a:lnTo>
                    <a:pt x="9994" y="1351"/>
                  </a:lnTo>
                  <a:lnTo>
                    <a:pt x="9975" y="1332"/>
                  </a:lnTo>
                  <a:lnTo>
                    <a:pt x="9957" y="1312"/>
                  </a:lnTo>
                  <a:lnTo>
                    <a:pt x="9941" y="1289"/>
                  </a:lnTo>
                  <a:lnTo>
                    <a:pt x="9925" y="1268"/>
                  </a:lnTo>
                  <a:lnTo>
                    <a:pt x="9910" y="1245"/>
                  </a:lnTo>
                  <a:lnTo>
                    <a:pt x="9896" y="1220"/>
                  </a:lnTo>
                  <a:lnTo>
                    <a:pt x="9884" y="1195"/>
                  </a:lnTo>
                  <a:lnTo>
                    <a:pt x="9873" y="1169"/>
                  </a:lnTo>
                  <a:lnTo>
                    <a:pt x="9864" y="1143"/>
                  </a:lnTo>
                  <a:lnTo>
                    <a:pt x="9854" y="1114"/>
                  </a:lnTo>
                  <a:lnTo>
                    <a:pt x="9847" y="1087"/>
                  </a:lnTo>
                  <a:lnTo>
                    <a:pt x="9841" y="1057"/>
                  </a:lnTo>
                  <a:lnTo>
                    <a:pt x="9836" y="1028"/>
                  </a:lnTo>
                  <a:lnTo>
                    <a:pt x="9833" y="998"/>
                  </a:lnTo>
                  <a:lnTo>
                    <a:pt x="9831" y="966"/>
                  </a:lnTo>
                  <a:lnTo>
                    <a:pt x="9830" y="933"/>
                  </a:lnTo>
                  <a:lnTo>
                    <a:pt x="9831" y="901"/>
                  </a:lnTo>
                  <a:lnTo>
                    <a:pt x="9833" y="869"/>
                  </a:lnTo>
                  <a:lnTo>
                    <a:pt x="9836" y="839"/>
                  </a:lnTo>
                  <a:lnTo>
                    <a:pt x="9840" y="808"/>
                  </a:lnTo>
                  <a:lnTo>
                    <a:pt x="9846" y="779"/>
                  </a:lnTo>
                  <a:lnTo>
                    <a:pt x="9853" y="750"/>
                  </a:lnTo>
                  <a:lnTo>
                    <a:pt x="9863" y="723"/>
                  </a:lnTo>
                  <a:lnTo>
                    <a:pt x="9872" y="696"/>
                  </a:lnTo>
                  <a:lnTo>
                    <a:pt x="9883" y="670"/>
                  </a:lnTo>
                  <a:lnTo>
                    <a:pt x="9894" y="645"/>
                  </a:lnTo>
                  <a:lnTo>
                    <a:pt x="9907" y="620"/>
                  </a:lnTo>
                  <a:lnTo>
                    <a:pt x="9923" y="597"/>
                  </a:lnTo>
                  <a:lnTo>
                    <a:pt x="9938" y="575"/>
                  </a:lnTo>
                  <a:lnTo>
                    <a:pt x="9954" y="553"/>
                  </a:lnTo>
                  <a:lnTo>
                    <a:pt x="9971" y="533"/>
                  </a:lnTo>
                  <a:lnTo>
                    <a:pt x="9991" y="513"/>
                  </a:lnTo>
                  <a:lnTo>
                    <a:pt x="10010" y="496"/>
                  </a:lnTo>
                  <a:lnTo>
                    <a:pt x="10031" y="479"/>
                  </a:lnTo>
                  <a:lnTo>
                    <a:pt x="10053" y="463"/>
                  </a:lnTo>
                  <a:lnTo>
                    <a:pt x="10075" y="447"/>
                  </a:lnTo>
                  <a:lnTo>
                    <a:pt x="10099" y="433"/>
                  </a:lnTo>
                  <a:lnTo>
                    <a:pt x="10124" y="420"/>
                  </a:lnTo>
                  <a:lnTo>
                    <a:pt x="10149" y="409"/>
                  </a:lnTo>
                  <a:lnTo>
                    <a:pt x="10176" y="399"/>
                  </a:lnTo>
                  <a:lnTo>
                    <a:pt x="10203" y="388"/>
                  </a:lnTo>
                  <a:lnTo>
                    <a:pt x="10232" y="380"/>
                  </a:lnTo>
                  <a:lnTo>
                    <a:pt x="10261" y="373"/>
                  </a:lnTo>
                  <a:lnTo>
                    <a:pt x="10291" y="368"/>
                  </a:lnTo>
                  <a:lnTo>
                    <a:pt x="10322" y="363"/>
                  </a:lnTo>
                  <a:lnTo>
                    <a:pt x="10354" y="360"/>
                  </a:lnTo>
                  <a:lnTo>
                    <a:pt x="10386" y="358"/>
                  </a:lnTo>
                  <a:lnTo>
                    <a:pt x="10419" y="358"/>
                  </a:lnTo>
                  <a:lnTo>
                    <a:pt x="10445" y="358"/>
                  </a:lnTo>
                  <a:lnTo>
                    <a:pt x="10471" y="359"/>
                  </a:lnTo>
                  <a:lnTo>
                    <a:pt x="10496" y="360"/>
                  </a:lnTo>
                  <a:lnTo>
                    <a:pt x="10521" y="362"/>
                  </a:lnTo>
                  <a:lnTo>
                    <a:pt x="10544" y="365"/>
                  </a:lnTo>
                  <a:lnTo>
                    <a:pt x="10567" y="368"/>
                  </a:lnTo>
                  <a:lnTo>
                    <a:pt x="10591" y="372"/>
                  </a:lnTo>
                  <a:lnTo>
                    <a:pt x="10613" y="377"/>
                  </a:lnTo>
                  <a:lnTo>
                    <a:pt x="10634" y="382"/>
                  </a:lnTo>
                  <a:lnTo>
                    <a:pt x="10656" y="388"/>
                  </a:lnTo>
                  <a:lnTo>
                    <a:pt x="10676" y="395"/>
                  </a:lnTo>
                  <a:lnTo>
                    <a:pt x="10696" y="402"/>
                  </a:lnTo>
                  <a:lnTo>
                    <a:pt x="10716" y="409"/>
                  </a:lnTo>
                  <a:lnTo>
                    <a:pt x="10735" y="417"/>
                  </a:lnTo>
                  <a:lnTo>
                    <a:pt x="10754" y="425"/>
                  </a:lnTo>
                  <a:lnTo>
                    <a:pt x="10773" y="435"/>
                  </a:lnTo>
                  <a:lnTo>
                    <a:pt x="10790" y="444"/>
                  </a:lnTo>
                  <a:lnTo>
                    <a:pt x="10807" y="455"/>
                  </a:lnTo>
                  <a:lnTo>
                    <a:pt x="10825" y="466"/>
                  </a:lnTo>
                  <a:lnTo>
                    <a:pt x="10842" y="477"/>
                  </a:lnTo>
                  <a:lnTo>
                    <a:pt x="10858" y="489"/>
                  </a:lnTo>
                  <a:lnTo>
                    <a:pt x="10873" y="502"/>
                  </a:lnTo>
                  <a:lnTo>
                    <a:pt x="10890" y="515"/>
                  </a:lnTo>
                  <a:lnTo>
                    <a:pt x="10904" y="529"/>
                  </a:lnTo>
                  <a:lnTo>
                    <a:pt x="10919" y="543"/>
                  </a:lnTo>
                  <a:lnTo>
                    <a:pt x="10933" y="557"/>
                  </a:lnTo>
                  <a:lnTo>
                    <a:pt x="10948" y="572"/>
                  </a:lnTo>
                  <a:lnTo>
                    <a:pt x="10962" y="589"/>
                  </a:lnTo>
                  <a:lnTo>
                    <a:pt x="10975" y="605"/>
                  </a:lnTo>
                  <a:lnTo>
                    <a:pt x="10988" y="621"/>
                  </a:lnTo>
                  <a:lnTo>
                    <a:pt x="11002" y="639"/>
                  </a:lnTo>
                  <a:lnTo>
                    <a:pt x="11015" y="657"/>
                  </a:lnTo>
                  <a:lnTo>
                    <a:pt x="11327" y="4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490538" y="487363"/>
              <a:ext cx="466725" cy="455612"/>
            </a:xfrm>
            <a:custGeom>
              <a:avLst/>
              <a:gdLst>
                <a:gd name="T0" fmla="*/ 1853 w 3532"/>
                <a:gd name="T1" fmla="*/ 1336 h 3444"/>
                <a:gd name="T2" fmla="*/ 1828 w 3532"/>
                <a:gd name="T3" fmla="*/ 1351 h 3444"/>
                <a:gd name="T4" fmla="*/ 1795 w 3532"/>
                <a:gd name="T5" fmla="*/ 1349 h 3444"/>
                <a:gd name="T6" fmla="*/ 1104 w 3532"/>
                <a:gd name="T7" fmla="*/ 1069 h 3444"/>
                <a:gd name="T8" fmla="*/ 1071 w 3532"/>
                <a:gd name="T9" fmla="*/ 1010 h 3444"/>
                <a:gd name="T10" fmla="*/ 1204 w 3532"/>
                <a:gd name="T11" fmla="*/ 141 h 3444"/>
                <a:gd name="T12" fmla="*/ 1231 w 3532"/>
                <a:gd name="T13" fmla="*/ 77 h 3444"/>
                <a:gd name="T14" fmla="*/ 1287 w 3532"/>
                <a:gd name="T15" fmla="*/ 37 h 3444"/>
                <a:gd name="T16" fmla="*/ 2026 w 3532"/>
                <a:gd name="T17" fmla="*/ 0 h 3444"/>
                <a:gd name="T18" fmla="*/ 2055 w 3532"/>
                <a:gd name="T19" fmla="*/ 11 h 3444"/>
                <a:gd name="T20" fmla="*/ 2072 w 3532"/>
                <a:gd name="T21" fmla="*/ 37 h 3444"/>
                <a:gd name="T22" fmla="*/ 1399 w 3532"/>
                <a:gd name="T23" fmla="*/ 1554 h 3444"/>
                <a:gd name="T24" fmla="*/ 1417 w 3532"/>
                <a:gd name="T25" fmla="*/ 1578 h 3444"/>
                <a:gd name="T26" fmla="*/ 1414 w 3532"/>
                <a:gd name="T27" fmla="*/ 1610 h 3444"/>
                <a:gd name="T28" fmla="*/ 958 w 3532"/>
                <a:gd name="T29" fmla="*/ 2172 h 3444"/>
                <a:gd name="T30" fmla="*/ 893 w 3532"/>
                <a:gd name="T31" fmla="*/ 2208 h 3444"/>
                <a:gd name="T32" fmla="*/ 826 w 3532"/>
                <a:gd name="T33" fmla="*/ 2201 h 3444"/>
                <a:gd name="T34" fmla="*/ 45 w 3532"/>
                <a:gd name="T35" fmla="*/ 1796 h 3444"/>
                <a:gd name="T36" fmla="*/ 6 w 3532"/>
                <a:gd name="T37" fmla="*/ 1741 h 3444"/>
                <a:gd name="T38" fmla="*/ 4 w 3532"/>
                <a:gd name="T39" fmla="*/ 1664 h 3444"/>
                <a:gd name="T40" fmla="*/ 200 w 3532"/>
                <a:gd name="T41" fmla="*/ 976 h 3444"/>
                <a:gd name="T42" fmla="*/ 226 w 3532"/>
                <a:gd name="T43" fmla="*/ 959 h 3444"/>
                <a:gd name="T44" fmla="*/ 255 w 3532"/>
                <a:gd name="T45" fmla="*/ 963 h 3444"/>
                <a:gd name="T46" fmla="*/ 1491 w 3532"/>
                <a:gd name="T47" fmla="*/ 2055 h 3444"/>
                <a:gd name="T48" fmla="*/ 1521 w 3532"/>
                <a:gd name="T49" fmla="*/ 2057 h 3444"/>
                <a:gd name="T50" fmla="*/ 1546 w 3532"/>
                <a:gd name="T51" fmla="*/ 2077 h 3444"/>
                <a:gd name="T52" fmla="*/ 1940 w 3532"/>
                <a:gd name="T53" fmla="*/ 2711 h 3444"/>
                <a:gd name="T54" fmla="*/ 1933 w 3532"/>
                <a:gd name="T55" fmla="*/ 2779 h 3444"/>
                <a:gd name="T56" fmla="*/ 1315 w 3532"/>
                <a:gd name="T57" fmla="*/ 3402 h 3444"/>
                <a:gd name="T58" fmla="*/ 1256 w 3532"/>
                <a:gd name="T59" fmla="*/ 3439 h 3444"/>
                <a:gd name="T60" fmla="*/ 1187 w 3532"/>
                <a:gd name="T61" fmla="*/ 3439 h 3444"/>
                <a:gd name="T62" fmla="*/ 567 w 3532"/>
                <a:gd name="T63" fmla="*/ 3035 h 3444"/>
                <a:gd name="T64" fmla="*/ 549 w 3532"/>
                <a:gd name="T65" fmla="*/ 3009 h 3444"/>
                <a:gd name="T66" fmla="*/ 551 w 3532"/>
                <a:gd name="T67" fmla="*/ 2978 h 3444"/>
                <a:gd name="T68" fmla="*/ 1987 w 3532"/>
                <a:gd name="T69" fmla="*/ 2144 h 3444"/>
                <a:gd name="T70" fmla="*/ 1988 w 3532"/>
                <a:gd name="T71" fmla="*/ 2114 h 3444"/>
                <a:gd name="T72" fmla="*/ 2009 w 3532"/>
                <a:gd name="T73" fmla="*/ 2091 h 3444"/>
                <a:gd name="T74" fmla="*/ 2707 w 3532"/>
                <a:gd name="T75" fmla="*/ 1899 h 3444"/>
                <a:gd name="T76" fmla="*/ 2780 w 3532"/>
                <a:gd name="T77" fmla="*/ 1910 h 3444"/>
                <a:gd name="T78" fmla="*/ 2832 w 3532"/>
                <a:gd name="T79" fmla="*/ 1953 h 3444"/>
                <a:gd name="T80" fmla="*/ 3229 w 3532"/>
                <a:gd name="T81" fmla="*/ 2739 h 3444"/>
                <a:gd name="T82" fmla="*/ 3227 w 3532"/>
                <a:gd name="T83" fmla="*/ 2806 h 3444"/>
                <a:gd name="T84" fmla="*/ 3184 w 3532"/>
                <a:gd name="T85" fmla="*/ 2871 h 3444"/>
                <a:gd name="T86" fmla="*/ 2624 w 3532"/>
                <a:gd name="T87" fmla="*/ 3314 h 3444"/>
                <a:gd name="T88" fmla="*/ 2593 w 3532"/>
                <a:gd name="T89" fmla="*/ 3313 h 3444"/>
                <a:gd name="T90" fmla="*/ 2570 w 3532"/>
                <a:gd name="T91" fmla="*/ 3292 h 3444"/>
                <a:gd name="T92" fmla="*/ 2206 w 3532"/>
                <a:gd name="T93" fmla="*/ 1686 h 3444"/>
                <a:gd name="T94" fmla="*/ 2183 w 3532"/>
                <a:gd name="T95" fmla="*/ 1667 h 3444"/>
                <a:gd name="T96" fmla="*/ 2176 w 3532"/>
                <a:gd name="T97" fmla="*/ 1635 h 3444"/>
                <a:gd name="T98" fmla="*/ 2229 w 3532"/>
                <a:gd name="T99" fmla="*/ 892 h 3444"/>
                <a:gd name="T100" fmla="*/ 2275 w 3532"/>
                <a:gd name="T101" fmla="*/ 841 h 3444"/>
                <a:gd name="T102" fmla="*/ 3142 w 3532"/>
                <a:gd name="T103" fmla="*/ 700 h 3444"/>
                <a:gd name="T104" fmla="*/ 3211 w 3532"/>
                <a:gd name="T105" fmla="*/ 706 h 3444"/>
                <a:gd name="T106" fmla="*/ 3268 w 3532"/>
                <a:gd name="T107" fmla="*/ 746 h 3444"/>
                <a:gd name="T108" fmla="*/ 3530 w 3532"/>
                <a:gd name="T109" fmla="*/ 1438 h 3444"/>
                <a:gd name="T110" fmla="*/ 3529 w 3532"/>
                <a:gd name="T111" fmla="*/ 1469 h 3444"/>
                <a:gd name="T112" fmla="*/ 3510 w 3532"/>
                <a:gd name="T113" fmla="*/ 1493 h 3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32" h="3444">
                  <a:moveTo>
                    <a:pt x="2072" y="52"/>
                  </a:moveTo>
                  <a:lnTo>
                    <a:pt x="1861" y="1317"/>
                  </a:lnTo>
                  <a:lnTo>
                    <a:pt x="1860" y="1322"/>
                  </a:lnTo>
                  <a:lnTo>
                    <a:pt x="1858" y="1327"/>
                  </a:lnTo>
                  <a:lnTo>
                    <a:pt x="1856" y="1332"/>
                  </a:lnTo>
                  <a:lnTo>
                    <a:pt x="1853" y="1336"/>
                  </a:lnTo>
                  <a:lnTo>
                    <a:pt x="1849" y="1340"/>
                  </a:lnTo>
                  <a:lnTo>
                    <a:pt x="1846" y="1343"/>
                  </a:lnTo>
                  <a:lnTo>
                    <a:pt x="1842" y="1346"/>
                  </a:lnTo>
                  <a:lnTo>
                    <a:pt x="1837" y="1348"/>
                  </a:lnTo>
                  <a:lnTo>
                    <a:pt x="1833" y="1350"/>
                  </a:lnTo>
                  <a:lnTo>
                    <a:pt x="1828" y="1351"/>
                  </a:lnTo>
                  <a:lnTo>
                    <a:pt x="1822" y="1352"/>
                  </a:lnTo>
                  <a:lnTo>
                    <a:pt x="1817" y="1353"/>
                  </a:lnTo>
                  <a:lnTo>
                    <a:pt x="1811" y="1352"/>
                  </a:lnTo>
                  <a:lnTo>
                    <a:pt x="1806" y="1352"/>
                  </a:lnTo>
                  <a:lnTo>
                    <a:pt x="1801" y="1351"/>
                  </a:lnTo>
                  <a:lnTo>
                    <a:pt x="1795" y="1349"/>
                  </a:lnTo>
                  <a:lnTo>
                    <a:pt x="1163" y="1105"/>
                  </a:lnTo>
                  <a:lnTo>
                    <a:pt x="1149" y="1099"/>
                  </a:lnTo>
                  <a:lnTo>
                    <a:pt x="1136" y="1092"/>
                  </a:lnTo>
                  <a:lnTo>
                    <a:pt x="1125" y="1085"/>
                  </a:lnTo>
                  <a:lnTo>
                    <a:pt x="1114" y="1077"/>
                  </a:lnTo>
                  <a:lnTo>
                    <a:pt x="1104" y="1069"/>
                  </a:lnTo>
                  <a:lnTo>
                    <a:pt x="1096" y="1060"/>
                  </a:lnTo>
                  <a:lnTo>
                    <a:pt x="1089" y="1050"/>
                  </a:lnTo>
                  <a:lnTo>
                    <a:pt x="1083" y="1041"/>
                  </a:lnTo>
                  <a:lnTo>
                    <a:pt x="1078" y="1031"/>
                  </a:lnTo>
                  <a:lnTo>
                    <a:pt x="1074" y="1020"/>
                  </a:lnTo>
                  <a:lnTo>
                    <a:pt x="1071" y="1010"/>
                  </a:lnTo>
                  <a:lnTo>
                    <a:pt x="1068" y="999"/>
                  </a:lnTo>
                  <a:lnTo>
                    <a:pt x="1067" y="986"/>
                  </a:lnTo>
                  <a:lnTo>
                    <a:pt x="1067" y="975"/>
                  </a:lnTo>
                  <a:lnTo>
                    <a:pt x="1068" y="963"/>
                  </a:lnTo>
                  <a:lnTo>
                    <a:pt x="1069" y="951"/>
                  </a:lnTo>
                  <a:lnTo>
                    <a:pt x="1204" y="141"/>
                  </a:lnTo>
                  <a:lnTo>
                    <a:pt x="1206" y="130"/>
                  </a:lnTo>
                  <a:lnTo>
                    <a:pt x="1209" y="118"/>
                  </a:lnTo>
                  <a:lnTo>
                    <a:pt x="1213" y="107"/>
                  </a:lnTo>
                  <a:lnTo>
                    <a:pt x="1218" y="97"/>
                  </a:lnTo>
                  <a:lnTo>
                    <a:pt x="1224" y="86"/>
                  </a:lnTo>
                  <a:lnTo>
                    <a:pt x="1231" y="77"/>
                  </a:lnTo>
                  <a:lnTo>
                    <a:pt x="1238" y="69"/>
                  </a:lnTo>
                  <a:lnTo>
                    <a:pt x="1246" y="61"/>
                  </a:lnTo>
                  <a:lnTo>
                    <a:pt x="1255" y="54"/>
                  </a:lnTo>
                  <a:lnTo>
                    <a:pt x="1265" y="47"/>
                  </a:lnTo>
                  <a:lnTo>
                    <a:pt x="1275" y="42"/>
                  </a:lnTo>
                  <a:lnTo>
                    <a:pt x="1287" y="37"/>
                  </a:lnTo>
                  <a:lnTo>
                    <a:pt x="1300" y="33"/>
                  </a:lnTo>
                  <a:lnTo>
                    <a:pt x="1313" y="29"/>
                  </a:lnTo>
                  <a:lnTo>
                    <a:pt x="1327" y="27"/>
                  </a:lnTo>
                  <a:lnTo>
                    <a:pt x="1342" y="26"/>
                  </a:lnTo>
                  <a:lnTo>
                    <a:pt x="2020" y="0"/>
                  </a:lnTo>
                  <a:lnTo>
                    <a:pt x="2026" y="0"/>
                  </a:lnTo>
                  <a:lnTo>
                    <a:pt x="2031" y="1"/>
                  </a:lnTo>
                  <a:lnTo>
                    <a:pt x="2036" y="2"/>
                  </a:lnTo>
                  <a:lnTo>
                    <a:pt x="2042" y="3"/>
                  </a:lnTo>
                  <a:lnTo>
                    <a:pt x="2046" y="5"/>
                  </a:lnTo>
                  <a:lnTo>
                    <a:pt x="2051" y="8"/>
                  </a:lnTo>
                  <a:lnTo>
                    <a:pt x="2055" y="11"/>
                  </a:lnTo>
                  <a:lnTo>
                    <a:pt x="2059" y="14"/>
                  </a:lnTo>
                  <a:lnTo>
                    <a:pt x="2062" y="18"/>
                  </a:lnTo>
                  <a:lnTo>
                    <a:pt x="2066" y="22"/>
                  </a:lnTo>
                  <a:lnTo>
                    <a:pt x="2068" y="26"/>
                  </a:lnTo>
                  <a:lnTo>
                    <a:pt x="2070" y="32"/>
                  </a:lnTo>
                  <a:lnTo>
                    <a:pt x="2072" y="37"/>
                  </a:lnTo>
                  <a:lnTo>
                    <a:pt x="2072" y="42"/>
                  </a:lnTo>
                  <a:lnTo>
                    <a:pt x="2073" y="47"/>
                  </a:lnTo>
                  <a:lnTo>
                    <a:pt x="2072" y="52"/>
                  </a:lnTo>
                  <a:close/>
                  <a:moveTo>
                    <a:pt x="255" y="963"/>
                  </a:moveTo>
                  <a:lnTo>
                    <a:pt x="1394" y="1551"/>
                  </a:lnTo>
                  <a:lnTo>
                    <a:pt x="1399" y="1554"/>
                  </a:lnTo>
                  <a:lnTo>
                    <a:pt x="1403" y="1557"/>
                  </a:lnTo>
                  <a:lnTo>
                    <a:pt x="1408" y="1561"/>
                  </a:lnTo>
                  <a:lnTo>
                    <a:pt x="1411" y="1565"/>
                  </a:lnTo>
                  <a:lnTo>
                    <a:pt x="1413" y="1569"/>
                  </a:lnTo>
                  <a:lnTo>
                    <a:pt x="1415" y="1574"/>
                  </a:lnTo>
                  <a:lnTo>
                    <a:pt x="1417" y="1578"/>
                  </a:lnTo>
                  <a:lnTo>
                    <a:pt x="1418" y="1583"/>
                  </a:lnTo>
                  <a:lnTo>
                    <a:pt x="1418" y="1588"/>
                  </a:lnTo>
                  <a:lnTo>
                    <a:pt x="1418" y="1593"/>
                  </a:lnTo>
                  <a:lnTo>
                    <a:pt x="1417" y="1599"/>
                  </a:lnTo>
                  <a:lnTo>
                    <a:pt x="1416" y="1605"/>
                  </a:lnTo>
                  <a:lnTo>
                    <a:pt x="1414" y="1610"/>
                  </a:lnTo>
                  <a:lnTo>
                    <a:pt x="1412" y="1614"/>
                  </a:lnTo>
                  <a:lnTo>
                    <a:pt x="1409" y="1619"/>
                  </a:lnTo>
                  <a:lnTo>
                    <a:pt x="1405" y="1624"/>
                  </a:lnTo>
                  <a:lnTo>
                    <a:pt x="978" y="2151"/>
                  </a:lnTo>
                  <a:lnTo>
                    <a:pt x="969" y="2162"/>
                  </a:lnTo>
                  <a:lnTo>
                    <a:pt x="958" y="2172"/>
                  </a:lnTo>
                  <a:lnTo>
                    <a:pt x="948" y="2181"/>
                  </a:lnTo>
                  <a:lnTo>
                    <a:pt x="938" y="2188"/>
                  </a:lnTo>
                  <a:lnTo>
                    <a:pt x="926" y="2195"/>
                  </a:lnTo>
                  <a:lnTo>
                    <a:pt x="915" y="2200"/>
                  </a:lnTo>
                  <a:lnTo>
                    <a:pt x="904" y="2204"/>
                  </a:lnTo>
                  <a:lnTo>
                    <a:pt x="893" y="2208"/>
                  </a:lnTo>
                  <a:lnTo>
                    <a:pt x="882" y="2209"/>
                  </a:lnTo>
                  <a:lnTo>
                    <a:pt x="871" y="2210"/>
                  </a:lnTo>
                  <a:lnTo>
                    <a:pt x="859" y="2209"/>
                  </a:lnTo>
                  <a:lnTo>
                    <a:pt x="848" y="2208"/>
                  </a:lnTo>
                  <a:lnTo>
                    <a:pt x="837" y="2206"/>
                  </a:lnTo>
                  <a:lnTo>
                    <a:pt x="826" y="2201"/>
                  </a:lnTo>
                  <a:lnTo>
                    <a:pt x="815" y="2197"/>
                  </a:lnTo>
                  <a:lnTo>
                    <a:pt x="803" y="2192"/>
                  </a:lnTo>
                  <a:lnTo>
                    <a:pt x="74" y="1816"/>
                  </a:lnTo>
                  <a:lnTo>
                    <a:pt x="64" y="1810"/>
                  </a:lnTo>
                  <a:lnTo>
                    <a:pt x="54" y="1803"/>
                  </a:lnTo>
                  <a:lnTo>
                    <a:pt x="45" y="1796"/>
                  </a:lnTo>
                  <a:lnTo>
                    <a:pt x="37" y="1789"/>
                  </a:lnTo>
                  <a:lnTo>
                    <a:pt x="28" y="1779"/>
                  </a:lnTo>
                  <a:lnTo>
                    <a:pt x="21" y="1771"/>
                  </a:lnTo>
                  <a:lnTo>
                    <a:pt x="15" y="1761"/>
                  </a:lnTo>
                  <a:lnTo>
                    <a:pt x="10" y="1751"/>
                  </a:lnTo>
                  <a:lnTo>
                    <a:pt x="6" y="1741"/>
                  </a:lnTo>
                  <a:lnTo>
                    <a:pt x="3" y="1729"/>
                  </a:lnTo>
                  <a:lnTo>
                    <a:pt x="1" y="1717"/>
                  </a:lnTo>
                  <a:lnTo>
                    <a:pt x="0" y="1704"/>
                  </a:lnTo>
                  <a:lnTo>
                    <a:pt x="0" y="1691"/>
                  </a:lnTo>
                  <a:lnTo>
                    <a:pt x="1" y="1678"/>
                  </a:lnTo>
                  <a:lnTo>
                    <a:pt x="4" y="1664"/>
                  </a:lnTo>
                  <a:lnTo>
                    <a:pt x="7" y="1648"/>
                  </a:lnTo>
                  <a:lnTo>
                    <a:pt x="190" y="995"/>
                  </a:lnTo>
                  <a:lnTo>
                    <a:pt x="192" y="990"/>
                  </a:lnTo>
                  <a:lnTo>
                    <a:pt x="194" y="985"/>
                  </a:lnTo>
                  <a:lnTo>
                    <a:pt x="197" y="980"/>
                  </a:lnTo>
                  <a:lnTo>
                    <a:pt x="200" y="976"/>
                  </a:lnTo>
                  <a:lnTo>
                    <a:pt x="203" y="972"/>
                  </a:lnTo>
                  <a:lnTo>
                    <a:pt x="207" y="969"/>
                  </a:lnTo>
                  <a:lnTo>
                    <a:pt x="212" y="965"/>
                  </a:lnTo>
                  <a:lnTo>
                    <a:pt x="216" y="963"/>
                  </a:lnTo>
                  <a:lnTo>
                    <a:pt x="221" y="961"/>
                  </a:lnTo>
                  <a:lnTo>
                    <a:pt x="226" y="959"/>
                  </a:lnTo>
                  <a:lnTo>
                    <a:pt x="230" y="958"/>
                  </a:lnTo>
                  <a:lnTo>
                    <a:pt x="235" y="958"/>
                  </a:lnTo>
                  <a:lnTo>
                    <a:pt x="240" y="958"/>
                  </a:lnTo>
                  <a:lnTo>
                    <a:pt x="245" y="959"/>
                  </a:lnTo>
                  <a:lnTo>
                    <a:pt x="250" y="960"/>
                  </a:lnTo>
                  <a:lnTo>
                    <a:pt x="255" y="963"/>
                  </a:lnTo>
                  <a:close/>
                  <a:moveTo>
                    <a:pt x="560" y="2966"/>
                  </a:moveTo>
                  <a:lnTo>
                    <a:pt x="1474" y="2066"/>
                  </a:lnTo>
                  <a:lnTo>
                    <a:pt x="1478" y="2062"/>
                  </a:lnTo>
                  <a:lnTo>
                    <a:pt x="1482" y="2059"/>
                  </a:lnTo>
                  <a:lnTo>
                    <a:pt x="1487" y="2057"/>
                  </a:lnTo>
                  <a:lnTo>
                    <a:pt x="1491" y="2055"/>
                  </a:lnTo>
                  <a:lnTo>
                    <a:pt x="1496" y="2054"/>
                  </a:lnTo>
                  <a:lnTo>
                    <a:pt x="1501" y="2053"/>
                  </a:lnTo>
                  <a:lnTo>
                    <a:pt x="1506" y="2054"/>
                  </a:lnTo>
                  <a:lnTo>
                    <a:pt x="1511" y="2054"/>
                  </a:lnTo>
                  <a:lnTo>
                    <a:pt x="1516" y="2055"/>
                  </a:lnTo>
                  <a:lnTo>
                    <a:pt x="1521" y="2057"/>
                  </a:lnTo>
                  <a:lnTo>
                    <a:pt x="1526" y="2059"/>
                  </a:lnTo>
                  <a:lnTo>
                    <a:pt x="1531" y="2062"/>
                  </a:lnTo>
                  <a:lnTo>
                    <a:pt x="1535" y="2065"/>
                  </a:lnTo>
                  <a:lnTo>
                    <a:pt x="1539" y="2069"/>
                  </a:lnTo>
                  <a:lnTo>
                    <a:pt x="1543" y="2073"/>
                  </a:lnTo>
                  <a:lnTo>
                    <a:pt x="1546" y="2077"/>
                  </a:lnTo>
                  <a:lnTo>
                    <a:pt x="1914" y="2647"/>
                  </a:lnTo>
                  <a:lnTo>
                    <a:pt x="1922" y="2660"/>
                  </a:lnTo>
                  <a:lnTo>
                    <a:pt x="1928" y="2673"/>
                  </a:lnTo>
                  <a:lnTo>
                    <a:pt x="1933" y="2685"/>
                  </a:lnTo>
                  <a:lnTo>
                    <a:pt x="1937" y="2699"/>
                  </a:lnTo>
                  <a:lnTo>
                    <a:pt x="1940" y="2711"/>
                  </a:lnTo>
                  <a:lnTo>
                    <a:pt x="1941" y="2723"/>
                  </a:lnTo>
                  <a:lnTo>
                    <a:pt x="1942" y="2734"/>
                  </a:lnTo>
                  <a:lnTo>
                    <a:pt x="1941" y="2745"/>
                  </a:lnTo>
                  <a:lnTo>
                    <a:pt x="1939" y="2758"/>
                  </a:lnTo>
                  <a:lnTo>
                    <a:pt x="1936" y="2768"/>
                  </a:lnTo>
                  <a:lnTo>
                    <a:pt x="1933" y="2779"/>
                  </a:lnTo>
                  <a:lnTo>
                    <a:pt x="1928" y="2789"/>
                  </a:lnTo>
                  <a:lnTo>
                    <a:pt x="1922" y="2799"/>
                  </a:lnTo>
                  <a:lnTo>
                    <a:pt x="1915" y="2808"/>
                  </a:lnTo>
                  <a:lnTo>
                    <a:pt x="1908" y="2818"/>
                  </a:lnTo>
                  <a:lnTo>
                    <a:pt x="1900" y="2827"/>
                  </a:lnTo>
                  <a:lnTo>
                    <a:pt x="1315" y="3402"/>
                  </a:lnTo>
                  <a:lnTo>
                    <a:pt x="1307" y="3410"/>
                  </a:lnTo>
                  <a:lnTo>
                    <a:pt x="1297" y="3419"/>
                  </a:lnTo>
                  <a:lnTo>
                    <a:pt x="1288" y="3425"/>
                  </a:lnTo>
                  <a:lnTo>
                    <a:pt x="1277" y="3431"/>
                  </a:lnTo>
                  <a:lnTo>
                    <a:pt x="1267" y="3435"/>
                  </a:lnTo>
                  <a:lnTo>
                    <a:pt x="1256" y="3439"/>
                  </a:lnTo>
                  <a:lnTo>
                    <a:pt x="1245" y="3442"/>
                  </a:lnTo>
                  <a:lnTo>
                    <a:pt x="1234" y="3443"/>
                  </a:lnTo>
                  <a:lnTo>
                    <a:pt x="1222" y="3444"/>
                  </a:lnTo>
                  <a:lnTo>
                    <a:pt x="1211" y="3443"/>
                  </a:lnTo>
                  <a:lnTo>
                    <a:pt x="1199" y="3442"/>
                  </a:lnTo>
                  <a:lnTo>
                    <a:pt x="1187" y="3439"/>
                  </a:lnTo>
                  <a:lnTo>
                    <a:pt x="1174" y="3435"/>
                  </a:lnTo>
                  <a:lnTo>
                    <a:pt x="1161" y="3430"/>
                  </a:lnTo>
                  <a:lnTo>
                    <a:pt x="1148" y="3423"/>
                  </a:lnTo>
                  <a:lnTo>
                    <a:pt x="1136" y="3415"/>
                  </a:lnTo>
                  <a:lnTo>
                    <a:pt x="572" y="3038"/>
                  </a:lnTo>
                  <a:lnTo>
                    <a:pt x="567" y="3035"/>
                  </a:lnTo>
                  <a:lnTo>
                    <a:pt x="563" y="3031"/>
                  </a:lnTo>
                  <a:lnTo>
                    <a:pt x="559" y="3027"/>
                  </a:lnTo>
                  <a:lnTo>
                    <a:pt x="556" y="3023"/>
                  </a:lnTo>
                  <a:lnTo>
                    <a:pt x="553" y="3018"/>
                  </a:lnTo>
                  <a:lnTo>
                    <a:pt x="551" y="3014"/>
                  </a:lnTo>
                  <a:lnTo>
                    <a:pt x="549" y="3009"/>
                  </a:lnTo>
                  <a:lnTo>
                    <a:pt x="548" y="3004"/>
                  </a:lnTo>
                  <a:lnTo>
                    <a:pt x="548" y="2999"/>
                  </a:lnTo>
                  <a:lnTo>
                    <a:pt x="548" y="2994"/>
                  </a:lnTo>
                  <a:lnTo>
                    <a:pt x="548" y="2988"/>
                  </a:lnTo>
                  <a:lnTo>
                    <a:pt x="549" y="2983"/>
                  </a:lnTo>
                  <a:lnTo>
                    <a:pt x="551" y="2978"/>
                  </a:lnTo>
                  <a:lnTo>
                    <a:pt x="553" y="2974"/>
                  </a:lnTo>
                  <a:lnTo>
                    <a:pt x="556" y="2970"/>
                  </a:lnTo>
                  <a:lnTo>
                    <a:pt x="560" y="2966"/>
                  </a:lnTo>
                  <a:close/>
                  <a:moveTo>
                    <a:pt x="2570" y="3292"/>
                  </a:moveTo>
                  <a:lnTo>
                    <a:pt x="1990" y="2150"/>
                  </a:lnTo>
                  <a:lnTo>
                    <a:pt x="1987" y="2144"/>
                  </a:lnTo>
                  <a:lnTo>
                    <a:pt x="1986" y="2139"/>
                  </a:lnTo>
                  <a:lnTo>
                    <a:pt x="1985" y="2134"/>
                  </a:lnTo>
                  <a:lnTo>
                    <a:pt x="1985" y="2128"/>
                  </a:lnTo>
                  <a:lnTo>
                    <a:pt x="1986" y="2124"/>
                  </a:lnTo>
                  <a:lnTo>
                    <a:pt x="1987" y="2119"/>
                  </a:lnTo>
                  <a:lnTo>
                    <a:pt x="1988" y="2114"/>
                  </a:lnTo>
                  <a:lnTo>
                    <a:pt x="1990" y="2110"/>
                  </a:lnTo>
                  <a:lnTo>
                    <a:pt x="1993" y="2105"/>
                  </a:lnTo>
                  <a:lnTo>
                    <a:pt x="1996" y="2101"/>
                  </a:lnTo>
                  <a:lnTo>
                    <a:pt x="2000" y="2098"/>
                  </a:lnTo>
                  <a:lnTo>
                    <a:pt x="2003" y="2094"/>
                  </a:lnTo>
                  <a:lnTo>
                    <a:pt x="2009" y="2091"/>
                  </a:lnTo>
                  <a:lnTo>
                    <a:pt x="2013" y="2088"/>
                  </a:lnTo>
                  <a:lnTo>
                    <a:pt x="2018" y="2086"/>
                  </a:lnTo>
                  <a:lnTo>
                    <a:pt x="2024" y="2084"/>
                  </a:lnTo>
                  <a:lnTo>
                    <a:pt x="2678" y="1906"/>
                  </a:lnTo>
                  <a:lnTo>
                    <a:pt x="2693" y="1902"/>
                  </a:lnTo>
                  <a:lnTo>
                    <a:pt x="2707" y="1899"/>
                  </a:lnTo>
                  <a:lnTo>
                    <a:pt x="2720" y="1898"/>
                  </a:lnTo>
                  <a:lnTo>
                    <a:pt x="2734" y="1898"/>
                  </a:lnTo>
                  <a:lnTo>
                    <a:pt x="2746" y="1900"/>
                  </a:lnTo>
                  <a:lnTo>
                    <a:pt x="2758" y="1902"/>
                  </a:lnTo>
                  <a:lnTo>
                    <a:pt x="2769" y="1906"/>
                  </a:lnTo>
                  <a:lnTo>
                    <a:pt x="2780" y="1910"/>
                  </a:lnTo>
                  <a:lnTo>
                    <a:pt x="2791" y="1915"/>
                  </a:lnTo>
                  <a:lnTo>
                    <a:pt x="2800" y="1921"/>
                  </a:lnTo>
                  <a:lnTo>
                    <a:pt x="2809" y="1928"/>
                  </a:lnTo>
                  <a:lnTo>
                    <a:pt x="2817" y="1936"/>
                  </a:lnTo>
                  <a:lnTo>
                    <a:pt x="2825" y="1944"/>
                  </a:lnTo>
                  <a:lnTo>
                    <a:pt x="2832" y="1953"/>
                  </a:lnTo>
                  <a:lnTo>
                    <a:pt x="2838" y="1963"/>
                  </a:lnTo>
                  <a:lnTo>
                    <a:pt x="2845" y="1974"/>
                  </a:lnTo>
                  <a:lnTo>
                    <a:pt x="3216" y="2706"/>
                  </a:lnTo>
                  <a:lnTo>
                    <a:pt x="3221" y="2717"/>
                  </a:lnTo>
                  <a:lnTo>
                    <a:pt x="3225" y="2727"/>
                  </a:lnTo>
                  <a:lnTo>
                    <a:pt x="3229" y="2739"/>
                  </a:lnTo>
                  <a:lnTo>
                    <a:pt x="3231" y="2751"/>
                  </a:lnTo>
                  <a:lnTo>
                    <a:pt x="3232" y="2762"/>
                  </a:lnTo>
                  <a:lnTo>
                    <a:pt x="3233" y="2773"/>
                  </a:lnTo>
                  <a:lnTo>
                    <a:pt x="3232" y="2784"/>
                  </a:lnTo>
                  <a:lnTo>
                    <a:pt x="3230" y="2795"/>
                  </a:lnTo>
                  <a:lnTo>
                    <a:pt x="3227" y="2806"/>
                  </a:lnTo>
                  <a:lnTo>
                    <a:pt x="3223" y="2818"/>
                  </a:lnTo>
                  <a:lnTo>
                    <a:pt x="3218" y="2829"/>
                  </a:lnTo>
                  <a:lnTo>
                    <a:pt x="3212" y="2839"/>
                  </a:lnTo>
                  <a:lnTo>
                    <a:pt x="3204" y="2850"/>
                  </a:lnTo>
                  <a:lnTo>
                    <a:pt x="3194" y="2860"/>
                  </a:lnTo>
                  <a:lnTo>
                    <a:pt x="3184" y="2871"/>
                  </a:lnTo>
                  <a:lnTo>
                    <a:pt x="3173" y="2881"/>
                  </a:lnTo>
                  <a:lnTo>
                    <a:pt x="2643" y="3304"/>
                  </a:lnTo>
                  <a:lnTo>
                    <a:pt x="2638" y="3307"/>
                  </a:lnTo>
                  <a:lnTo>
                    <a:pt x="2633" y="3310"/>
                  </a:lnTo>
                  <a:lnTo>
                    <a:pt x="2629" y="3312"/>
                  </a:lnTo>
                  <a:lnTo>
                    <a:pt x="2624" y="3314"/>
                  </a:lnTo>
                  <a:lnTo>
                    <a:pt x="2619" y="3315"/>
                  </a:lnTo>
                  <a:lnTo>
                    <a:pt x="2613" y="3316"/>
                  </a:lnTo>
                  <a:lnTo>
                    <a:pt x="2608" y="3316"/>
                  </a:lnTo>
                  <a:lnTo>
                    <a:pt x="2603" y="3315"/>
                  </a:lnTo>
                  <a:lnTo>
                    <a:pt x="2598" y="3314"/>
                  </a:lnTo>
                  <a:lnTo>
                    <a:pt x="2593" y="3313"/>
                  </a:lnTo>
                  <a:lnTo>
                    <a:pt x="2588" y="3311"/>
                  </a:lnTo>
                  <a:lnTo>
                    <a:pt x="2584" y="3308"/>
                  </a:lnTo>
                  <a:lnTo>
                    <a:pt x="2580" y="3305"/>
                  </a:lnTo>
                  <a:lnTo>
                    <a:pt x="2576" y="3302"/>
                  </a:lnTo>
                  <a:lnTo>
                    <a:pt x="2573" y="3297"/>
                  </a:lnTo>
                  <a:lnTo>
                    <a:pt x="2570" y="3292"/>
                  </a:lnTo>
                  <a:close/>
                  <a:moveTo>
                    <a:pt x="3494" y="1498"/>
                  </a:moveTo>
                  <a:lnTo>
                    <a:pt x="2227" y="1688"/>
                  </a:lnTo>
                  <a:lnTo>
                    <a:pt x="2222" y="1688"/>
                  </a:lnTo>
                  <a:lnTo>
                    <a:pt x="2216" y="1688"/>
                  </a:lnTo>
                  <a:lnTo>
                    <a:pt x="2211" y="1687"/>
                  </a:lnTo>
                  <a:lnTo>
                    <a:pt x="2206" y="1686"/>
                  </a:lnTo>
                  <a:lnTo>
                    <a:pt x="2202" y="1684"/>
                  </a:lnTo>
                  <a:lnTo>
                    <a:pt x="2198" y="1681"/>
                  </a:lnTo>
                  <a:lnTo>
                    <a:pt x="2194" y="1678"/>
                  </a:lnTo>
                  <a:lnTo>
                    <a:pt x="2190" y="1675"/>
                  </a:lnTo>
                  <a:lnTo>
                    <a:pt x="2187" y="1671"/>
                  </a:lnTo>
                  <a:lnTo>
                    <a:pt x="2183" y="1667"/>
                  </a:lnTo>
                  <a:lnTo>
                    <a:pt x="2181" y="1661"/>
                  </a:lnTo>
                  <a:lnTo>
                    <a:pt x="2179" y="1657"/>
                  </a:lnTo>
                  <a:lnTo>
                    <a:pt x="2177" y="1652"/>
                  </a:lnTo>
                  <a:lnTo>
                    <a:pt x="2176" y="1646"/>
                  </a:lnTo>
                  <a:lnTo>
                    <a:pt x="2176" y="1641"/>
                  </a:lnTo>
                  <a:lnTo>
                    <a:pt x="2176" y="1635"/>
                  </a:lnTo>
                  <a:lnTo>
                    <a:pt x="2213" y="959"/>
                  </a:lnTo>
                  <a:lnTo>
                    <a:pt x="2214" y="944"/>
                  </a:lnTo>
                  <a:lnTo>
                    <a:pt x="2217" y="929"/>
                  </a:lnTo>
                  <a:lnTo>
                    <a:pt x="2220" y="915"/>
                  </a:lnTo>
                  <a:lnTo>
                    <a:pt x="2224" y="903"/>
                  </a:lnTo>
                  <a:lnTo>
                    <a:pt x="2229" y="892"/>
                  </a:lnTo>
                  <a:lnTo>
                    <a:pt x="2235" y="881"/>
                  </a:lnTo>
                  <a:lnTo>
                    <a:pt x="2241" y="871"/>
                  </a:lnTo>
                  <a:lnTo>
                    <a:pt x="2250" y="862"/>
                  </a:lnTo>
                  <a:lnTo>
                    <a:pt x="2257" y="854"/>
                  </a:lnTo>
                  <a:lnTo>
                    <a:pt x="2266" y="847"/>
                  </a:lnTo>
                  <a:lnTo>
                    <a:pt x="2275" y="841"/>
                  </a:lnTo>
                  <a:lnTo>
                    <a:pt x="2285" y="836"/>
                  </a:lnTo>
                  <a:lnTo>
                    <a:pt x="2296" y="831"/>
                  </a:lnTo>
                  <a:lnTo>
                    <a:pt x="2307" y="827"/>
                  </a:lnTo>
                  <a:lnTo>
                    <a:pt x="2319" y="824"/>
                  </a:lnTo>
                  <a:lnTo>
                    <a:pt x="2331" y="822"/>
                  </a:lnTo>
                  <a:lnTo>
                    <a:pt x="3142" y="700"/>
                  </a:lnTo>
                  <a:lnTo>
                    <a:pt x="3154" y="699"/>
                  </a:lnTo>
                  <a:lnTo>
                    <a:pt x="3166" y="699"/>
                  </a:lnTo>
                  <a:lnTo>
                    <a:pt x="3177" y="699"/>
                  </a:lnTo>
                  <a:lnTo>
                    <a:pt x="3189" y="700"/>
                  </a:lnTo>
                  <a:lnTo>
                    <a:pt x="3200" y="702"/>
                  </a:lnTo>
                  <a:lnTo>
                    <a:pt x="3211" y="706"/>
                  </a:lnTo>
                  <a:lnTo>
                    <a:pt x="3222" y="710"/>
                  </a:lnTo>
                  <a:lnTo>
                    <a:pt x="3232" y="715"/>
                  </a:lnTo>
                  <a:lnTo>
                    <a:pt x="3241" y="721"/>
                  </a:lnTo>
                  <a:lnTo>
                    <a:pt x="3250" y="728"/>
                  </a:lnTo>
                  <a:lnTo>
                    <a:pt x="3259" y="737"/>
                  </a:lnTo>
                  <a:lnTo>
                    <a:pt x="3268" y="746"/>
                  </a:lnTo>
                  <a:lnTo>
                    <a:pt x="3275" y="758"/>
                  </a:lnTo>
                  <a:lnTo>
                    <a:pt x="3282" y="769"/>
                  </a:lnTo>
                  <a:lnTo>
                    <a:pt x="3289" y="782"/>
                  </a:lnTo>
                  <a:lnTo>
                    <a:pt x="3294" y="796"/>
                  </a:lnTo>
                  <a:lnTo>
                    <a:pt x="3529" y="1433"/>
                  </a:lnTo>
                  <a:lnTo>
                    <a:pt x="3530" y="1438"/>
                  </a:lnTo>
                  <a:lnTo>
                    <a:pt x="3531" y="1443"/>
                  </a:lnTo>
                  <a:lnTo>
                    <a:pt x="3532" y="1449"/>
                  </a:lnTo>
                  <a:lnTo>
                    <a:pt x="3532" y="1454"/>
                  </a:lnTo>
                  <a:lnTo>
                    <a:pt x="3531" y="1459"/>
                  </a:lnTo>
                  <a:lnTo>
                    <a:pt x="3530" y="1464"/>
                  </a:lnTo>
                  <a:lnTo>
                    <a:pt x="3529" y="1469"/>
                  </a:lnTo>
                  <a:lnTo>
                    <a:pt x="3527" y="1474"/>
                  </a:lnTo>
                  <a:lnTo>
                    <a:pt x="3525" y="1478"/>
                  </a:lnTo>
                  <a:lnTo>
                    <a:pt x="3522" y="1483"/>
                  </a:lnTo>
                  <a:lnTo>
                    <a:pt x="3518" y="1487"/>
                  </a:lnTo>
                  <a:lnTo>
                    <a:pt x="3515" y="1490"/>
                  </a:lnTo>
                  <a:lnTo>
                    <a:pt x="3510" y="1493"/>
                  </a:lnTo>
                  <a:lnTo>
                    <a:pt x="3506" y="1495"/>
                  </a:lnTo>
                  <a:lnTo>
                    <a:pt x="3501" y="1497"/>
                  </a:lnTo>
                  <a:lnTo>
                    <a:pt x="3494" y="1498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35290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Вертикальный заголовок и текст">
    <p:bg>
      <p:bgPr>
        <a:blipFill dpi="0" rotWithShape="1">
          <a:blip r:embed="rId2" cstate="print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3"/>
          <p:cNvSpPr>
            <a:spLocks noChangeAspect="1" noChangeArrowheads="1" noTextEdit="1"/>
          </p:cNvSpPr>
          <p:nvPr userDrawn="1"/>
        </p:nvSpPr>
        <p:spPr bwMode="auto">
          <a:xfrm>
            <a:off x="15" y="393700"/>
            <a:ext cx="9906000" cy="646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Freeform 6"/>
          <p:cNvSpPr>
            <a:spLocks/>
          </p:cNvSpPr>
          <p:nvPr userDrawn="1"/>
        </p:nvSpPr>
        <p:spPr bwMode="auto">
          <a:xfrm>
            <a:off x="6719242" y="2214732"/>
            <a:ext cx="990600" cy="2163763"/>
          </a:xfrm>
          <a:custGeom>
            <a:avLst/>
            <a:gdLst>
              <a:gd name="T0" fmla="*/ 1727 w 1727"/>
              <a:gd name="T1" fmla="*/ 4091 h 4091"/>
              <a:gd name="T2" fmla="*/ 356 w 1727"/>
              <a:gd name="T3" fmla="*/ 3560 h 4091"/>
              <a:gd name="T4" fmla="*/ 329 w 1727"/>
              <a:gd name="T5" fmla="*/ 3550 h 4091"/>
              <a:gd name="T6" fmla="*/ 304 w 1727"/>
              <a:gd name="T7" fmla="*/ 3538 h 4091"/>
              <a:gd name="T8" fmla="*/ 279 w 1727"/>
              <a:gd name="T9" fmla="*/ 3526 h 4091"/>
              <a:gd name="T10" fmla="*/ 256 w 1727"/>
              <a:gd name="T11" fmla="*/ 3514 h 4091"/>
              <a:gd name="T12" fmla="*/ 234 w 1727"/>
              <a:gd name="T13" fmla="*/ 3501 h 4091"/>
              <a:gd name="T14" fmla="*/ 213 w 1727"/>
              <a:gd name="T15" fmla="*/ 3487 h 4091"/>
              <a:gd name="T16" fmla="*/ 193 w 1727"/>
              <a:gd name="T17" fmla="*/ 3473 h 4091"/>
              <a:gd name="T18" fmla="*/ 174 w 1727"/>
              <a:gd name="T19" fmla="*/ 3458 h 4091"/>
              <a:gd name="T20" fmla="*/ 156 w 1727"/>
              <a:gd name="T21" fmla="*/ 3443 h 4091"/>
              <a:gd name="T22" fmla="*/ 140 w 1727"/>
              <a:gd name="T23" fmla="*/ 3428 h 4091"/>
              <a:gd name="T24" fmla="*/ 123 w 1727"/>
              <a:gd name="T25" fmla="*/ 3411 h 4091"/>
              <a:gd name="T26" fmla="*/ 108 w 1727"/>
              <a:gd name="T27" fmla="*/ 3394 h 4091"/>
              <a:gd name="T28" fmla="*/ 94 w 1727"/>
              <a:gd name="T29" fmla="*/ 3378 h 4091"/>
              <a:gd name="T30" fmla="*/ 81 w 1727"/>
              <a:gd name="T31" fmla="*/ 3360 h 4091"/>
              <a:gd name="T32" fmla="*/ 69 w 1727"/>
              <a:gd name="T33" fmla="*/ 3342 h 4091"/>
              <a:gd name="T34" fmla="*/ 59 w 1727"/>
              <a:gd name="T35" fmla="*/ 3324 h 4091"/>
              <a:gd name="T36" fmla="*/ 49 w 1727"/>
              <a:gd name="T37" fmla="*/ 3306 h 4091"/>
              <a:gd name="T38" fmla="*/ 40 w 1727"/>
              <a:gd name="T39" fmla="*/ 3286 h 4091"/>
              <a:gd name="T40" fmla="*/ 32 w 1727"/>
              <a:gd name="T41" fmla="*/ 3267 h 4091"/>
              <a:gd name="T42" fmla="*/ 25 w 1727"/>
              <a:gd name="T43" fmla="*/ 3247 h 4091"/>
              <a:gd name="T44" fmla="*/ 19 w 1727"/>
              <a:gd name="T45" fmla="*/ 3227 h 4091"/>
              <a:gd name="T46" fmla="*/ 13 w 1727"/>
              <a:gd name="T47" fmla="*/ 3207 h 4091"/>
              <a:gd name="T48" fmla="*/ 9 w 1727"/>
              <a:gd name="T49" fmla="*/ 3187 h 4091"/>
              <a:gd name="T50" fmla="*/ 6 w 1727"/>
              <a:gd name="T51" fmla="*/ 3165 h 4091"/>
              <a:gd name="T52" fmla="*/ 4 w 1727"/>
              <a:gd name="T53" fmla="*/ 3145 h 4091"/>
              <a:gd name="T54" fmla="*/ 1 w 1727"/>
              <a:gd name="T55" fmla="*/ 3123 h 4091"/>
              <a:gd name="T56" fmla="*/ 0 w 1727"/>
              <a:gd name="T57" fmla="*/ 3102 h 4091"/>
              <a:gd name="T58" fmla="*/ 0 w 1727"/>
              <a:gd name="T59" fmla="*/ 3080 h 4091"/>
              <a:gd name="T60" fmla="*/ 1 w 1727"/>
              <a:gd name="T61" fmla="*/ 3058 h 4091"/>
              <a:gd name="T62" fmla="*/ 4 w 1727"/>
              <a:gd name="T63" fmla="*/ 3036 h 4091"/>
              <a:gd name="T64" fmla="*/ 6 w 1727"/>
              <a:gd name="T65" fmla="*/ 3014 h 4091"/>
              <a:gd name="T66" fmla="*/ 9 w 1727"/>
              <a:gd name="T67" fmla="*/ 2991 h 4091"/>
              <a:gd name="T68" fmla="*/ 508 w 1727"/>
              <a:gd name="T69" fmla="*/ 0 h 4091"/>
              <a:gd name="T70" fmla="*/ 482 w 1727"/>
              <a:gd name="T71" fmla="*/ 2806 h 4091"/>
              <a:gd name="T72" fmla="*/ 483 w 1727"/>
              <a:gd name="T73" fmla="*/ 2832 h 4091"/>
              <a:gd name="T74" fmla="*/ 484 w 1727"/>
              <a:gd name="T75" fmla="*/ 2859 h 4091"/>
              <a:gd name="T76" fmla="*/ 487 w 1727"/>
              <a:gd name="T77" fmla="*/ 2885 h 4091"/>
              <a:gd name="T78" fmla="*/ 492 w 1727"/>
              <a:gd name="T79" fmla="*/ 2910 h 4091"/>
              <a:gd name="T80" fmla="*/ 497 w 1727"/>
              <a:gd name="T81" fmla="*/ 2937 h 4091"/>
              <a:gd name="T82" fmla="*/ 504 w 1727"/>
              <a:gd name="T83" fmla="*/ 2963 h 4091"/>
              <a:gd name="T84" fmla="*/ 511 w 1727"/>
              <a:gd name="T85" fmla="*/ 2989 h 4091"/>
              <a:gd name="T86" fmla="*/ 521 w 1727"/>
              <a:gd name="T87" fmla="*/ 3015 h 4091"/>
              <a:gd name="T88" fmla="*/ 531 w 1727"/>
              <a:gd name="T89" fmla="*/ 3039 h 4091"/>
              <a:gd name="T90" fmla="*/ 542 w 1727"/>
              <a:gd name="T91" fmla="*/ 3064 h 4091"/>
              <a:gd name="T92" fmla="*/ 555 w 1727"/>
              <a:gd name="T93" fmla="*/ 3086 h 4091"/>
              <a:gd name="T94" fmla="*/ 569 w 1727"/>
              <a:gd name="T95" fmla="*/ 3109 h 4091"/>
              <a:gd name="T96" fmla="*/ 585 w 1727"/>
              <a:gd name="T97" fmla="*/ 3131 h 4091"/>
              <a:gd name="T98" fmla="*/ 602 w 1727"/>
              <a:gd name="T99" fmla="*/ 3150 h 4091"/>
              <a:gd name="T100" fmla="*/ 619 w 1727"/>
              <a:gd name="T101" fmla="*/ 3168 h 4091"/>
              <a:gd name="T102" fmla="*/ 639 w 1727"/>
              <a:gd name="T103" fmla="*/ 3186 h 4091"/>
              <a:gd name="T104" fmla="*/ 1727 w 1727"/>
              <a:gd name="T105" fmla="*/ 4091 h 40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727" h="4091">
                <a:moveTo>
                  <a:pt x="1727" y="4091"/>
                </a:moveTo>
                <a:lnTo>
                  <a:pt x="356" y="3560"/>
                </a:lnTo>
                <a:lnTo>
                  <a:pt x="329" y="3550"/>
                </a:lnTo>
                <a:lnTo>
                  <a:pt x="304" y="3538"/>
                </a:lnTo>
                <a:lnTo>
                  <a:pt x="279" y="3526"/>
                </a:lnTo>
                <a:lnTo>
                  <a:pt x="256" y="3514"/>
                </a:lnTo>
                <a:lnTo>
                  <a:pt x="234" y="3501"/>
                </a:lnTo>
                <a:lnTo>
                  <a:pt x="213" y="3487"/>
                </a:lnTo>
                <a:lnTo>
                  <a:pt x="193" y="3473"/>
                </a:lnTo>
                <a:lnTo>
                  <a:pt x="174" y="3458"/>
                </a:lnTo>
                <a:lnTo>
                  <a:pt x="156" y="3443"/>
                </a:lnTo>
                <a:lnTo>
                  <a:pt x="140" y="3428"/>
                </a:lnTo>
                <a:lnTo>
                  <a:pt x="123" y="3411"/>
                </a:lnTo>
                <a:lnTo>
                  <a:pt x="108" y="3394"/>
                </a:lnTo>
                <a:lnTo>
                  <a:pt x="94" y="3378"/>
                </a:lnTo>
                <a:lnTo>
                  <a:pt x="81" y="3360"/>
                </a:lnTo>
                <a:lnTo>
                  <a:pt x="69" y="3342"/>
                </a:lnTo>
                <a:lnTo>
                  <a:pt x="59" y="3324"/>
                </a:lnTo>
                <a:lnTo>
                  <a:pt x="49" y="3306"/>
                </a:lnTo>
                <a:lnTo>
                  <a:pt x="40" y="3286"/>
                </a:lnTo>
                <a:lnTo>
                  <a:pt x="32" y="3267"/>
                </a:lnTo>
                <a:lnTo>
                  <a:pt x="25" y="3247"/>
                </a:lnTo>
                <a:lnTo>
                  <a:pt x="19" y="3227"/>
                </a:lnTo>
                <a:lnTo>
                  <a:pt x="13" y="3207"/>
                </a:lnTo>
                <a:lnTo>
                  <a:pt x="9" y="3187"/>
                </a:lnTo>
                <a:lnTo>
                  <a:pt x="6" y="3165"/>
                </a:lnTo>
                <a:lnTo>
                  <a:pt x="4" y="3145"/>
                </a:lnTo>
                <a:lnTo>
                  <a:pt x="1" y="3123"/>
                </a:lnTo>
                <a:lnTo>
                  <a:pt x="0" y="3102"/>
                </a:lnTo>
                <a:lnTo>
                  <a:pt x="0" y="3080"/>
                </a:lnTo>
                <a:lnTo>
                  <a:pt x="1" y="3058"/>
                </a:lnTo>
                <a:lnTo>
                  <a:pt x="4" y="3036"/>
                </a:lnTo>
                <a:lnTo>
                  <a:pt x="6" y="3014"/>
                </a:lnTo>
                <a:lnTo>
                  <a:pt x="9" y="2991"/>
                </a:lnTo>
                <a:lnTo>
                  <a:pt x="508" y="0"/>
                </a:lnTo>
                <a:lnTo>
                  <a:pt x="482" y="2806"/>
                </a:lnTo>
                <a:lnTo>
                  <a:pt x="483" y="2832"/>
                </a:lnTo>
                <a:lnTo>
                  <a:pt x="484" y="2859"/>
                </a:lnTo>
                <a:lnTo>
                  <a:pt x="487" y="2885"/>
                </a:lnTo>
                <a:lnTo>
                  <a:pt x="492" y="2910"/>
                </a:lnTo>
                <a:lnTo>
                  <a:pt x="497" y="2937"/>
                </a:lnTo>
                <a:lnTo>
                  <a:pt x="504" y="2963"/>
                </a:lnTo>
                <a:lnTo>
                  <a:pt x="511" y="2989"/>
                </a:lnTo>
                <a:lnTo>
                  <a:pt x="521" y="3015"/>
                </a:lnTo>
                <a:lnTo>
                  <a:pt x="531" y="3039"/>
                </a:lnTo>
                <a:lnTo>
                  <a:pt x="542" y="3064"/>
                </a:lnTo>
                <a:lnTo>
                  <a:pt x="555" y="3086"/>
                </a:lnTo>
                <a:lnTo>
                  <a:pt x="569" y="3109"/>
                </a:lnTo>
                <a:lnTo>
                  <a:pt x="585" y="3131"/>
                </a:lnTo>
                <a:lnTo>
                  <a:pt x="602" y="3150"/>
                </a:lnTo>
                <a:lnTo>
                  <a:pt x="619" y="3168"/>
                </a:lnTo>
                <a:lnTo>
                  <a:pt x="639" y="3186"/>
                </a:lnTo>
                <a:lnTo>
                  <a:pt x="1727" y="4091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Freeform 8"/>
          <p:cNvSpPr>
            <a:spLocks/>
          </p:cNvSpPr>
          <p:nvPr userDrawn="1"/>
        </p:nvSpPr>
        <p:spPr bwMode="auto">
          <a:xfrm>
            <a:off x="9102933" y="3473452"/>
            <a:ext cx="803143" cy="1114425"/>
          </a:xfrm>
          <a:custGeom>
            <a:avLst/>
            <a:gdLst>
              <a:gd name="T0" fmla="*/ 0 w 1401"/>
              <a:gd name="T1" fmla="*/ 2106 h 2106"/>
              <a:gd name="T2" fmla="*/ 81 w 1401"/>
              <a:gd name="T3" fmla="*/ 638 h 2106"/>
              <a:gd name="T4" fmla="*/ 82 w 1401"/>
              <a:gd name="T5" fmla="*/ 609 h 2106"/>
              <a:gd name="T6" fmla="*/ 86 w 1401"/>
              <a:gd name="T7" fmla="*/ 581 h 2106"/>
              <a:gd name="T8" fmla="*/ 90 w 1401"/>
              <a:gd name="T9" fmla="*/ 555 h 2106"/>
              <a:gd name="T10" fmla="*/ 94 w 1401"/>
              <a:gd name="T11" fmla="*/ 529 h 2106"/>
              <a:gd name="T12" fmla="*/ 100 w 1401"/>
              <a:gd name="T13" fmla="*/ 504 h 2106"/>
              <a:gd name="T14" fmla="*/ 106 w 1401"/>
              <a:gd name="T15" fmla="*/ 480 h 2106"/>
              <a:gd name="T16" fmla="*/ 114 w 1401"/>
              <a:gd name="T17" fmla="*/ 456 h 2106"/>
              <a:gd name="T18" fmla="*/ 122 w 1401"/>
              <a:gd name="T19" fmla="*/ 433 h 2106"/>
              <a:gd name="T20" fmla="*/ 131 w 1401"/>
              <a:gd name="T21" fmla="*/ 412 h 2106"/>
              <a:gd name="T22" fmla="*/ 141 w 1401"/>
              <a:gd name="T23" fmla="*/ 391 h 2106"/>
              <a:gd name="T24" fmla="*/ 151 w 1401"/>
              <a:gd name="T25" fmla="*/ 371 h 2106"/>
              <a:gd name="T26" fmla="*/ 162 w 1401"/>
              <a:gd name="T27" fmla="*/ 351 h 2106"/>
              <a:gd name="T28" fmla="*/ 174 w 1401"/>
              <a:gd name="T29" fmla="*/ 333 h 2106"/>
              <a:gd name="T30" fmla="*/ 187 w 1401"/>
              <a:gd name="T31" fmla="*/ 316 h 2106"/>
              <a:gd name="T32" fmla="*/ 200 w 1401"/>
              <a:gd name="T33" fmla="*/ 299 h 2106"/>
              <a:gd name="T34" fmla="*/ 214 w 1401"/>
              <a:gd name="T35" fmla="*/ 283 h 2106"/>
              <a:gd name="T36" fmla="*/ 229 w 1401"/>
              <a:gd name="T37" fmla="*/ 268 h 2106"/>
              <a:gd name="T38" fmla="*/ 244 w 1401"/>
              <a:gd name="T39" fmla="*/ 253 h 2106"/>
              <a:gd name="T40" fmla="*/ 259 w 1401"/>
              <a:gd name="T41" fmla="*/ 240 h 2106"/>
              <a:gd name="T42" fmla="*/ 277 w 1401"/>
              <a:gd name="T43" fmla="*/ 227 h 2106"/>
              <a:gd name="T44" fmla="*/ 294 w 1401"/>
              <a:gd name="T45" fmla="*/ 215 h 2106"/>
              <a:gd name="T46" fmla="*/ 311 w 1401"/>
              <a:gd name="T47" fmla="*/ 203 h 2106"/>
              <a:gd name="T48" fmla="*/ 330 w 1401"/>
              <a:gd name="T49" fmla="*/ 194 h 2106"/>
              <a:gd name="T50" fmla="*/ 348 w 1401"/>
              <a:gd name="T51" fmla="*/ 184 h 2106"/>
              <a:gd name="T52" fmla="*/ 367 w 1401"/>
              <a:gd name="T53" fmla="*/ 174 h 2106"/>
              <a:gd name="T54" fmla="*/ 387 w 1401"/>
              <a:gd name="T55" fmla="*/ 167 h 2106"/>
              <a:gd name="T56" fmla="*/ 407 w 1401"/>
              <a:gd name="T57" fmla="*/ 159 h 2106"/>
              <a:gd name="T58" fmla="*/ 428 w 1401"/>
              <a:gd name="T59" fmla="*/ 153 h 2106"/>
              <a:gd name="T60" fmla="*/ 450 w 1401"/>
              <a:gd name="T61" fmla="*/ 146 h 2106"/>
              <a:gd name="T62" fmla="*/ 471 w 1401"/>
              <a:gd name="T63" fmla="*/ 141 h 2106"/>
              <a:gd name="T64" fmla="*/ 493 w 1401"/>
              <a:gd name="T65" fmla="*/ 136 h 2106"/>
              <a:gd name="T66" fmla="*/ 515 w 1401"/>
              <a:gd name="T67" fmla="*/ 133 h 2106"/>
              <a:gd name="T68" fmla="*/ 1401 w 1401"/>
              <a:gd name="T69" fmla="*/ 0 h 2106"/>
              <a:gd name="T70" fmla="*/ 1401 w 1401"/>
              <a:gd name="T71" fmla="*/ 348 h 2106"/>
              <a:gd name="T72" fmla="*/ 837 w 1401"/>
              <a:gd name="T73" fmla="*/ 525 h 2106"/>
              <a:gd name="T74" fmla="*/ 813 w 1401"/>
              <a:gd name="T75" fmla="*/ 534 h 2106"/>
              <a:gd name="T76" fmla="*/ 789 w 1401"/>
              <a:gd name="T77" fmla="*/ 543 h 2106"/>
              <a:gd name="T78" fmla="*/ 765 w 1401"/>
              <a:gd name="T79" fmla="*/ 554 h 2106"/>
              <a:gd name="T80" fmla="*/ 740 w 1401"/>
              <a:gd name="T81" fmla="*/ 566 h 2106"/>
              <a:gd name="T82" fmla="*/ 717 w 1401"/>
              <a:gd name="T83" fmla="*/ 580 h 2106"/>
              <a:gd name="T84" fmla="*/ 695 w 1401"/>
              <a:gd name="T85" fmla="*/ 594 h 2106"/>
              <a:gd name="T86" fmla="*/ 672 w 1401"/>
              <a:gd name="T87" fmla="*/ 609 h 2106"/>
              <a:gd name="T88" fmla="*/ 650 w 1401"/>
              <a:gd name="T89" fmla="*/ 627 h 2106"/>
              <a:gd name="T90" fmla="*/ 631 w 1401"/>
              <a:gd name="T91" fmla="*/ 644 h 2106"/>
              <a:gd name="T92" fmla="*/ 612 w 1401"/>
              <a:gd name="T93" fmla="*/ 662 h 2106"/>
              <a:gd name="T94" fmla="*/ 593 w 1401"/>
              <a:gd name="T95" fmla="*/ 682 h 2106"/>
              <a:gd name="T96" fmla="*/ 576 w 1401"/>
              <a:gd name="T97" fmla="*/ 702 h 2106"/>
              <a:gd name="T98" fmla="*/ 561 w 1401"/>
              <a:gd name="T99" fmla="*/ 724 h 2106"/>
              <a:gd name="T100" fmla="*/ 547 w 1401"/>
              <a:gd name="T101" fmla="*/ 745 h 2106"/>
              <a:gd name="T102" fmla="*/ 535 w 1401"/>
              <a:gd name="T103" fmla="*/ 768 h 2106"/>
              <a:gd name="T104" fmla="*/ 524 w 1401"/>
              <a:gd name="T105" fmla="*/ 792 h 2106"/>
              <a:gd name="T106" fmla="*/ 0 w 1401"/>
              <a:gd name="T107" fmla="*/ 2106 h 2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401" h="2106">
                <a:moveTo>
                  <a:pt x="0" y="2106"/>
                </a:moveTo>
                <a:lnTo>
                  <a:pt x="81" y="638"/>
                </a:lnTo>
                <a:lnTo>
                  <a:pt x="82" y="609"/>
                </a:lnTo>
                <a:lnTo>
                  <a:pt x="86" y="581"/>
                </a:lnTo>
                <a:lnTo>
                  <a:pt x="90" y="555"/>
                </a:lnTo>
                <a:lnTo>
                  <a:pt x="94" y="529"/>
                </a:lnTo>
                <a:lnTo>
                  <a:pt x="100" y="504"/>
                </a:lnTo>
                <a:lnTo>
                  <a:pt x="106" y="480"/>
                </a:lnTo>
                <a:lnTo>
                  <a:pt x="114" y="456"/>
                </a:lnTo>
                <a:lnTo>
                  <a:pt x="122" y="433"/>
                </a:lnTo>
                <a:lnTo>
                  <a:pt x="131" y="412"/>
                </a:lnTo>
                <a:lnTo>
                  <a:pt x="141" y="391"/>
                </a:lnTo>
                <a:lnTo>
                  <a:pt x="151" y="371"/>
                </a:lnTo>
                <a:lnTo>
                  <a:pt x="162" y="351"/>
                </a:lnTo>
                <a:lnTo>
                  <a:pt x="174" y="333"/>
                </a:lnTo>
                <a:lnTo>
                  <a:pt x="187" y="316"/>
                </a:lnTo>
                <a:lnTo>
                  <a:pt x="200" y="299"/>
                </a:lnTo>
                <a:lnTo>
                  <a:pt x="214" y="283"/>
                </a:lnTo>
                <a:lnTo>
                  <a:pt x="229" y="268"/>
                </a:lnTo>
                <a:lnTo>
                  <a:pt x="244" y="253"/>
                </a:lnTo>
                <a:lnTo>
                  <a:pt x="259" y="240"/>
                </a:lnTo>
                <a:lnTo>
                  <a:pt x="277" y="227"/>
                </a:lnTo>
                <a:lnTo>
                  <a:pt x="294" y="215"/>
                </a:lnTo>
                <a:lnTo>
                  <a:pt x="311" y="203"/>
                </a:lnTo>
                <a:lnTo>
                  <a:pt x="330" y="194"/>
                </a:lnTo>
                <a:lnTo>
                  <a:pt x="348" y="184"/>
                </a:lnTo>
                <a:lnTo>
                  <a:pt x="367" y="174"/>
                </a:lnTo>
                <a:lnTo>
                  <a:pt x="387" y="167"/>
                </a:lnTo>
                <a:lnTo>
                  <a:pt x="407" y="159"/>
                </a:lnTo>
                <a:lnTo>
                  <a:pt x="428" y="153"/>
                </a:lnTo>
                <a:lnTo>
                  <a:pt x="450" y="146"/>
                </a:lnTo>
                <a:lnTo>
                  <a:pt x="471" y="141"/>
                </a:lnTo>
                <a:lnTo>
                  <a:pt x="493" y="136"/>
                </a:lnTo>
                <a:lnTo>
                  <a:pt x="515" y="133"/>
                </a:lnTo>
                <a:lnTo>
                  <a:pt x="1401" y="0"/>
                </a:lnTo>
                <a:lnTo>
                  <a:pt x="1401" y="348"/>
                </a:lnTo>
                <a:lnTo>
                  <a:pt x="837" y="525"/>
                </a:lnTo>
                <a:lnTo>
                  <a:pt x="813" y="534"/>
                </a:lnTo>
                <a:lnTo>
                  <a:pt x="789" y="543"/>
                </a:lnTo>
                <a:lnTo>
                  <a:pt x="765" y="554"/>
                </a:lnTo>
                <a:lnTo>
                  <a:pt x="740" y="566"/>
                </a:lnTo>
                <a:lnTo>
                  <a:pt x="717" y="580"/>
                </a:lnTo>
                <a:lnTo>
                  <a:pt x="695" y="594"/>
                </a:lnTo>
                <a:lnTo>
                  <a:pt x="672" y="609"/>
                </a:lnTo>
                <a:lnTo>
                  <a:pt x="650" y="627"/>
                </a:lnTo>
                <a:lnTo>
                  <a:pt x="631" y="644"/>
                </a:lnTo>
                <a:lnTo>
                  <a:pt x="612" y="662"/>
                </a:lnTo>
                <a:lnTo>
                  <a:pt x="593" y="682"/>
                </a:lnTo>
                <a:lnTo>
                  <a:pt x="576" y="702"/>
                </a:lnTo>
                <a:lnTo>
                  <a:pt x="561" y="724"/>
                </a:lnTo>
                <a:lnTo>
                  <a:pt x="547" y="745"/>
                </a:lnTo>
                <a:lnTo>
                  <a:pt x="535" y="768"/>
                </a:lnTo>
                <a:lnTo>
                  <a:pt x="524" y="792"/>
                </a:lnTo>
                <a:lnTo>
                  <a:pt x="0" y="2106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1" name="Freeform 10"/>
          <p:cNvSpPr>
            <a:spLocks/>
          </p:cNvSpPr>
          <p:nvPr userDrawn="1"/>
        </p:nvSpPr>
        <p:spPr bwMode="auto">
          <a:xfrm>
            <a:off x="9321287" y="5721350"/>
            <a:ext cx="584729" cy="179388"/>
          </a:xfrm>
          <a:custGeom>
            <a:avLst/>
            <a:gdLst>
              <a:gd name="T0" fmla="*/ 0 w 1021"/>
              <a:gd name="T1" fmla="*/ 278 h 338"/>
              <a:gd name="T2" fmla="*/ 1021 w 1021"/>
              <a:gd name="T3" fmla="*/ 0 h 338"/>
              <a:gd name="T4" fmla="*/ 1021 w 1021"/>
              <a:gd name="T5" fmla="*/ 338 h 338"/>
              <a:gd name="T6" fmla="*/ 0 w 1021"/>
              <a:gd name="T7" fmla="*/ 278 h 3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21" h="338">
                <a:moveTo>
                  <a:pt x="0" y="278"/>
                </a:moveTo>
                <a:lnTo>
                  <a:pt x="1021" y="0"/>
                </a:lnTo>
                <a:lnTo>
                  <a:pt x="1021" y="338"/>
                </a:lnTo>
                <a:lnTo>
                  <a:pt x="0" y="278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3" name="Freeform 12"/>
          <p:cNvSpPr>
            <a:spLocks/>
          </p:cNvSpPr>
          <p:nvPr userDrawn="1"/>
        </p:nvSpPr>
        <p:spPr bwMode="auto">
          <a:xfrm>
            <a:off x="8057225" y="6461294"/>
            <a:ext cx="278606" cy="396875"/>
          </a:xfrm>
          <a:custGeom>
            <a:avLst/>
            <a:gdLst>
              <a:gd name="T0" fmla="*/ 0 w 484"/>
              <a:gd name="T1" fmla="*/ 0 h 749"/>
              <a:gd name="T2" fmla="*/ 484 w 484"/>
              <a:gd name="T3" fmla="*/ 749 h 749"/>
              <a:gd name="T4" fmla="*/ 191 w 484"/>
              <a:gd name="T5" fmla="*/ 749 h 749"/>
              <a:gd name="T6" fmla="*/ 0 w 484"/>
              <a:gd name="T7" fmla="*/ 0 h 7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4" h="749">
                <a:moveTo>
                  <a:pt x="0" y="0"/>
                </a:moveTo>
                <a:lnTo>
                  <a:pt x="484" y="749"/>
                </a:lnTo>
                <a:lnTo>
                  <a:pt x="191" y="749"/>
                </a:lnTo>
                <a:lnTo>
                  <a:pt x="0" y="0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5" name="Freeform 14"/>
          <p:cNvSpPr>
            <a:spLocks/>
          </p:cNvSpPr>
          <p:nvPr userDrawn="1"/>
        </p:nvSpPr>
        <p:spPr bwMode="auto">
          <a:xfrm>
            <a:off x="4617648" y="5487988"/>
            <a:ext cx="2445544" cy="769938"/>
          </a:xfrm>
          <a:custGeom>
            <a:avLst/>
            <a:gdLst>
              <a:gd name="T0" fmla="*/ 4268 w 4268"/>
              <a:gd name="T1" fmla="*/ 95 h 1455"/>
              <a:gd name="T2" fmla="*/ 3342 w 4268"/>
              <a:gd name="T3" fmla="*/ 1237 h 1455"/>
              <a:gd name="T4" fmla="*/ 3324 w 4268"/>
              <a:gd name="T5" fmla="*/ 1259 h 1455"/>
              <a:gd name="T6" fmla="*/ 3305 w 4268"/>
              <a:gd name="T7" fmla="*/ 1280 h 1455"/>
              <a:gd name="T8" fmla="*/ 3287 w 4268"/>
              <a:gd name="T9" fmla="*/ 1300 h 1455"/>
              <a:gd name="T10" fmla="*/ 3268 w 4268"/>
              <a:gd name="T11" fmla="*/ 1317 h 1455"/>
              <a:gd name="T12" fmla="*/ 3248 w 4268"/>
              <a:gd name="T13" fmla="*/ 1334 h 1455"/>
              <a:gd name="T14" fmla="*/ 3229 w 4268"/>
              <a:gd name="T15" fmla="*/ 1351 h 1455"/>
              <a:gd name="T16" fmla="*/ 3209 w 4268"/>
              <a:gd name="T17" fmla="*/ 1366 h 1455"/>
              <a:gd name="T18" fmla="*/ 3190 w 4268"/>
              <a:gd name="T19" fmla="*/ 1379 h 1455"/>
              <a:gd name="T20" fmla="*/ 3169 w 4268"/>
              <a:gd name="T21" fmla="*/ 1392 h 1455"/>
              <a:gd name="T22" fmla="*/ 3150 w 4268"/>
              <a:gd name="T23" fmla="*/ 1402 h 1455"/>
              <a:gd name="T24" fmla="*/ 3129 w 4268"/>
              <a:gd name="T25" fmla="*/ 1412 h 1455"/>
              <a:gd name="T26" fmla="*/ 3109 w 4268"/>
              <a:gd name="T27" fmla="*/ 1422 h 1455"/>
              <a:gd name="T28" fmla="*/ 3088 w 4268"/>
              <a:gd name="T29" fmla="*/ 1429 h 1455"/>
              <a:gd name="T30" fmla="*/ 3068 w 4268"/>
              <a:gd name="T31" fmla="*/ 1436 h 1455"/>
              <a:gd name="T32" fmla="*/ 3047 w 4268"/>
              <a:gd name="T33" fmla="*/ 1442 h 1455"/>
              <a:gd name="T34" fmla="*/ 3027 w 4268"/>
              <a:gd name="T35" fmla="*/ 1447 h 1455"/>
              <a:gd name="T36" fmla="*/ 3006 w 4268"/>
              <a:gd name="T37" fmla="*/ 1451 h 1455"/>
              <a:gd name="T38" fmla="*/ 2985 w 4268"/>
              <a:gd name="T39" fmla="*/ 1453 h 1455"/>
              <a:gd name="T40" fmla="*/ 2964 w 4268"/>
              <a:gd name="T41" fmla="*/ 1455 h 1455"/>
              <a:gd name="T42" fmla="*/ 2944 w 4268"/>
              <a:gd name="T43" fmla="*/ 1455 h 1455"/>
              <a:gd name="T44" fmla="*/ 2922 w 4268"/>
              <a:gd name="T45" fmla="*/ 1455 h 1455"/>
              <a:gd name="T46" fmla="*/ 2902 w 4268"/>
              <a:gd name="T47" fmla="*/ 1454 h 1455"/>
              <a:gd name="T48" fmla="*/ 2881 w 4268"/>
              <a:gd name="T49" fmla="*/ 1452 h 1455"/>
              <a:gd name="T50" fmla="*/ 2859 w 4268"/>
              <a:gd name="T51" fmla="*/ 1449 h 1455"/>
              <a:gd name="T52" fmla="*/ 2839 w 4268"/>
              <a:gd name="T53" fmla="*/ 1444 h 1455"/>
              <a:gd name="T54" fmla="*/ 2818 w 4268"/>
              <a:gd name="T55" fmla="*/ 1440 h 1455"/>
              <a:gd name="T56" fmla="*/ 2797 w 4268"/>
              <a:gd name="T57" fmla="*/ 1434 h 1455"/>
              <a:gd name="T58" fmla="*/ 2776 w 4268"/>
              <a:gd name="T59" fmla="*/ 1427 h 1455"/>
              <a:gd name="T60" fmla="*/ 2756 w 4268"/>
              <a:gd name="T61" fmla="*/ 1420 h 1455"/>
              <a:gd name="T62" fmla="*/ 2735 w 4268"/>
              <a:gd name="T63" fmla="*/ 1411 h 1455"/>
              <a:gd name="T64" fmla="*/ 2715 w 4268"/>
              <a:gd name="T65" fmla="*/ 1402 h 1455"/>
              <a:gd name="T66" fmla="*/ 2694 w 4268"/>
              <a:gd name="T67" fmla="*/ 1393 h 1455"/>
              <a:gd name="T68" fmla="*/ 0 w 4268"/>
              <a:gd name="T69" fmla="*/ 0 h 1455"/>
              <a:gd name="T70" fmla="*/ 2664 w 4268"/>
              <a:gd name="T71" fmla="*/ 885 h 1455"/>
              <a:gd name="T72" fmla="*/ 2688 w 4268"/>
              <a:gd name="T73" fmla="*/ 893 h 1455"/>
              <a:gd name="T74" fmla="*/ 2714 w 4268"/>
              <a:gd name="T75" fmla="*/ 899 h 1455"/>
              <a:gd name="T76" fmla="*/ 2740 w 4268"/>
              <a:gd name="T77" fmla="*/ 905 h 1455"/>
              <a:gd name="T78" fmla="*/ 2767 w 4268"/>
              <a:gd name="T79" fmla="*/ 909 h 1455"/>
              <a:gd name="T80" fmla="*/ 2792 w 4268"/>
              <a:gd name="T81" fmla="*/ 911 h 1455"/>
              <a:gd name="T82" fmla="*/ 2819 w 4268"/>
              <a:gd name="T83" fmla="*/ 913 h 1455"/>
              <a:gd name="T84" fmla="*/ 2846 w 4268"/>
              <a:gd name="T85" fmla="*/ 913 h 1455"/>
              <a:gd name="T86" fmla="*/ 2873 w 4268"/>
              <a:gd name="T87" fmla="*/ 913 h 1455"/>
              <a:gd name="T88" fmla="*/ 2900 w 4268"/>
              <a:gd name="T89" fmla="*/ 910 h 1455"/>
              <a:gd name="T90" fmla="*/ 2927 w 4268"/>
              <a:gd name="T91" fmla="*/ 907 h 1455"/>
              <a:gd name="T92" fmla="*/ 2953 w 4268"/>
              <a:gd name="T93" fmla="*/ 901 h 1455"/>
              <a:gd name="T94" fmla="*/ 2979 w 4268"/>
              <a:gd name="T95" fmla="*/ 895 h 1455"/>
              <a:gd name="T96" fmla="*/ 3004 w 4268"/>
              <a:gd name="T97" fmla="*/ 887 h 1455"/>
              <a:gd name="T98" fmla="*/ 3028 w 4268"/>
              <a:gd name="T99" fmla="*/ 878 h 1455"/>
              <a:gd name="T100" fmla="*/ 3051 w 4268"/>
              <a:gd name="T101" fmla="*/ 866 h 1455"/>
              <a:gd name="T102" fmla="*/ 3073 w 4268"/>
              <a:gd name="T103" fmla="*/ 853 h 1455"/>
              <a:gd name="T104" fmla="*/ 4268 w 4268"/>
              <a:gd name="T105" fmla="*/ 95 h 14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268" h="1455">
                <a:moveTo>
                  <a:pt x="4268" y="95"/>
                </a:moveTo>
                <a:lnTo>
                  <a:pt x="3342" y="1237"/>
                </a:lnTo>
                <a:lnTo>
                  <a:pt x="3324" y="1259"/>
                </a:lnTo>
                <a:lnTo>
                  <a:pt x="3305" y="1280"/>
                </a:lnTo>
                <a:lnTo>
                  <a:pt x="3287" y="1300"/>
                </a:lnTo>
                <a:lnTo>
                  <a:pt x="3268" y="1317"/>
                </a:lnTo>
                <a:lnTo>
                  <a:pt x="3248" y="1334"/>
                </a:lnTo>
                <a:lnTo>
                  <a:pt x="3229" y="1351"/>
                </a:lnTo>
                <a:lnTo>
                  <a:pt x="3209" y="1366"/>
                </a:lnTo>
                <a:lnTo>
                  <a:pt x="3190" y="1379"/>
                </a:lnTo>
                <a:lnTo>
                  <a:pt x="3169" y="1392"/>
                </a:lnTo>
                <a:lnTo>
                  <a:pt x="3150" y="1402"/>
                </a:lnTo>
                <a:lnTo>
                  <a:pt x="3129" y="1412"/>
                </a:lnTo>
                <a:lnTo>
                  <a:pt x="3109" y="1422"/>
                </a:lnTo>
                <a:lnTo>
                  <a:pt x="3088" y="1429"/>
                </a:lnTo>
                <a:lnTo>
                  <a:pt x="3068" y="1436"/>
                </a:lnTo>
                <a:lnTo>
                  <a:pt x="3047" y="1442"/>
                </a:lnTo>
                <a:lnTo>
                  <a:pt x="3027" y="1447"/>
                </a:lnTo>
                <a:lnTo>
                  <a:pt x="3006" y="1451"/>
                </a:lnTo>
                <a:lnTo>
                  <a:pt x="2985" y="1453"/>
                </a:lnTo>
                <a:lnTo>
                  <a:pt x="2964" y="1455"/>
                </a:lnTo>
                <a:lnTo>
                  <a:pt x="2944" y="1455"/>
                </a:lnTo>
                <a:lnTo>
                  <a:pt x="2922" y="1455"/>
                </a:lnTo>
                <a:lnTo>
                  <a:pt x="2902" y="1454"/>
                </a:lnTo>
                <a:lnTo>
                  <a:pt x="2881" y="1452"/>
                </a:lnTo>
                <a:lnTo>
                  <a:pt x="2859" y="1449"/>
                </a:lnTo>
                <a:lnTo>
                  <a:pt x="2839" y="1444"/>
                </a:lnTo>
                <a:lnTo>
                  <a:pt x="2818" y="1440"/>
                </a:lnTo>
                <a:lnTo>
                  <a:pt x="2797" y="1434"/>
                </a:lnTo>
                <a:lnTo>
                  <a:pt x="2776" y="1427"/>
                </a:lnTo>
                <a:lnTo>
                  <a:pt x="2756" y="1420"/>
                </a:lnTo>
                <a:lnTo>
                  <a:pt x="2735" y="1411"/>
                </a:lnTo>
                <a:lnTo>
                  <a:pt x="2715" y="1402"/>
                </a:lnTo>
                <a:lnTo>
                  <a:pt x="2694" y="1393"/>
                </a:lnTo>
                <a:lnTo>
                  <a:pt x="0" y="0"/>
                </a:lnTo>
                <a:lnTo>
                  <a:pt x="2664" y="885"/>
                </a:lnTo>
                <a:lnTo>
                  <a:pt x="2688" y="893"/>
                </a:lnTo>
                <a:lnTo>
                  <a:pt x="2714" y="899"/>
                </a:lnTo>
                <a:lnTo>
                  <a:pt x="2740" y="905"/>
                </a:lnTo>
                <a:lnTo>
                  <a:pt x="2767" y="909"/>
                </a:lnTo>
                <a:lnTo>
                  <a:pt x="2792" y="911"/>
                </a:lnTo>
                <a:lnTo>
                  <a:pt x="2819" y="913"/>
                </a:lnTo>
                <a:lnTo>
                  <a:pt x="2846" y="913"/>
                </a:lnTo>
                <a:lnTo>
                  <a:pt x="2873" y="913"/>
                </a:lnTo>
                <a:lnTo>
                  <a:pt x="2900" y="910"/>
                </a:lnTo>
                <a:lnTo>
                  <a:pt x="2927" y="907"/>
                </a:lnTo>
                <a:lnTo>
                  <a:pt x="2953" y="901"/>
                </a:lnTo>
                <a:lnTo>
                  <a:pt x="2979" y="895"/>
                </a:lnTo>
                <a:lnTo>
                  <a:pt x="3004" y="887"/>
                </a:lnTo>
                <a:lnTo>
                  <a:pt x="3028" y="878"/>
                </a:lnTo>
                <a:lnTo>
                  <a:pt x="3051" y="866"/>
                </a:lnTo>
                <a:lnTo>
                  <a:pt x="3073" y="853"/>
                </a:lnTo>
                <a:lnTo>
                  <a:pt x="4268" y="95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6" name="Группа 15"/>
          <p:cNvGrpSpPr/>
          <p:nvPr userDrawn="1"/>
        </p:nvGrpSpPr>
        <p:grpSpPr>
          <a:xfrm>
            <a:off x="4459430" y="1936750"/>
            <a:ext cx="5446581" cy="4921250"/>
            <a:chOff x="4116388" y="1936750"/>
            <a:chExt cx="5027613" cy="4921250"/>
          </a:xfrm>
        </p:grpSpPr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6203950" y="1936750"/>
              <a:ext cx="1966913" cy="2646363"/>
            </a:xfrm>
            <a:custGeom>
              <a:avLst/>
              <a:gdLst>
                <a:gd name="T0" fmla="*/ 2936 w 3717"/>
                <a:gd name="T1" fmla="*/ 4866 h 5000"/>
                <a:gd name="T2" fmla="*/ 2932 w 3717"/>
                <a:gd name="T3" fmla="*/ 4886 h 5000"/>
                <a:gd name="T4" fmla="*/ 2924 w 3717"/>
                <a:gd name="T5" fmla="*/ 4905 h 5000"/>
                <a:gd name="T6" fmla="*/ 2915 w 3717"/>
                <a:gd name="T7" fmla="*/ 4922 h 5000"/>
                <a:gd name="T8" fmla="*/ 2905 w 3717"/>
                <a:gd name="T9" fmla="*/ 4938 h 5000"/>
                <a:gd name="T10" fmla="*/ 2893 w 3717"/>
                <a:gd name="T11" fmla="*/ 4952 h 5000"/>
                <a:gd name="T12" fmla="*/ 2879 w 3717"/>
                <a:gd name="T13" fmla="*/ 4964 h 5000"/>
                <a:gd name="T14" fmla="*/ 2847 w 3717"/>
                <a:gd name="T15" fmla="*/ 4983 h 5000"/>
                <a:gd name="T16" fmla="*/ 2811 w 3717"/>
                <a:gd name="T17" fmla="*/ 4996 h 5000"/>
                <a:gd name="T18" fmla="*/ 2773 w 3717"/>
                <a:gd name="T19" fmla="*/ 5000 h 5000"/>
                <a:gd name="T20" fmla="*/ 2733 w 3717"/>
                <a:gd name="T21" fmla="*/ 4998 h 5000"/>
                <a:gd name="T22" fmla="*/ 2693 w 3717"/>
                <a:gd name="T23" fmla="*/ 4987 h 5000"/>
                <a:gd name="T24" fmla="*/ 329 w 3717"/>
                <a:gd name="T25" fmla="*/ 4073 h 5000"/>
                <a:gd name="T26" fmla="*/ 279 w 3717"/>
                <a:gd name="T27" fmla="*/ 4049 h 5000"/>
                <a:gd name="T28" fmla="*/ 233 w 3717"/>
                <a:gd name="T29" fmla="*/ 4024 h 5000"/>
                <a:gd name="T30" fmla="*/ 192 w 3717"/>
                <a:gd name="T31" fmla="*/ 3996 h 5000"/>
                <a:gd name="T32" fmla="*/ 155 w 3717"/>
                <a:gd name="T33" fmla="*/ 3966 h 5000"/>
                <a:gd name="T34" fmla="*/ 122 w 3717"/>
                <a:gd name="T35" fmla="*/ 3934 h 5000"/>
                <a:gd name="T36" fmla="*/ 93 w 3717"/>
                <a:gd name="T37" fmla="*/ 3900 h 5000"/>
                <a:gd name="T38" fmla="*/ 70 w 3717"/>
                <a:gd name="T39" fmla="*/ 3865 h 5000"/>
                <a:gd name="T40" fmla="*/ 48 w 3717"/>
                <a:gd name="T41" fmla="*/ 3829 h 5000"/>
                <a:gd name="T42" fmla="*/ 32 w 3717"/>
                <a:gd name="T43" fmla="*/ 3790 h 5000"/>
                <a:gd name="T44" fmla="*/ 18 w 3717"/>
                <a:gd name="T45" fmla="*/ 3750 h 5000"/>
                <a:gd name="T46" fmla="*/ 8 w 3717"/>
                <a:gd name="T47" fmla="*/ 3710 h 5000"/>
                <a:gd name="T48" fmla="*/ 3 w 3717"/>
                <a:gd name="T49" fmla="*/ 3668 h 5000"/>
                <a:gd name="T50" fmla="*/ 0 w 3717"/>
                <a:gd name="T51" fmla="*/ 3625 h 5000"/>
                <a:gd name="T52" fmla="*/ 0 w 3717"/>
                <a:gd name="T53" fmla="*/ 3581 h 5000"/>
                <a:gd name="T54" fmla="*/ 5 w 3717"/>
                <a:gd name="T55" fmla="*/ 3537 h 5000"/>
                <a:gd name="T56" fmla="*/ 507 w 3717"/>
                <a:gd name="T57" fmla="*/ 523 h 5000"/>
                <a:gd name="T58" fmla="*/ 516 w 3717"/>
                <a:gd name="T59" fmla="*/ 479 h 5000"/>
                <a:gd name="T60" fmla="*/ 527 w 3717"/>
                <a:gd name="T61" fmla="*/ 437 h 5000"/>
                <a:gd name="T62" fmla="*/ 541 w 3717"/>
                <a:gd name="T63" fmla="*/ 396 h 5000"/>
                <a:gd name="T64" fmla="*/ 560 w 3717"/>
                <a:gd name="T65" fmla="*/ 357 h 5000"/>
                <a:gd name="T66" fmla="*/ 580 w 3717"/>
                <a:gd name="T67" fmla="*/ 320 h 5000"/>
                <a:gd name="T68" fmla="*/ 604 w 3717"/>
                <a:gd name="T69" fmla="*/ 286 h 5000"/>
                <a:gd name="T70" fmla="*/ 631 w 3717"/>
                <a:gd name="T71" fmla="*/ 254 h 5000"/>
                <a:gd name="T72" fmla="*/ 661 w 3717"/>
                <a:gd name="T73" fmla="*/ 224 h 5000"/>
                <a:gd name="T74" fmla="*/ 694 w 3717"/>
                <a:gd name="T75" fmla="*/ 198 h 5000"/>
                <a:gd name="T76" fmla="*/ 730 w 3717"/>
                <a:gd name="T77" fmla="*/ 173 h 5000"/>
                <a:gd name="T78" fmla="*/ 770 w 3717"/>
                <a:gd name="T79" fmla="*/ 153 h 5000"/>
                <a:gd name="T80" fmla="*/ 814 w 3717"/>
                <a:gd name="T81" fmla="*/ 135 h 5000"/>
                <a:gd name="T82" fmla="*/ 859 w 3717"/>
                <a:gd name="T83" fmla="*/ 121 h 5000"/>
                <a:gd name="T84" fmla="*/ 909 w 3717"/>
                <a:gd name="T85" fmla="*/ 109 h 5000"/>
                <a:gd name="T86" fmla="*/ 962 w 3717"/>
                <a:gd name="T87" fmla="*/ 101 h 5000"/>
                <a:gd name="T88" fmla="*/ 1019 w 3717"/>
                <a:gd name="T89" fmla="*/ 97 h 5000"/>
                <a:gd name="T90" fmla="*/ 3544 w 3717"/>
                <a:gd name="T91" fmla="*/ 0 h 5000"/>
                <a:gd name="T92" fmla="*/ 3584 w 3717"/>
                <a:gd name="T93" fmla="*/ 6 h 5000"/>
                <a:gd name="T94" fmla="*/ 3622 w 3717"/>
                <a:gd name="T95" fmla="*/ 20 h 5000"/>
                <a:gd name="T96" fmla="*/ 3654 w 3717"/>
                <a:gd name="T97" fmla="*/ 41 h 5000"/>
                <a:gd name="T98" fmla="*/ 3680 w 3717"/>
                <a:gd name="T99" fmla="*/ 67 h 5000"/>
                <a:gd name="T100" fmla="*/ 3696 w 3717"/>
                <a:gd name="T101" fmla="*/ 89 h 5000"/>
                <a:gd name="T102" fmla="*/ 3705 w 3717"/>
                <a:gd name="T103" fmla="*/ 106 h 5000"/>
                <a:gd name="T104" fmla="*/ 3710 w 3717"/>
                <a:gd name="T105" fmla="*/ 124 h 5000"/>
                <a:gd name="T106" fmla="*/ 3715 w 3717"/>
                <a:gd name="T107" fmla="*/ 142 h 5000"/>
                <a:gd name="T108" fmla="*/ 3717 w 3717"/>
                <a:gd name="T109" fmla="*/ 162 h 5000"/>
                <a:gd name="T110" fmla="*/ 3716 w 3717"/>
                <a:gd name="T111" fmla="*/ 182 h 5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717" h="5000">
                  <a:moveTo>
                    <a:pt x="3715" y="192"/>
                  </a:moveTo>
                  <a:lnTo>
                    <a:pt x="2936" y="4866"/>
                  </a:lnTo>
                  <a:lnTo>
                    <a:pt x="2934" y="4876"/>
                  </a:lnTo>
                  <a:lnTo>
                    <a:pt x="2932" y="4886"/>
                  </a:lnTo>
                  <a:lnTo>
                    <a:pt x="2928" y="4895"/>
                  </a:lnTo>
                  <a:lnTo>
                    <a:pt x="2924" y="4905"/>
                  </a:lnTo>
                  <a:lnTo>
                    <a:pt x="2921" y="4914"/>
                  </a:lnTo>
                  <a:lnTo>
                    <a:pt x="2915" y="4922"/>
                  </a:lnTo>
                  <a:lnTo>
                    <a:pt x="2911" y="4930"/>
                  </a:lnTo>
                  <a:lnTo>
                    <a:pt x="2905" y="4938"/>
                  </a:lnTo>
                  <a:lnTo>
                    <a:pt x="2899" y="4945"/>
                  </a:lnTo>
                  <a:lnTo>
                    <a:pt x="2893" y="4952"/>
                  </a:lnTo>
                  <a:lnTo>
                    <a:pt x="2886" y="4958"/>
                  </a:lnTo>
                  <a:lnTo>
                    <a:pt x="2879" y="4964"/>
                  </a:lnTo>
                  <a:lnTo>
                    <a:pt x="2863" y="4974"/>
                  </a:lnTo>
                  <a:lnTo>
                    <a:pt x="2847" y="4983"/>
                  </a:lnTo>
                  <a:lnTo>
                    <a:pt x="2829" y="4991"/>
                  </a:lnTo>
                  <a:lnTo>
                    <a:pt x="2811" y="4996"/>
                  </a:lnTo>
                  <a:lnTo>
                    <a:pt x="2792" y="4999"/>
                  </a:lnTo>
                  <a:lnTo>
                    <a:pt x="2773" y="5000"/>
                  </a:lnTo>
                  <a:lnTo>
                    <a:pt x="2752" y="5000"/>
                  </a:lnTo>
                  <a:lnTo>
                    <a:pt x="2733" y="4998"/>
                  </a:lnTo>
                  <a:lnTo>
                    <a:pt x="2713" y="4994"/>
                  </a:lnTo>
                  <a:lnTo>
                    <a:pt x="2693" y="4987"/>
                  </a:lnTo>
                  <a:lnTo>
                    <a:pt x="355" y="4083"/>
                  </a:lnTo>
                  <a:lnTo>
                    <a:pt x="329" y="4073"/>
                  </a:lnTo>
                  <a:lnTo>
                    <a:pt x="303" y="4061"/>
                  </a:lnTo>
                  <a:lnTo>
                    <a:pt x="279" y="4049"/>
                  </a:lnTo>
                  <a:lnTo>
                    <a:pt x="255" y="4037"/>
                  </a:lnTo>
                  <a:lnTo>
                    <a:pt x="233" y="4024"/>
                  </a:lnTo>
                  <a:lnTo>
                    <a:pt x="212" y="4010"/>
                  </a:lnTo>
                  <a:lnTo>
                    <a:pt x="192" y="3996"/>
                  </a:lnTo>
                  <a:lnTo>
                    <a:pt x="173" y="3981"/>
                  </a:lnTo>
                  <a:lnTo>
                    <a:pt x="155" y="3966"/>
                  </a:lnTo>
                  <a:lnTo>
                    <a:pt x="139" y="3951"/>
                  </a:lnTo>
                  <a:lnTo>
                    <a:pt x="122" y="3934"/>
                  </a:lnTo>
                  <a:lnTo>
                    <a:pt x="107" y="3917"/>
                  </a:lnTo>
                  <a:lnTo>
                    <a:pt x="93" y="3900"/>
                  </a:lnTo>
                  <a:lnTo>
                    <a:pt x="81" y="3883"/>
                  </a:lnTo>
                  <a:lnTo>
                    <a:pt x="70" y="3865"/>
                  </a:lnTo>
                  <a:lnTo>
                    <a:pt x="58" y="3847"/>
                  </a:lnTo>
                  <a:lnTo>
                    <a:pt x="48" y="3829"/>
                  </a:lnTo>
                  <a:lnTo>
                    <a:pt x="39" y="3809"/>
                  </a:lnTo>
                  <a:lnTo>
                    <a:pt x="32" y="3790"/>
                  </a:lnTo>
                  <a:lnTo>
                    <a:pt x="24" y="3770"/>
                  </a:lnTo>
                  <a:lnTo>
                    <a:pt x="18" y="3750"/>
                  </a:lnTo>
                  <a:lnTo>
                    <a:pt x="12" y="3730"/>
                  </a:lnTo>
                  <a:lnTo>
                    <a:pt x="8" y="3710"/>
                  </a:lnTo>
                  <a:lnTo>
                    <a:pt x="5" y="3688"/>
                  </a:lnTo>
                  <a:lnTo>
                    <a:pt x="3" y="3668"/>
                  </a:lnTo>
                  <a:lnTo>
                    <a:pt x="0" y="3646"/>
                  </a:lnTo>
                  <a:lnTo>
                    <a:pt x="0" y="3625"/>
                  </a:lnTo>
                  <a:lnTo>
                    <a:pt x="0" y="3603"/>
                  </a:lnTo>
                  <a:lnTo>
                    <a:pt x="0" y="3581"/>
                  </a:lnTo>
                  <a:lnTo>
                    <a:pt x="3" y="3559"/>
                  </a:lnTo>
                  <a:lnTo>
                    <a:pt x="5" y="3537"/>
                  </a:lnTo>
                  <a:lnTo>
                    <a:pt x="8" y="3514"/>
                  </a:lnTo>
                  <a:lnTo>
                    <a:pt x="507" y="523"/>
                  </a:lnTo>
                  <a:lnTo>
                    <a:pt x="510" y="501"/>
                  </a:lnTo>
                  <a:lnTo>
                    <a:pt x="516" y="479"/>
                  </a:lnTo>
                  <a:lnTo>
                    <a:pt x="521" y="457"/>
                  </a:lnTo>
                  <a:lnTo>
                    <a:pt x="527" y="437"/>
                  </a:lnTo>
                  <a:lnTo>
                    <a:pt x="534" y="416"/>
                  </a:lnTo>
                  <a:lnTo>
                    <a:pt x="541" y="396"/>
                  </a:lnTo>
                  <a:lnTo>
                    <a:pt x="550" y="376"/>
                  </a:lnTo>
                  <a:lnTo>
                    <a:pt x="560" y="357"/>
                  </a:lnTo>
                  <a:lnTo>
                    <a:pt x="570" y="339"/>
                  </a:lnTo>
                  <a:lnTo>
                    <a:pt x="580" y="320"/>
                  </a:lnTo>
                  <a:lnTo>
                    <a:pt x="592" y="303"/>
                  </a:lnTo>
                  <a:lnTo>
                    <a:pt x="604" y="286"/>
                  </a:lnTo>
                  <a:lnTo>
                    <a:pt x="617" y="270"/>
                  </a:lnTo>
                  <a:lnTo>
                    <a:pt x="631" y="254"/>
                  </a:lnTo>
                  <a:lnTo>
                    <a:pt x="646" y="239"/>
                  </a:lnTo>
                  <a:lnTo>
                    <a:pt x="661" y="224"/>
                  </a:lnTo>
                  <a:lnTo>
                    <a:pt x="678" y="211"/>
                  </a:lnTo>
                  <a:lnTo>
                    <a:pt x="694" y="198"/>
                  </a:lnTo>
                  <a:lnTo>
                    <a:pt x="712" y="185"/>
                  </a:lnTo>
                  <a:lnTo>
                    <a:pt x="730" y="173"/>
                  </a:lnTo>
                  <a:lnTo>
                    <a:pt x="750" y="163"/>
                  </a:lnTo>
                  <a:lnTo>
                    <a:pt x="770" y="153"/>
                  </a:lnTo>
                  <a:lnTo>
                    <a:pt x="791" y="143"/>
                  </a:lnTo>
                  <a:lnTo>
                    <a:pt x="814" y="135"/>
                  </a:lnTo>
                  <a:lnTo>
                    <a:pt x="836" y="127"/>
                  </a:lnTo>
                  <a:lnTo>
                    <a:pt x="859" y="121"/>
                  </a:lnTo>
                  <a:lnTo>
                    <a:pt x="884" y="114"/>
                  </a:lnTo>
                  <a:lnTo>
                    <a:pt x="909" y="109"/>
                  </a:lnTo>
                  <a:lnTo>
                    <a:pt x="936" y="104"/>
                  </a:lnTo>
                  <a:lnTo>
                    <a:pt x="962" y="101"/>
                  </a:lnTo>
                  <a:lnTo>
                    <a:pt x="990" y="99"/>
                  </a:lnTo>
                  <a:lnTo>
                    <a:pt x="1019" y="97"/>
                  </a:lnTo>
                  <a:lnTo>
                    <a:pt x="3523" y="0"/>
                  </a:lnTo>
                  <a:lnTo>
                    <a:pt x="3544" y="0"/>
                  </a:lnTo>
                  <a:lnTo>
                    <a:pt x="3564" y="2"/>
                  </a:lnTo>
                  <a:lnTo>
                    <a:pt x="3584" y="6"/>
                  </a:lnTo>
                  <a:lnTo>
                    <a:pt x="3603" y="13"/>
                  </a:lnTo>
                  <a:lnTo>
                    <a:pt x="3622" y="20"/>
                  </a:lnTo>
                  <a:lnTo>
                    <a:pt x="3638" y="30"/>
                  </a:lnTo>
                  <a:lnTo>
                    <a:pt x="3654" y="41"/>
                  </a:lnTo>
                  <a:lnTo>
                    <a:pt x="3668" y="53"/>
                  </a:lnTo>
                  <a:lnTo>
                    <a:pt x="3680" y="67"/>
                  </a:lnTo>
                  <a:lnTo>
                    <a:pt x="3692" y="82"/>
                  </a:lnTo>
                  <a:lnTo>
                    <a:pt x="3696" y="89"/>
                  </a:lnTo>
                  <a:lnTo>
                    <a:pt x="3700" y="98"/>
                  </a:lnTo>
                  <a:lnTo>
                    <a:pt x="3705" y="106"/>
                  </a:lnTo>
                  <a:lnTo>
                    <a:pt x="3708" y="115"/>
                  </a:lnTo>
                  <a:lnTo>
                    <a:pt x="3710" y="124"/>
                  </a:lnTo>
                  <a:lnTo>
                    <a:pt x="3713" y="132"/>
                  </a:lnTo>
                  <a:lnTo>
                    <a:pt x="3715" y="142"/>
                  </a:lnTo>
                  <a:lnTo>
                    <a:pt x="3716" y="152"/>
                  </a:lnTo>
                  <a:lnTo>
                    <a:pt x="3717" y="162"/>
                  </a:lnTo>
                  <a:lnTo>
                    <a:pt x="3717" y="171"/>
                  </a:lnTo>
                  <a:lnTo>
                    <a:pt x="3716" y="182"/>
                  </a:lnTo>
                  <a:lnTo>
                    <a:pt x="3715" y="192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8372475" y="3473450"/>
              <a:ext cx="771525" cy="1765300"/>
            </a:xfrm>
            <a:custGeom>
              <a:avLst/>
              <a:gdLst>
                <a:gd name="T0" fmla="*/ 1458 w 1458"/>
                <a:gd name="T1" fmla="*/ 3144 h 3336"/>
                <a:gd name="T2" fmla="*/ 190 w 1458"/>
                <a:gd name="T3" fmla="*/ 3335 h 3336"/>
                <a:gd name="T4" fmla="*/ 180 w 1458"/>
                <a:gd name="T5" fmla="*/ 3336 h 3336"/>
                <a:gd name="T6" fmla="*/ 170 w 1458"/>
                <a:gd name="T7" fmla="*/ 3336 h 3336"/>
                <a:gd name="T8" fmla="*/ 160 w 1458"/>
                <a:gd name="T9" fmla="*/ 3336 h 3336"/>
                <a:gd name="T10" fmla="*/ 150 w 1458"/>
                <a:gd name="T11" fmla="*/ 3336 h 3336"/>
                <a:gd name="T12" fmla="*/ 140 w 1458"/>
                <a:gd name="T13" fmla="*/ 3334 h 3336"/>
                <a:gd name="T14" fmla="*/ 131 w 1458"/>
                <a:gd name="T15" fmla="*/ 3333 h 3336"/>
                <a:gd name="T16" fmla="*/ 122 w 1458"/>
                <a:gd name="T17" fmla="*/ 3329 h 3336"/>
                <a:gd name="T18" fmla="*/ 112 w 1458"/>
                <a:gd name="T19" fmla="*/ 3327 h 3336"/>
                <a:gd name="T20" fmla="*/ 104 w 1458"/>
                <a:gd name="T21" fmla="*/ 3323 h 3336"/>
                <a:gd name="T22" fmla="*/ 96 w 1458"/>
                <a:gd name="T23" fmla="*/ 3320 h 3336"/>
                <a:gd name="T24" fmla="*/ 87 w 1458"/>
                <a:gd name="T25" fmla="*/ 3315 h 3336"/>
                <a:gd name="T26" fmla="*/ 80 w 1458"/>
                <a:gd name="T27" fmla="*/ 3310 h 3336"/>
                <a:gd name="T28" fmla="*/ 65 w 1458"/>
                <a:gd name="T29" fmla="*/ 3299 h 3336"/>
                <a:gd name="T30" fmla="*/ 52 w 1458"/>
                <a:gd name="T31" fmla="*/ 3286 h 3336"/>
                <a:gd name="T32" fmla="*/ 39 w 1458"/>
                <a:gd name="T33" fmla="*/ 3271 h 3336"/>
                <a:gd name="T34" fmla="*/ 28 w 1458"/>
                <a:gd name="T35" fmla="*/ 3256 h 3336"/>
                <a:gd name="T36" fmla="*/ 19 w 1458"/>
                <a:gd name="T37" fmla="*/ 3239 h 3336"/>
                <a:gd name="T38" fmla="*/ 12 w 1458"/>
                <a:gd name="T39" fmla="*/ 3220 h 3336"/>
                <a:gd name="T40" fmla="*/ 6 w 1458"/>
                <a:gd name="T41" fmla="*/ 3202 h 3336"/>
                <a:gd name="T42" fmla="*/ 2 w 1458"/>
                <a:gd name="T43" fmla="*/ 3181 h 3336"/>
                <a:gd name="T44" fmla="*/ 0 w 1458"/>
                <a:gd name="T45" fmla="*/ 3162 h 3336"/>
                <a:gd name="T46" fmla="*/ 0 w 1458"/>
                <a:gd name="T47" fmla="*/ 3140 h 3336"/>
                <a:gd name="T48" fmla="*/ 138 w 1458"/>
                <a:gd name="T49" fmla="*/ 638 h 3336"/>
                <a:gd name="T50" fmla="*/ 139 w 1458"/>
                <a:gd name="T51" fmla="*/ 609 h 3336"/>
                <a:gd name="T52" fmla="*/ 143 w 1458"/>
                <a:gd name="T53" fmla="*/ 582 h 3336"/>
                <a:gd name="T54" fmla="*/ 147 w 1458"/>
                <a:gd name="T55" fmla="*/ 555 h 3336"/>
                <a:gd name="T56" fmla="*/ 151 w 1458"/>
                <a:gd name="T57" fmla="*/ 529 h 3336"/>
                <a:gd name="T58" fmla="*/ 157 w 1458"/>
                <a:gd name="T59" fmla="*/ 504 h 3336"/>
                <a:gd name="T60" fmla="*/ 163 w 1458"/>
                <a:gd name="T61" fmla="*/ 480 h 3336"/>
                <a:gd name="T62" fmla="*/ 171 w 1458"/>
                <a:gd name="T63" fmla="*/ 456 h 3336"/>
                <a:gd name="T64" fmla="*/ 179 w 1458"/>
                <a:gd name="T65" fmla="*/ 433 h 3336"/>
                <a:gd name="T66" fmla="*/ 188 w 1458"/>
                <a:gd name="T67" fmla="*/ 412 h 3336"/>
                <a:gd name="T68" fmla="*/ 198 w 1458"/>
                <a:gd name="T69" fmla="*/ 391 h 3336"/>
                <a:gd name="T70" fmla="*/ 208 w 1458"/>
                <a:gd name="T71" fmla="*/ 371 h 3336"/>
                <a:gd name="T72" fmla="*/ 219 w 1458"/>
                <a:gd name="T73" fmla="*/ 351 h 3336"/>
                <a:gd name="T74" fmla="*/ 231 w 1458"/>
                <a:gd name="T75" fmla="*/ 333 h 3336"/>
                <a:gd name="T76" fmla="*/ 244 w 1458"/>
                <a:gd name="T77" fmla="*/ 316 h 3336"/>
                <a:gd name="T78" fmla="*/ 257 w 1458"/>
                <a:gd name="T79" fmla="*/ 299 h 3336"/>
                <a:gd name="T80" fmla="*/ 271 w 1458"/>
                <a:gd name="T81" fmla="*/ 283 h 3336"/>
                <a:gd name="T82" fmla="*/ 286 w 1458"/>
                <a:gd name="T83" fmla="*/ 268 h 3336"/>
                <a:gd name="T84" fmla="*/ 301 w 1458"/>
                <a:gd name="T85" fmla="*/ 253 h 3336"/>
                <a:gd name="T86" fmla="*/ 318 w 1458"/>
                <a:gd name="T87" fmla="*/ 240 h 3336"/>
                <a:gd name="T88" fmla="*/ 334 w 1458"/>
                <a:gd name="T89" fmla="*/ 227 h 3336"/>
                <a:gd name="T90" fmla="*/ 351 w 1458"/>
                <a:gd name="T91" fmla="*/ 215 h 3336"/>
                <a:gd name="T92" fmla="*/ 368 w 1458"/>
                <a:gd name="T93" fmla="*/ 203 h 3336"/>
                <a:gd name="T94" fmla="*/ 387 w 1458"/>
                <a:gd name="T95" fmla="*/ 194 h 3336"/>
                <a:gd name="T96" fmla="*/ 405 w 1458"/>
                <a:gd name="T97" fmla="*/ 184 h 3336"/>
                <a:gd name="T98" fmla="*/ 424 w 1458"/>
                <a:gd name="T99" fmla="*/ 174 h 3336"/>
                <a:gd name="T100" fmla="*/ 444 w 1458"/>
                <a:gd name="T101" fmla="*/ 167 h 3336"/>
                <a:gd name="T102" fmla="*/ 464 w 1458"/>
                <a:gd name="T103" fmla="*/ 159 h 3336"/>
                <a:gd name="T104" fmla="*/ 485 w 1458"/>
                <a:gd name="T105" fmla="*/ 153 h 3336"/>
                <a:gd name="T106" fmla="*/ 507 w 1458"/>
                <a:gd name="T107" fmla="*/ 146 h 3336"/>
                <a:gd name="T108" fmla="*/ 528 w 1458"/>
                <a:gd name="T109" fmla="*/ 141 h 3336"/>
                <a:gd name="T110" fmla="*/ 550 w 1458"/>
                <a:gd name="T111" fmla="*/ 136 h 3336"/>
                <a:gd name="T112" fmla="*/ 572 w 1458"/>
                <a:gd name="T113" fmla="*/ 133 h 3336"/>
                <a:gd name="T114" fmla="*/ 1458 w 1458"/>
                <a:gd name="T115" fmla="*/ 0 h 3336"/>
                <a:gd name="T116" fmla="*/ 1458 w 1458"/>
                <a:gd name="T117" fmla="*/ 3144 h 3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58" h="3336">
                  <a:moveTo>
                    <a:pt x="1458" y="3144"/>
                  </a:moveTo>
                  <a:lnTo>
                    <a:pt x="190" y="3335"/>
                  </a:lnTo>
                  <a:lnTo>
                    <a:pt x="180" y="3336"/>
                  </a:lnTo>
                  <a:lnTo>
                    <a:pt x="170" y="3336"/>
                  </a:lnTo>
                  <a:lnTo>
                    <a:pt x="160" y="3336"/>
                  </a:lnTo>
                  <a:lnTo>
                    <a:pt x="150" y="3336"/>
                  </a:lnTo>
                  <a:lnTo>
                    <a:pt x="140" y="3334"/>
                  </a:lnTo>
                  <a:lnTo>
                    <a:pt x="131" y="3333"/>
                  </a:lnTo>
                  <a:lnTo>
                    <a:pt x="122" y="3329"/>
                  </a:lnTo>
                  <a:lnTo>
                    <a:pt x="112" y="3327"/>
                  </a:lnTo>
                  <a:lnTo>
                    <a:pt x="104" y="3323"/>
                  </a:lnTo>
                  <a:lnTo>
                    <a:pt x="96" y="3320"/>
                  </a:lnTo>
                  <a:lnTo>
                    <a:pt x="87" y="3315"/>
                  </a:lnTo>
                  <a:lnTo>
                    <a:pt x="80" y="3310"/>
                  </a:lnTo>
                  <a:lnTo>
                    <a:pt x="65" y="3299"/>
                  </a:lnTo>
                  <a:lnTo>
                    <a:pt x="52" y="3286"/>
                  </a:lnTo>
                  <a:lnTo>
                    <a:pt x="39" y="3271"/>
                  </a:lnTo>
                  <a:lnTo>
                    <a:pt x="28" y="3256"/>
                  </a:lnTo>
                  <a:lnTo>
                    <a:pt x="19" y="3239"/>
                  </a:lnTo>
                  <a:lnTo>
                    <a:pt x="12" y="3220"/>
                  </a:lnTo>
                  <a:lnTo>
                    <a:pt x="6" y="3202"/>
                  </a:lnTo>
                  <a:lnTo>
                    <a:pt x="2" y="3181"/>
                  </a:lnTo>
                  <a:lnTo>
                    <a:pt x="0" y="3162"/>
                  </a:lnTo>
                  <a:lnTo>
                    <a:pt x="0" y="3140"/>
                  </a:lnTo>
                  <a:lnTo>
                    <a:pt x="138" y="638"/>
                  </a:lnTo>
                  <a:lnTo>
                    <a:pt x="139" y="609"/>
                  </a:lnTo>
                  <a:lnTo>
                    <a:pt x="143" y="582"/>
                  </a:lnTo>
                  <a:lnTo>
                    <a:pt x="147" y="555"/>
                  </a:lnTo>
                  <a:lnTo>
                    <a:pt x="151" y="529"/>
                  </a:lnTo>
                  <a:lnTo>
                    <a:pt x="157" y="504"/>
                  </a:lnTo>
                  <a:lnTo>
                    <a:pt x="163" y="480"/>
                  </a:lnTo>
                  <a:lnTo>
                    <a:pt x="171" y="456"/>
                  </a:lnTo>
                  <a:lnTo>
                    <a:pt x="179" y="433"/>
                  </a:lnTo>
                  <a:lnTo>
                    <a:pt x="188" y="412"/>
                  </a:lnTo>
                  <a:lnTo>
                    <a:pt x="198" y="391"/>
                  </a:lnTo>
                  <a:lnTo>
                    <a:pt x="208" y="371"/>
                  </a:lnTo>
                  <a:lnTo>
                    <a:pt x="219" y="351"/>
                  </a:lnTo>
                  <a:lnTo>
                    <a:pt x="231" y="333"/>
                  </a:lnTo>
                  <a:lnTo>
                    <a:pt x="244" y="316"/>
                  </a:lnTo>
                  <a:lnTo>
                    <a:pt x="257" y="299"/>
                  </a:lnTo>
                  <a:lnTo>
                    <a:pt x="271" y="283"/>
                  </a:lnTo>
                  <a:lnTo>
                    <a:pt x="286" y="268"/>
                  </a:lnTo>
                  <a:lnTo>
                    <a:pt x="301" y="253"/>
                  </a:lnTo>
                  <a:lnTo>
                    <a:pt x="318" y="240"/>
                  </a:lnTo>
                  <a:lnTo>
                    <a:pt x="334" y="227"/>
                  </a:lnTo>
                  <a:lnTo>
                    <a:pt x="351" y="215"/>
                  </a:lnTo>
                  <a:lnTo>
                    <a:pt x="368" y="203"/>
                  </a:lnTo>
                  <a:lnTo>
                    <a:pt x="387" y="194"/>
                  </a:lnTo>
                  <a:lnTo>
                    <a:pt x="405" y="184"/>
                  </a:lnTo>
                  <a:lnTo>
                    <a:pt x="424" y="174"/>
                  </a:lnTo>
                  <a:lnTo>
                    <a:pt x="444" y="167"/>
                  </a:lnTo>
                  <a:lnTo>
                    <a:pt x="464" y="159"/>
                  </a:lnTo>
                  <a:lnTo>
                    <a:pt x="485" y="153"/>
                  </a:lnTo>
                  <a:lnTo>
                    <a:pt x="507" y="146"/>
                  </a:lnTo>
                  <a:lnTo>
                    <a:pt x="528" y="141"/>
                  </a:lnTo>
                  <a:lnTo>
                    <a:pt x="550" y="136"/>
                  </a:lnTo>
                  <a:lnTo>
                    <a:pt x="572" y="133"/>
                  </a:lnTo>
                  <a:lnTo>
                    <a:pt x="1458" y="0"/>
                  </a:lnTo>
                  <a:lnTo>
                    <a:pt x="1458" y="3144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7999413" y="5721350"/>
              <a:ext cx="1144588" cy="1136650"/>
            </a:xfrm>
            <a:custGeom>
              <a:avLst/>
              <a:gdLst>
                <a:gd name="T0" fmla="*/ 705 w 2162"/>
                <a:gd name="T1" fmla="*/ 2147 h 2147"/>
                <a:gd name="T2" fmla="*/ 17 w 2162"/>
                <a:gd name="T3" fmla="*/ 792 h 2147"/>
                <a:gd name="T4" fmla="*/ 13 w 2162"/>
                <a:gd name="T5" fmla="*/ 782 h 2147"/>
                <a:gd name="T6" fmla="*/ 8 w 2162"/>
                <a:gd name="T7" fmla="*/ 773 h 2147"/>
                <a:gd name="T8" fmla="*/ 5 w 2162"/>
                <a:gd name="T9" fmla="*/ 764 h 2147"/>
                <a:gd name="T10" fmla="*/ 3 w 2162"/>
                <a:gd name="T11" fmla="*/ 754 h 2147"/>
                <a:gd name="T12" fmla="*/ 1 w 2162"/>
                <a:gd name="T13" fmla="*/ 744 h 2147"/>
                <a:gd name="T14" fmla="*/ 0 w 2162"/>
                <a:gd name="T15" fmla="*/ 735 h 2147"/>
                <a:gd name="T16" fmla="*/ 0 w 2162"/>
                <a:gd name="T17" fmla="*/ 726 h 2147"/>
                <a:gd name="T18" fmla="*/ 0 w 2162"/>
                <a:gd name="T19" fmla="*/ 716 h 2147"/>
                <a:gd name="T20" fmla="*/ 0 w 2162"/>
                <a:gd name="T21" fmla="*/ 707 h 2147"/>
                <a:gd name="T22" fmla="*/ 1 w 2162"/>
                <a:gd name="T23" fmla="*/ 698 h 2147"/>
                <a:gd name="T24" fmla="*/ 3 w 2162"/>
                <a:gd name="T25" fmla="*/ 688 h 2147"/>
                <a:gd name="T26" fmla="*/ 5 w 2162"/>
                <a:gd name="T27" fmla="*/ 680 h 2147"/>
                <a:gd name="T28" fmla="*/ 12 w 2162"/>
                <a:gd name="T29" fmla="*/ 662 h 2147"/>
                <a:gd name="T30" fmla="*/ 19 w 2162"/>
                <a:gd name="T31" fmla="*/ 645 h 2147"/>
                <a:gd name="T32" fmla="*/ 29 w 2162"/>
                <a:gd name="T33" fmla="*/ 629 h 2147"/>
                <a:gd name="T34" fmla="*/ 41 w 2162"/>
                <a:gd name="T35" fmla="*/ 614 h 2147"/>
                <a:gd name="T36" fmla="*/ 54 w 2162"/>
                <a:gd name="T37" fmla="*/ 600 h 2147"/>
                <a:gd name="T38" fmla="*/ 69 w 2162"/>
                <a:gd name="T39" fmla="*/ 587 h 2147"/>
                <a:gd name="T40" fmla="*/ 85 w 2162"/>
                <a:gd name="T41" fmla="*/ 576 h 2147"/>
                <a:gd name="T42" fmla="*/ 102 w 2162"/>
                <a:gd name="T43" fmla="*/ 565 h 2147"/>
                <a:gd name="T44" fmla="*/ 121 w 2162"/>
                <a:gd name="T45" fmla="*/ 558 h 2147"/>
                <a:gd name="T46" fmla="*/ 141 w 2162"/>
                <a:gd name="T47" fmla="*/ 551 h 2147"/>
                <a:gd name="T48" fmla="*/ 2162 w 2162"/>
                <a:gd name="T49" fmla="*/ 0 h 2147"/>
                <a:gd name="T50" fmla="*/ 2162 w 2162"/>
                <a:gd name="T51" fmla="*/ 2147 h 2147"/>
                <a:gd name="T52" fmla="*/ 705 w 2162"/>
                <a:gd name="T53" fmla="*/ 2147 h 2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162" h="2147">
                  <a:moveTo>
                    <a:pt x="705" y="2147"/>
                  </a:moveTo>
                  <a:lnTo>
                    <a:pt x="17" y="792"/>
                  </a:lnTo>
                  <a:lnTo>
                    <a:pt x="13" y="782"/>
                  </a:lnTo>
                  <a:lnTo>
                    <a:pt x="8" y="773"/>
                  </a:lnTo>
                  <a:lnTo>
                    <a:pt x="5" y="764"/>
                  </a:lnTo>
                  <a:lnTo>
                    <a:pt x="3" y="754"/>
                  </a:lnTo>
                  <a:lnTo>
                    <a:pt x="1" y="744"/>
                  </a:lnTo>
                  <a:lnTo>
                    <a:pt x="0" y="735"/>
                  </a:lnTo>
                  <a:lnTo>
                    <a:pt x="0" y="726"/>
                  </a:lnTo>
                  <a:lnTo>
                    <a:pt x="0" y="716"/>
                  </a:lnTo>
                  <a:lnTo>
                    <a:pt x="0" y="707"/>
                  </a:lnTo>
                  <a:lnTo>
                    <a:pt x="1" y="698"/>
                  </a:lnTo>
                  <a:lnTo>
                    <a:pt x="3" y="688"/>
                  </a:lnTo>
                  <a:lnTo>
                    <a:pt x="5" y="680"/>
                  </a:lnTo>
                  <a:lnTo>
                    <a:pt x="12" y="662"/>
                  </a:lnTo>
                  <a:lnTo>
                    <a:pt x="19" y="645"/>
                  </a:lnTo>
                  <a:lnTo>
                    <a:pt x="29" y="629"/>
                  </a:lnTo>
                  <a:lnTo>
                    <a:pt x="41" y="614"/>
                  </a:lnTo>
                  <a:lnTo>
                    <a:pt x="54" y="600"/>
                  </a:lnTo>
                  <a:lnTo>
                    <a:pt x="69" y="587"/>
                  </a:lnTo>
                  <a:lnTo>
                    <a:pt x="85" y="576"/>
                  </a:lnTo>
                  <a:lnTo>
                    <a:pt x="102" y="565"/>
                  </a:lnTo>
                  <a:lnTo>
                    <a:pt x="121" y="558"/>
                  </a:lnTo>
                  <a:lnTo>
                    <a:pt x="141" y="551"/>
                  </a:lnTo>
                  <a:lnTo>
                    <a:pt x="2162" y="0"/>
                  </a:lnTo>
                  <a:lnTo>
                    <a:pt x="2162" y="2147"/>
                  </a:lnTo>
                  <a:lnTo>
                    <a:pt x="705" y="2147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" name="Freeform 11"/>
            <p:cNvSpPr>
              <a:spLocks/>
            </p:cNvSpPr>
            <p:nvPr userDrawn="1"/>
          </p:nvSpPr>
          <p:spPr bwMode="auto">
            <a:xfrm>
              <a:off x="6105525" y="5953125"/>
              <a:ext cx="1589088" cy="904875"/>
            </a:xfrm>
            <a:custGeom>
              <a:avLst/>
              <a:gdLst>
                <a:gd name="T0" fmla="*/ 0 w 3003"/>
                <a:gd name="T1" fmla="*/ 1709 h 1709"/>
                <a:gd name="T2" fmla="*/ 1688 w 3003"/>
                <a:gd name="T3" fmla="*/ 45 h 1709"/>
                <a:gd name="T4" fmla="*/ 1695 w 3003"/>
                <a:gd name="T5" fmla="*/ 39 h 1709"/>
                <a:gd name="T6" fmla="*/ 1704 w 3003"/>
                <a:gd name="T7" fmla="*/ 32 h 1709"/>
                <a:gd name="T8" fmla="*/ 1711 w 3003"/>
                <a:gd name="T9" fmla="*/ 26 h 1709"/>
                <a:gd name="T10" fmla="*/ 1720 w 3003"/>
                <a:gd name="T11" fmla="*/ 20 h 1709"/>
                <a:gd name="T12" fmla="*/ 1729 w 3003"/>
                <a:gd name="T13" fmla="*/ 16 h 1709"/>
                <a:gd name="T14" fmla="*/ 1737 w 3003"/>
                <a:gd name="T15" fmla="*/ 12 h 1709"/>
                <a:gd name="T16" fmla="*/ 1746 w 3003"/>
                <a:gd name="T17" fmla="*/ 8 h 1709"/>
                <a:gd name="T18" fmla="*/ 1755 w 3003"/>
                <a:gd name="T19" fmla="*/ 6 h 1709"/>
                <a:gd name="T20" fmla="*/ 1764 w 3003"/>
                <a:gd name="T21" fmla="*/ 3 h 1709"/>
                <a:gd name="T22" fmla="*/ 1773 w 3003"/>
                <a:gd name="T23" fmla="*/ 2 h 1709"/>
                <a:gd name="T24" fmla="*/ 1783 w 3003"/>
                <a:gd name="T25" fmla="*/ 1 h 1709"/>
                <a:gd name="T26" fmla="*/ 1791 w 3003"/>
                <a:gd name="T27" fmla="*/ 0 h 1709"/>
                <a:gd name="T28" fmla="*/ 1811 w 3003"/>
                <a:gd name="T29" fmla="*/ 0 h 1709"/>
                <a:gd name="T30" fmla="*/ 1829 w 3003"/>
                <a:gd name="T31" fmla="*/ 3 h 1709"/>
                <a:gd name="T32" fmla="*/ 1847 w 3003"/>
                <a:gd name="T33" fmla="*/ 7 h 1709"/>
                <a:gd name="T34" fmla="*/ 1865 w 3003"/>
                <a:gd name="T35" fmla="*/ 14 h 1709"/>
                <a:gd name="T36" fmla="*/ 1882 w 3003"/>
                <a:gd name="T37" fmla="*/ 22 h 1709"/>
                <a:gd name="T38" fmla="*/ 1899 w 3003"/>
                <a:gd name="T39" fmla="*/ 32 h 1709"/>
                <a:gd name="T40" fmla="*/ 1914 w 3003"/>
                <a:gd name="T41" fmla="*/ 44 h 1709"/>
                <a:gd name="T42" fmla="*/ 1930 w 3003"/>
                <a:gd name="T43" fmla="*/ 58 h 1709"/>
                <a:gd name="T44" fmla="*/ 1944 w 3003"/>
                <a:gd name="T45" fmla="*/ 73 h 1709"/>
                <a:gd name="T46" fmla="*/ 1955 w 3003"/>
                <a:gd name="T47" fmla="*/ 90 h 1709"/>
                <a:gd name="T48" fmla="*/ 3003 w 3003"/>
                <a:gd name="T49" fmla="*/ 1709 h 1709"/>
                <a:gd name="T50" fmla="*/ 0 w 3003"/>
                <a:gd name="T51" fmla="*/ 1709 h 1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03" h="1709">
                  <a:moveTo>
                    <a:pt x="0" y="1709"/>
                  </a:moveTo>
                  <a:lnTo>
                    <a:pt x="1688" y="45"/>
                  </a:lnTo>
                  <a:lnTo>
                    <a:pt x="1695" y="39"/>
                  </a:lnTo>
                  <a:lnTo>
                    <a:pt x="1704" y="32"/>
                  </a:lnTo>
                  <a:lnTo>
                    <a:pt x="1711" y="26"/>
                  </a:lnTo>
                  <a:lnTo>
                    <a:pt x="1720" y="20"/>
                  </a:lnTo>
                  <a:lnTo>
                    <a:pt x="1729" y="16"/>
                  </a:lnTo>
                  <a:lnTo>
                    <a:pt x="1737" y="12"/>
                  </a:lnTo>
                  <a:lnTo>
                    <a:pt x="1746" y="8"/>
                  </a:lnTo>
                  <a:lnTo>
                    <a:pt x="1755" y="6"/>
                  </a:lnTo>
                  <a:lnTo>
                    <a:pt x="1764" y="3"/>
                  </a:lnTo>
                  <a:lnTo>
                    <a:pt x="1773" y="2"/>
                  </a:lnTo>
                  <a:lnTo>
                    <a:pt x="1783" y="1"/>
                  </a:lnTo>
                  <a:lnTo>
                    <a:pt x="1791" y="0"/>
                  </a:lnTo>
                  <a:lnTo>
                    <a:pt x="1811" y="0"/>
                  </a:lnTo>
                  <a:lnTo>
                    <a:pt x="1829" y="3"/>
                  </a:lnTo>
                  <a:lnTo>
                    <a:pt x="1847" y="7"/>
                  </a:lnTo>
                  <a:lnTo>
                    <a:pt x="1865" y="14"/>
                  </a:lnTo>
                  <a:lnTo>
                    <a:pt x="1882" y="22"/>
                  </a:lnTo>
                  <a:lnTo>
                    <a:pt x="1899" y="32"/>
                  </a:lnTo>
                  <a:lnTo>
                    <a:pt x="1914" y="44"/>
                  </a:lnTo>
                  <a:lnTo>
                    <a:pt x="1930" y="58"/>
                  </a:lnTo>
                  <a:lnTo>
                    <a:pt x="1944" y="73"/>
                  </a:lnTo>
                  <a:lnTo>
                    <a:pt x="1955" y="90"/>
                  </a:lnTo>
                  <a:lnTo>
                    <a:pt x="3003" y="1709"/>
                  </a:lnTo>
                  <a:lnTo>
                    <a:pt x="0" y="1709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4" name="Freeform 13"/>
            <p:cNvSpPr>
              <a:spLocks/>
            </p:cNvSpPr>
            <p:nvPr userDrawn="1"/>
          </p:nvSpPr>
          <p:spPr bwMode="auto">
            <a:xfrm>
              <a:off x="4116388" y="3810000"/>
              <a:ext cx="2773363" cy="2447925"/>
            </a:xfrm>
            <a:custGeom>
              <a:avLst/>
              <a:gdLst>
                <a:gd name="T0" fmla="*/ 5156 w 5241"/>
                <a:gd name="T1" fmla="*/ 2193 h 4627"/>
                <a:gd name="T2" fmla="*/ 5173 w 5241"/>
                <a:gd name="T3" fmla="*/ 2204 h 4627"/>
                <a:gd name="T4" fmla="*/ 5190 w 5241"/>
                <a:gd name="T5" fmla="*/ 2216 h 4627"/>
                <a:gd name="T6" fmla="*/ 5203 w 5241"/>
                <a:gd name="T7" fmla="*/ 2230 h 4627"/>
                <a:gd name="T8" fmla="*/ 5214 w 5241"/>
                <a:gd name="T9" fmla="*/ 2244 h 4627"/>
                <a:gd name="T10" fmla="*/ 5224 w 5241"/>
                <a:gd name="T11" fmla="*/ 2260 h 4627"/>
                <a:gd name="T12" fmla="*/ 5232 w 5241"/>
                <a:gd name="T13" fmla="*/ 2278 h 4627"/>
                <a:gd name="T14" fmla="*/ 5240 w 5241"/>
                <a:gd name="T15" fmla="*/ 2314 h 4627"/>
                <a:gd name="T16" fmla="*/ 5241 w 5241"/>
                <a:gd name="T17" fmla="*/ 2352 h 4627"/>
                <a:gd name="T18" fmla="*/ 5234 w 5241"/>
                <a:gd name="T19" fmla="*/ 2390 h 4627"/>
                <a:gd name="T20" fmla="*/ 5219 w 5241"/>
                <a:gd name="T21" fmla="*/ 2427 h 4627"/>
                <a:gd name="T22" fmla="*/ 5196 w 5241"/>
                <a:gd name="T23" fmla="*/ 2461 h 4627"/>
                <a:gd name="T24" fmla="*/ 3600 w 5241"/>
                <a:gd name="T25" fmla="*/ 4431 h 4627"/>
                <a:gd name="T26" fmla="*/ 3563 w 5241"/>
                <a:gd name="T27" fmla="*/ 4471 h 4627"/>
                <a:gd name="T28" fmla="*/ 3524 w 5241"/>
                <a:gd name="T29" fmla="*/ 4506 h 4627"/>
                <a:gd name="T30" fmla="*/ 3485 w 5241"/>
                <a:gd name="T31" fmla="*/ 4537 h 4627"/>
                <a:gd name="T32" fmla="*/ 3445 w 5241"/>
                <a:gd name="T33" fmla="*/ 4562 h 4627"/>
                <a:gd name="T34" fmla="*/ 3405 w 5241"/>
                <a:gd name="T35" fmla="*/ 4584 h 4627"/>
                <a:gd name="T36" fmla="*/ 3364 w 5241"/>
                <a:gd name="T37" fmla="*/ 4601 h 4627"/>
                <a:gd name="T38" fmla="*/ 3323 w 5241"/>
                <a:gd name="T39" fmla="*/ 4614 h 4627"/>
                <a:gd name="T40" fmla="*/ 3281 w 5241"/>
                <a:gd name="T41" fmla="*/ 4623 h 4627"/>
                <a:gd name="T42" fmla="*/ 3240 w 5241"/>
                <a:gd name="T43" fmla="*/ 4627 h 4627"/>
                <a:gd name="T44" fmla="*/ 3198 w 5241"/>
                <a:gd name="T45" fmla="*/ 4627 h 4627"/>
                <a:gd name="T46" fmla="*/ 3157 w 5241"/>
                <a:gd name="T47" fmla="*/ 4624 h 4627"/>
                <a:gd name="T48" fmla="*/ 3115 w 5241"/>
                <a:gd name="T49" fmla="*/ 4616 h 4627"/>
                <a:gd name="T50" fmla="*/ 3073 w 5241"/>
                <a:gd name="T51" fmla="*/ 4606 h 4627"/>
                <a:gd name="T52" fmla="*/ 3032 w 5241"/>
                <a:gd name="T53" fmla="*/ 4592 h 4627"/>
                <a:gd name="T54" fmla="*/ 2991 w 5241"/>
                <a:gd name="T55" fmla="*/ 4574 h 4627"/>
                <a:gd name="T56" fmla="*/ 277 w 5241"/>
                <a:gd name="T57" fmla="*/ 3172 h 4627"/>
                <a:gd name="T58" fmla="*/ 237 w 5241"/>
                <a:gd name="T59" fmla="*/ 3150 h 4627"/>
                <a:gd name="T60" fmla="*/ 200 w 5241"/>
                <a:gd name="T61" fmla="*/ 3125 h 4627"/>
                <a:gd name="T62" fmla="*/ 166 w 5241"/>
                <a:gd name="T63" fmla="*/ 3099 h 4627"/>
                <a:gd name="T64" fmla="*/ 134 w 5241"/>
                <a:gd name="T65" fmla="*/ 3070 h 4627"/>
                <a:gd name="T66" fmla="*/ 106 w 5241"/>
                <a:gd name="T67" fmla="*/ 3039 h 4627"/>
                <a:gd name="T68" fmla="*/ 81 w 5241"/>
                <a:gd name="T69" fmla="*/ 3006 h 4627"/>
                <a:gd name="T70" fmla="*/ 58 w 5241"/>
                <a:gd name="T71" fmla="*/ 2971 h 4627"/>
                <a:gd name="T72" fmla="*/ 40 w 5241"/>
                <a:gd name="T73" fmla="*/ 2933 h 4627"/>
                <a:gd name="T74" fmla="*/ 24 w 5241"/>
                <a:gd name="T75" fmla="*/ 2893 h 4627"/>
                <a:gd name="T76" fmla="*/ 13 w 5241"/>
                <a:gd name="T77" fmla="*/ 2851 h 4627"/>
                <a:gd name="T78" fmla="*/ 4 w 5241"/>
                <a:gd name="T79" fmla="*/ 2807 h 4627"/>
                <a:gd name="T80" fmla="*/ 1 w 5241"/>
                <a:gd name="T81" fmla="*/ 2761 h 4627"/>
                <a:gd name="T82" fmla="*/ 1 w 5241"/>
                <a:gd name="T83" fmla="*/ 2713 h 4627"/>
                <a:gd name="T84" fmla="*/ 6 w 5241"/>
                <a:gd name="T85" fmla="*/ 2662 h 4627"/>
                <a:gd name="T86" fmla="*/ 14 w 5241"/>
                <a:gd name="T87" fmla="*/ 2609 h 4627"/>
                <a:gd name="T88" fmla="*/ 28 w 5241"/>
                <a:gd name="T89" fmla="*/ 2554 h 4627"/>
                <a:gd name="T90" fmla="*/ 711 w 5241"/>
                <a:gd name="T91" fmla="*/ 121 h 4627"/>
                <a:gd name="T92" fmla="*/ 729 w 5241"/>
                <a:gd name="T93" fmla="*/ 84 h 4627"/>
                <a:gd name="T94" fmla="*/ 753 w 5241"/>
                <a:gd name="T95" fmla="*/ 54 h 4627"/>
                <a:gd name="T96" fmla="*/ 782 w 5241"/>
                <a:gd name="T97" fmla="*/ 29 h 4627"/>
                <a:gd name="T98" fmla="*/ 816 w 5241"/>
                <a:gd name="T99" fmla="*/ 11 h 4627"/>
                <a:gd name="T100" fmla="*/ 843 w 5241"/>
                <a:gd name="T101" fmla="*/ 3 h 4627"/>
                <a:gd name="T102" fmla="*/ 861 w 5241"/>
                <a:gd name="T103" fmla="*/ 1 h 4627"/>
                <a:gd name="T104" fmla="*/ 879 w 5241"/>
                <a:gd name="T105" fmla="*/ 0 h 4627"/>
                <a:gd name="T106" fmla="*/ 899 w 5241"/>
                <a:gd name="T107" fmla="*/ 2 h 4627"/>
                <a:gd name="T108" fmla="*/ 917 w 5241"/>
                <a:gd name="T109" fmla="*/ 7 h 4627"/>
                <a:gd name="T110" fmla="*/ 937 w 5241"/>
                <a:gd name="T111" fmla="*/ 13 h 4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241" h="4627">
                  <a:moveTo>
                    <a:pt x="946" y="19"/>
                  </a:moveTo>
                  <a:lnTo>
                    <a:pt x="5156" y="2193"/>
                  </a:lnTo>
                  <a:lnTo>
                    <a:pt x="5165" y="2199"/>
                  </a:lnTo>
                  <a:lnTo>
                    <a:pt x="5173" y="2204"/>
                  </a:lnTo>
                  <a:lnTo>
                    <a:pt x="5182" y="2210"/>
                  </a:lnTo>
                  <a:lnTo>
                    <a:pt x="5190" y="2216"/>
                  </a:lnTo>
                  <a:lnTo>
                    <a:pt x="5196" y="2223"/>
                  </a:lnTo>
                  <a:lnTo>
                    <a:pt x="5203" y="2230"/>
                  </a:lnTo>
                  <a:lnTo>
                    <a:pt x="5209" y="2237"/>
                  </a:lnTo>
                  <a:lnTo>
                    <a:pt x="5214" y="2244"/>
                  </a:lnTo>
                  <a:lnTo>
                    <a:pt x="5220" y="2253"/>
                  </a:lnTo>
                  <a:lnTo>
                    <a:pt x="5224" y="2260"/>
                  </a:lnTo>
                  <a:lnTo>
                    <a:pt x="5228" y="2269"/>
                  </a:lnTo>
                  <a:lnTo>
                    <a:pt x="5232" y="2278"/>
                  </a:lnTo>
                  <a:lnTo>
                    <a:pt x="5237" y="2296"/>
                  </a:lnTo>
                  <a:lnTo>
                    <a:pt x="5240" y="2314"/>
                  </a:lnTo>
                  <a:lnTo>
                    <a:pt x="5241" y="2333"/>
                  </a:lnTo>
                  <a:lnTo>
                    <a:pt x="5241" y="2352"/>
                  </a:lnTo>
                  <a:lnTo>
                    <a:pt x="5238" y="2370"/>
                  </a:lnTo>
                  <a:lnTo>
                    <a:pt x="5234" y="2390"/>
                  </a:lnTo>
                  <a:lnTo>
                    <a:pt x="5227" y="2408"/>
                  </a:lnTo>
                  <a:lnTo>
                    <a:pt x="5219" y="2427"/>
                  </a:lnTo>
                  <a:lnTo>
                    <a:pt x="5209" y="2445"/>
                  </a:lnTo>
                  <a:lnTo>
                    <a:pt x="5196" y="2461"/>
                  </a:lnTo>
                  <a:lnTo>
                    <a:pt x="3619" y="4409"/>
                  </a:lnTo>
                  <a:lnTo>
                    <a:pt x="3600" y="4431"/>
                  </a:lnTo>
                  <a:lnTo>
                    <a:pt x="3581" y="4451"/>
                  </a:lnTo>
                  <a:lnTo>
                    <a:pt x="3563" y="4471"/>
                  </a:lnTo>
                  <a:lnTo>
                    <a:pt x="3544" y="4489"/>
                  </a:lnTo>
                  <a:lnTo>
                    <a:pt x="3524" y="4506"/>
                  </a:lnTo>
                  <a:lnTo>
                    <a:pt x="3505" y="4523"/>
                  </a:lnTo>
                  <a:lnTo>
                    <a:pt x="3485" y="4537"/>
                  </a:lnTo>
                  <a:lnTo>
                    <a:pt x="3466" y="4551"/>
                  </a:lnTo>
                  <a:lnTo>
                    <a:pt x="3445" y="4562"/>
                  </a:lnTo>
                  <a:lnTo>
                    <a:pt x="3426" y="4574"/>
                  </a:lnTo>
                  <a:lnTo>
                    <a:pt x="3405" y="4584"/>
                  </a:lnTo>
                  <a:lnTo>
                    <a:pt x="3385" y="4594"/>
                  </a:lnTo>
                  <a:lnTo>
                    <a:pt x="3364" y="4601"/>
                  </a:lnTo>
                  <a:lnTo>
                    <a:pt x="3344" y="4608"/>
                  </a:lnTo>
                  <a:lnTo>
                    <a:pt x="3323" y="4614"/>
                  </a:lnTo>
                  <a:lnTo>
                    <a:pt x="3303" y="4619"/>
                  </a:lnTo>
                  <a:lnTo>
                    <a:pt x="3281" y="4623"/>
                  </a:lnTo>
                  <a:lnTo>
                    <a:pt x="3261" y="4625"/>
                  </a:lnTo>
                  <a:lnTo>
                    <a:pt x="3240" y="4627"/>
                  </a:lnTo>
                  <a:lnTo>
                    <a:pt x="3220" y="4627"/>
                  </a:lnTo>
                  <a:lnTo>
                    <a:pt x="3198" y="4627"/>
                  </a:lnTo>
                  <a:lnTo>
                    <a:pt x="3178" y="4626"/>
                  </a:lnTo>
                  <a:lnTo>
                    <a:pt x="3157" y="4624"/>
                  </a:lnTo>
                  <a:lnTo>
                    <a:pt x="3135" y="4621"/>
                  </a:lnTo>
                  <a:lnTo>
                    <a:pt x="3115" y="4616"/>
                  </a:lnTo>
                  <a:lnTo>
                    <a:pt x="3094" y="4612"/>
                  </a:lnTo>
                  <a:lnTo>
                    <a:pt x="3073" y="4606"/>
                  </a:lnTo>
                  <a:lnTo>
                    <a:pt x="3052" y="4599"/>
                  </a:lnTo>
                  <a:lnTo>
                    <a:pt x="3032" y="4592"/>
                  </a:lnTo>
                  <a:lnTo>
                    <a:pt x="3011" y="4583"/>
                  </a:lnTo>
                  <a:lnTo>
                    <a:pt x="2991" y="4574"/>
                  </a:lnTo>
                  <a:lnTo>
                    <a:pt x="2970" y="4564"/>
                  </a:lnTo>
                  <a:lnTo>
                    <a:pt x="277" y="3172"/>
                  </a:lnTo>
                  <a:lnTo>
                    <a:pt x="256" y="3161"/>
                  </a:lnTo>
                  <a:lnTo>
                    <a:pt x="237" y="3150"/>
                  </a:lnTo>
                  <a:lnTo>
                    <a:pt x="218" y="3138"/>
                  </a:lnTo>
                  <a:lnTo>
                    <a:pt x="200" y="3125"/>
                  </a:lnTo>
                  <a:lnTo>
                    <a:pt x="183" y="3112"/>
                  </a:lnTo>
                  <a:lnTo>
                    <a:pt x="166" y="3099"/>
                  </a:lnTo>
                  <a:lnTo>
                    <a:pt x="150" y="3085"/>
                  </a:lnTo>
                  <a:lnTo>
                    <a:pt x="134" y="3070"/>
                  </a:lnTo>
                  <a:lnTo>
                    <a:pt x="120" y="3055"/>
                  </a:lnTo>
                  <a:lnTo>
                    <a:pt x="106" y="3039"/>
                  </a:lnTo>
                  <a:lnTo>
                    <a:pt x="93" y="3023"/>
                  </a:lnTo>
                  <a:lnTo>
                    <a:pt x="81" y="3006"/>
                  </a:lnTo>
                  <a:lnTo>
                    <a:pt x="69" y="2989"/>
                  </a:lnTo>
                  <a:lnTo>
                    <a:pt x="58" y="2971"/>
                  </a:lnTo>
                  <a:lnTo>
                    <a:pt x="49" y="2952"/>
                  </a:lnTo>
                  <a:lnTo>
                    <a:pt x="40" y="2933"/>
                  </a:lnTo>
                  <a:lnTo>
                    <a:pt x="31" y="2914"/>
                  </a:lnTo>
                  <a:lnTo>
                    <a:pt x="24" y="2893"/>
                  </a:lnTo>
                  <a:lnTo>
                    <a:pt x="17" y="2873"/>
                  </a:lnTo>
                  <a:lnTo>
                    <a:pt x="13" y="2851"/>
                  </a:lnTo>
                  <a:lnTo>
                    <a:pt x="8" y="2829"/>
                  </a:lnTo>
                  <a:lnTo>
                    <a:pt x="4" y="2807"/>
                  </a:lnTo>
                  <a:lnTo>
                    <a:pt x="2" y="2784"/>
                  </a:lnTo>
                  <a:lnTo>
                    <a:pt x="1" y="2761"/>
                  </a:lnTo>
                  <a:lnTo>
                    <a:pt x="0" y="2737"/>
                  </a:lnTo>
                  <a:lnTo>
                    <a:pt x="1" y="2713"/>
                  </a:lnTo>
                  <a:lnTo>
                    <a:pt x="2" y="2687"/>
                  </a:lnTo>
                  <a:lnTo>
                    <a:pt x="6" y="2662"/>
                  </a:lnTo>
                  <a:lnTo>
                    <a:pt x="10" y="2635"/>
                  </a:lnTo>
                  <a:lnTo>
                    <a:pt x="14" y="2609"/>
                  </a:lnTo>
                  <a:lnTo>
                    <a:pt x="21" y="2582"/>
                  </a:lnTo>
                  <a:lnTo>
                    <a:pt x="28" y="2554"/>
                  </a:lnTo>
                  <a:lnTo>
                    <a:pt x="704" y="141"/>
                  </a:lnTo>
                  <a:lnTo>
                    <a:pt x="711" y="121"/>
                  </a:lnTo>
                  <a:lnTo>
                    <a:pt x="718" y="102"/>
                  </a:lnTo>
                  <a:lnTo>
                    <a:pt x="729" y="84"/>
                  </a:lnTo>
                  <a:lnTo>
                    <a:pt x="740" y="68"/>
                  </a:lnTo>
                  <a:lnTo>
                    <a:pt x="753" y="54"/>
                  </a:lnTo>
                  <a:lnTo>
                    <a:pt x="767" y="40"/>
                  </a:lnTo>
                  <a:lnTo>
                    <a:pt x="782" y="29"/>
                  </a:lnTo>
                  <a:lnTo>
                    <a:pt x="798" y="20"/>
                  </a:lnTo>
                  <a:lnTo>
                    <a:pt x="816" y="11"/>
                  </a:lnTo>
                  <a:lnTo>
                    <a:pt x="833" y="6"/>
                  </a:lnTo>
                  <a:lnTo>
                    <a:pt x="843" y="3"/>
                  </a:lnTo>
                  <a:lnTo>
                    <a:pt x="851" y="2"/>
                  </a:lnTo>
                  <a:lnTo>
                    <a:pt x="861" y="1"/>
                  </a:lnTo>
                  <a:lnTo>
                    <a:pt x="871" y="0"/>
                  </a:lnTo>
                  <a:lnTo>
                    <a:pt x="879" y="0"/>
                  </a:lnTo>
                  <a:lnTo>
                    <a:pt x="889" y="1"/>
                  </a:lnTo>
                  <a:lnTo>
                    <a:pt x="899" y="2"/>
                  </a:lnTo>
                  <a:lnTo>
                    <a:pt x="908" y="5"/>
                  </a:lnTo>
                  <a:lnTo>
                    <a:pt x="917" y="7"/>
                  </a:lnTo>
                  <a:lnTo>
                    <a:pt x="927" y="10"/>
                  </a:lnTo>
                  <a:lnTo>
                    <a:pt x="937" y="13"/>
                  </a:lnTo>
                  <a:lnTo>
                    <a:pt x="946" y="19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20" name="Группа 19"/>
          <p:cNvGrpSpPr/>
          <p:nvPr userDrawn="1"/>
        </p:nvGrpSpPr>
        <p:grpSpPr>
          <a:xfrm>
            <a:off x="531416" y="487363"/>
            <a:ext cx="2332038" cy="455612"/>
            <a:chOff x="490538" y="487363"/>
            <a:chExt cx="2152650" cy="455612"/>
          </a:xfrm>
        </p:grpSpPr>
        <p:sp>
          <p:nvSpPr>
            <p:cNvPr id="21" name="Freeform 5"/>
            <p:cNvSpPr>
              <a:spLocks noEditPoints="1"/>
            </p:cNvSpPr>
            <p:nvPr userDrawn="1"/>
          </p:nvSpPr>
          <p:spPr bwMode="auto">
            <a:xfrm>
              <a:off x="1144588" y="590550"/>
              <a:ext cx="1498600" cy="247650"/>
            </a:xfrm>
            <a:custGeom>
              <a:avLst/>
              <a:gdLst>
                <a:gd name="T0" fmla="*/ 2465 w 11327"/>
                <a:gd name="T1" fmla="*/ 803 h 1868"/>
                <a:gd name="T2" fmla="*/ 2667 w 11327"/>
                <a:gd name="T3" fmla="*/ 466 h 1868"/>
                <a:gd name="T4" fmla="*/ 3049 w 11327"/>
                <a:gd name="T5" fmla="*/ 345 h 1868"/>
                <a:gd name="T6" fmla="*/ 3430 w 11327"/>
                <a:gd name="T7" fmla="*/ 466 h 1868"/>
                <a:gd name="T8" fmla="*/ 3632 w 11327"/>
                <a:gd name="T9" fmla="*/ 803 h 1868"/>
                <a:gd name="T10" fmla="*/ 3574 w 11327"/>
                <a:gd name="T11" fmla="*/ 1233 h 1868"/>
                <a:gd name="T12" fmla="*/ 3284 w 11327"/>
                <a:gd name="T13" fmla="*/ 1483 h 1868"/>
                <a:gd name="T14" fmla="*/ 2870 w 11327"/>
                <a:gd name="T15" fmla="*/ 1500 h 1868"/>
                <a:gd name="T16" fmla="*/ 2553 w 11327"/>
                <a:gd name="T17" fmla="*/ 1281 h 1868"/>
                <a:gd name="T18" fmla="*/ 4046 w 11327"/>
                <a:gd name="T19" fmla="*/ 882 h 1868"/>
                <a:gd name="T20" fmla="*/ 3784 w 11327"/>
                <a:gd name="T21" fmla="*/ 289 h 1868"/>
                <a:gd name="T22" fmla="*/ 3199 w 11327"/>
                <a:gd name="T23" fmla="*/ 10 h 1868"/>
                <a:gd name="T24" fmla="*/ 2536 w 11327"/>
                <a:gd name="T25" fmla="*/ 125 h 1868"/>
                <a:gd name="T26" fmla="*/ 2113 w 11327"/>
                <a:gd name="T27" fmla="*/ 595 h 1868"/>
                <a:gd name="T28" fmla="*/ 2113 w 11327"/>
                <a:gd name="T29" fmla="*/ 1273 h 1868"/>
                <a:gd name="T30" fmla="*/ 2536 w 11327"/>
                <a:gd name="T31" fmla="*/ 1743 h 1868"/>
                <a:gd name="T32" fmla="*/ 3199 w 11327"/>
                <a:gd name="T33" fmla="*/ 1858 h 1868"/>
                <a:gd name="T34" fmla="*/ 3784 w 11327"/>
                <a:gd name="T35" fmla="*/ 1579 h 1868"/>
                <a:gd name="T36" fmla="*/ 4046 w 11327"/>
                <a:gd name="T37" fmla="*/ 985 h 1868"/>
                <a:gd name="T38" fmla="*/ 4444 w 11327"/>
                <a:gd name="T39" fmla="*/ 1443 h 1868"/>
                <a:gd name="T40" fmla="*/ 4540 w 11327"/>
                <a:gd name="T41" fmla="*/ 1808 h 1868"/>
                <a:gd name="T42" fmla="*/ 4811 w 11327"/>
                <a:gd name="T43" fmla="*/ 1650 h 1868"/>
                <a:gd name="T44" fmla="*/ 5796 w 11327"/>
                <a:gd name="T45" fmla="*/ 403 h 1868"/>
                <a:gd name="T46" fmla="*/ 7304 w 11327"/>
                <a:gd name="T47" fmla="*/ 1292 h 1868"/>
                <a:gd name="T48" fmla="*/ 7673 w 11327"/>
                <a:gd name="T49" fmla="*/ 1730 h 1868"/>
                <a:gd name="T50" fmla="*/ 8267 w 11327"/>
                <a:gd name="T51" fmla="*/ 1867 h 1868"/>
                <a:gd name="T52" fmla="*/ 8871 w 11327"/>
                <a:gd name="T53" fmla="*/ 1653 h 1868"/>
                <a:gd name="T54" fmla="*/ 9178 w 11327"/>
                <a:gd name="T55" fmla="*/ 1094 h 1868"/>
                <a:gd name="T56" fmla="*/ 9049 w 11327"/>
                <a:gd name="T57" fmla="*/ 414 h 1868"/>
                <a:gd name="T58" fmla="*/ 8552 w 11327"/>
                <a:gd name="T59" fmla="*/ 48 h 1868"/>
                <a:gd name="T60" fmla="*/ 7924 w 11327"/>
                <a:gd name="T61" fmla="*/ 36 h 1868"/>
                <a:gd name="T62" fmla="*/ 7459 w 11327"/>
                <a:gd name="T63" fmla="*/ 313 h 1868"/>
                <a:gd name="T64" fmla="*/ 6585 w 11327"/>
                <a:gd name="T65" fmla="*/ 42 h 1868"/>
                <a:gd name="T66" fmla="*/ 7740 w 11327"/>
                <a:gd name="T67" fmla="*/ 563 h 1868"/>
                <a:gd name="T68" fmla="*/ 8053 w 11327"/>
                <a:gd name="T69" fmla="*/ 361 h 1868"/>
                <a:gd name="T70" fmla="*/ 8492 w 11327"/>
                <a:gd name="T71" fmla="*/ 396 h 1868"/>
                <a:gd name="T72" fmla="*/ 8744 w 11327"/>
                <a:gd name="T73" fmla="*/ 660 h 1868"/>
                <a:gd name="T74" fmla="*/ 8775 w 11327"/>
                <a:gd name="T75" fmla="*/ 1095 h 1868"/>
                <a:gd name="T76" fmla="*/ 8585 w 11327"/>
                <a:gd name="T77" fmla="*/ 1418 h 1868"/>
                <a:gd name="T78" fmla="*/ 8182 w 11327"/>
                <a:gd name="T79" fmla="*/ 1522 h 1868"/>
                <a:gd name="T80" fmla="*/ 7807 w 11327"/>
                <a:gd name="T81" fmla="*/ 1385 h 1868"/>
                <a:gd name="T82" fmla="*/ 7649 w 11327"/>
                <a:gd name="T83" fmla="*/ 1033 h 1868"/>
                <a:gd name="T84" fmla="*/ 11121 w 11327"/>
                <a:gd name="T85" fmla="*/ 228 h 1868"/>
                <a:gd name="T86" fmla="*/ 10716 w 11327"/>
                <a:gd name="T87" fmla="*/ 30 h 1868"/>
                <a:gd name="T88" fmla="*/ 10126 w 11327"/>
                <a:gd name="T89" fmla="*/ 37 h 1868"/>
                <a:gd name="T90" fmla="*/ 9598 w 11327"/>
                <a:gd name="T91" fmla="*/ 385 h 1868"/>
                <a:gd name="T92" fmla="*/ 9435 w 11327"/>
                <a:gd name="T93" fmla="*/ 1039 h 1868"/>
                <a:gd name="T94" fmla="*/ 9714 w 11327"/>
                <a:gd name="T95" fmla="*/ 1617 h 1868"/>
                <a:gd name="T96" fmla="*/ 10320 w 11327"/>
                <a:gd name="T97" fmla="*/ 1863 h 1868"/>
                <a:gd name="T98" fmla="*/ 10845 w 11327"/>
                <a:gd name="T99" fmla="*/ 1799 h 1868"/>
                <a:gd name="T100" fmla="*/ 11211 w 11327"/>
                <a:gd name="T101" fmla="*/ 1551 h 1868"/>
                <a:gd name="T102" fmla="*/ 10919 w 11327"/>
                <a:gd name="T103" fmla="*/ 1325 h 1868"/>
                <a:gd name="T104" fmla="*/ 10676 w 11327"/>
                <a:gd name="T105" fmla="*/ 1473 h 1868"/>
                <a:gd name="T106" fmla="*/ 10324 w 11327"/>
                <a:gd name="T107" fmla="*/ 1504 h 1868"/>
                <a:gd name="T108" fmla="*/ 9975 w 11327"/>
                <a:gd name="T109" fmla="*/ 1332 h 1868"/>
                <a:gd name="T110" fmla="*/ 9831 w 11327"/>
                <a:gd name="T111" fmla="*/ 966 h 1868"/>
                <a:gd name="T112" fmla="*/ 9938 w 11327"/>
                <a:gd name="T113" fmla="*/ 575 h 1868"/>
                <a:gd name="T114" fmla="*/ 10261 w 11327"/>
                <a:gd name="T115" fmla="*/ 373 h 1868"/>
                <a:gd name="T116" fmla="*/ 10634 w 11327"/>
                <a:gd name="T117" fmla="*/ 382 h 1868"/>
                <a:gd name="T118" fmla="*/ 10890 w 11327"/>
                <a:gd name="T119" fmla="*/ 515 h 1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27" h="1868">
                  <a:moveTo>
                    <a:pt x="0" y="42"/>
                  </a:moveTo>
                  <a:lnTo>
                    <a:pt x="0" y="1822"/>
                  </a:lnTo>
                  <a:lnTo>
                    <a:pt x="399" y="1822"/>
                  </a:lnTo>
                  <a:lnTo>
                    <a:pt x="399" y="400"/>
                  </a:lnTo>
                  <a:lnTo>
                    <a:pt x="1352" y="400"/>
                  </a:lnTo>
                  <a:lnTo>
                    <a:pt x="1352" y="1822"/>
                  </a:lnTo>
                  <a:lnTo>
                    <a:pt x="1755" y="1822"/>
                  </a:lnTo>
                  <a:lnTo>
                    <a:pt x="1755" y="42"/>
                  </a:lnTo>
                  <a:lnTo>
                    <a:pt x="0" y="42"/>
                  </a:lnTo>
                  <a:close/>
                  <a:moveTo>
                    <a:pt x="2454" y="933"/>
                  </a:moveTo>
                  <a:lnTo>
                    <a:pt x="2454" y="900"/>
                  </a:lnTo>
                  <a:lnTo>
                    <a:pt x="2457" y="866"/>
                  </a:lnTo>
                  <a:lnTo>
                    <a:pt x="2460" y="835"/>
                  </a:lnTo>
                  <a:lnTo>
                    <a:pt x="2465" y="803"/>
                  </a:lnTo>
                  <a:lnTo>
                    <a:pt x="2472" y="773"/>
                  </a:lnTo>
                  <a:lnTo>
                    <a:pt x="2480" y="743"/>
                  </a:lnTo>
                  <a:lnTo>
                    <a:pt x="2489" y="715"/>
                  </a:lnTo>
                  <a:lnTo>
                    <a:pt x="2499" y="686"/>
                  </a:lnTo>
                  <a:lnTo>
                    <a:pt x="2511" y="660"/>
                  </a:lnTo>
                  <a:lnTo>
                    <a:pt x="2524" y="634"/>
                  </a:lnTo>
                  <a:lnTo>
                    <a:pt x="2538" y="610"/>
                  </a:lnTo>
                  <a:lnTo>
                    <a:pt x="2553" y="586"/>
                  </a:lnTo>
                  <a:lnTo>
                    <a:pt x="2570" y="563"/>
                  </a:lnTo>
                  <a:lnTo>
                    <a:pt x="2588" y="542"/>
                  </a:lnTo>
                  <a:lnTo>
                    <a:pt x="2606" y="521"/>
                  </a:lnTo>
                  <a:lnTo>
                    <a:pt x="2626" y="501"/>
                  </a:lnTo>
                  <a:lnTo>
                    <a:pt x="2646" y="483"/>
                  </a:lnTo>
                  <a:lnTo>
                    <a:pt x="2667" y="466"/>
                  </a:lnTo>
                  <a:lnTo>
                    <a:pt x="2691" y="449"/>
                  </a:lnTo>
                  <a:lnTo>
                    <a:pt x="2713" y="434"/>
                  </a:lnTo>
                  <a:lnTo>
                    <a:pt x="2737" y="420"/>
                  </a:lnTo>
                  <a:lnTo>
                    <a:pt x="2763" y="408"/>
                  </a:lnTo>
                  <a:lnTo>
                    <a:pt x="2788" y="396"/>
                  </a:lnTo>
                  <a:lnTo>
                    <a:pt x="2815" y="385"/>
                  </a:lnTo>
                  <a:lnTo>
                    <a:pt x="2842" y="375"/>
                  </a:lnTo>
                  <a:lnTo>
                    <a:pt x="2870" y="367"/>
                  </a:lnTo>
                  <a:lnTo>
                    <a:pt x="2898" y="361"/>
                  </a:lnTo>
                  <a:lnTo>
                    <a:pt x="2928" y="355"/>
                  </a:lnTo>
                  <a:lnTo>
                    <a:pt x="2957" y="351"/>
                  </a:lnTo>
                  <a:lnTo>
                    <a:pt x="2988" y="347"/>
                  </a:lnTo>
                  <a:lnTo>
                    <a:pt x="3018" y="345"/>
                  </a:lnTo>
                  <a:lnTo>
                    <a:pt x="3049" y="345"/>
                  </a:lnTo>
                  <a:lnTo>
                    <a:pt x="3080" y="345"/>
                  </a:lnTo>
                  <a:lnTo>
                    <a:pt x="3111" y="347"/>
                  </a:lnTo>
                  <a:lnTo>
                    <a:pt x="3141" y="351"/>
                  </a:lnTo>
                  <a:lnTo>
                    <a:pt x="3171" y="355"/>
                  </a:lnTo>
                  <a:lnTo>
                    <a:pt x="3200" y="361"/>
                  </a:lnTo>
                  <a:lnTo>
                    <a:pt x="3229" y="367"/>
                  </a:lnTo>
                  <a:lnTo>
                    <a:pt x="3256" y="375"/>
                  </a:lnTo>
                  <a:lnTo>
                    <a:pt x="3284" y="385"/>
                  </a:lnTo>
                  <a:lnTo>
                    <a:pt x="3310" y="396"/>
                  </a:lnTo>
                  <a:lnTo>
                    <a:pt x="3335" y="408"/>
                  </a:lnTo>
                  <a:lnTo>
                    <a:pt x="3361" y="420"/>
                  </a:lnTo>
                  <a:lnTo>
                    <a:pt x="3384" y="434"/>
                  </a:lnTo>
                  <a:lnTo>
                    <a:pt x="3408" y="449"/>
                  </a:lnTo>
                  <a:lnTo>
                    <a:pt x="3430" y="466"/>
                  </a:lnTo>
                  <a:lnTo>
                    <a:pt x="3452" y="483"/>
                  </a:lnTo>
                  <a:lnTo>
                    <a:pt x="3473" y="501"/>
                  </a:lnTo>
                  <a:lnTo>
                    <a:pt x="3492" y="521"/>
                  </a:lnTo>
                  <a:lnTo>
                    <a:pt x="3510" y="542"/>
                  </a:lnTo>
                  <a:lnTo>
                    <a:pt x="3528" y="563"/>
                  </a:lnTo>
                  <a:lnTo>
                    <a:pt x="3545" y="586"/>
                  </a:lnTo>
                  <a:lnTo>
                    <a:pt x="3560" y="610"/>
                  </a:lnTo>
                  <a:lnTo>
                    <a:pt x="3574" y="634"/>
                  </a:lnTo>
                  <a:lnTo>
                    <a:pt x="3587" y="660"/>
                  </a:lnTo>
                  <a:lnTo>
                    <a:pt x="3599" y="686"/>
                  </a:lnTo>
                  <a:lnTo>
                    <a:pt x="3609" y="715"/>
                  </a:lnTo>
                  <a:lnTo>
                    <a:pt x="3618" y="743"/>
                  </a:lnTo>
                  <a:lnTo>
                    <a:pt x="3626" y="773"/>
                  </a:lnTo>
                  <a:lnTo>
                    <a:pt x="3632" y="803"/>
                  </a:lnTo>
                  <a:lnTo>
                    <a:pt x="3637" y="835"/>
                  </a:lnTo>
                  <a:lnTo>
                    <a:pt x="3642" y="866"/>
                  </a:lnTo>
                  <a:lnTo>
                    <a:pt x="3644" y="900"/>
                  </a:lnTo>
                  <a:lnTo>
                    <a:pt x="3645" y="933"/>
                  </a:lnTo>
                  <a:lnTo>
                    <a:pt x="3644" y="968"/>
                  </a:lnTo>
                  <a:lnTo>
                    <a:pt x="3642" y="1001"/>
                  </a:lnTo>
                  <a:lnTo>
                    <a:pt x="3637" y="1033"/>
                  </a:lnTo>
                  <a:lnTo>
                    <a:pt x="3632" y="1065"/>
                  </a:lnTo>
                  <a:lnTo>
                    <a:pt x="3626" y="1095"/>
                  </a:lnTo>
                  <a:lnTo>
                    <a:pt x="3618" y="1125"/>
                  </a:lnTo>
                  <a:lnTo>
                    <a:pt x="3609" y="1153"/>
                  </a:lnTo>
                  <a:lnTo>
                    <a:pt x="3599" y="1181"/>
                  </a:lnTo>
                  <a:lnTo>
                    <a:pt x="3587" y="1207"/>
                  </a:lnTo>
                  <a:lnTo>
                    <a:pt x="3574" y="1233"/>
                  </a:lnTo>
                  <a:lnTo>
                    <a:pt x="3560" y="1258"/>
                  </a:lnTo>
                  <a:lnTo>
                    <a:pt x="3545" y="1281"/>
                  </a:lnTo>
                  <a:lnTo>
                    <a:pt x="3528" y="1305"/>
                  </a:lnTo>
                  <a:lnTo>
                    <a:pt x="3510" y="1326"/>
                  </a:lnTo>
                  <a:lnTo>
                    <a:pt x="3492" y="1346"/>
                  </a:lnTo>
                  <a:lnTo>
                    <a:pt x="3473" y="1366"/>
                  </a:lnTo>
                  <a:lnTo>
                    <a:pt x="3452" y="1385"/>
                  </a:lnTo>
                  <a:lnTo>
                    <a:pt x="3430" y="1402"/>
                  </a:lnTo>
                  <a:lnTo>
                    <a:pt x="3408" y="1418"/>
                  </a:lnTo>
                  <a:lnTo>
                    <a:pt x="3384" y="1434"/>
                  </a:lnTo>
                  <a:lnTo>
                    <a:pt x="3361" y="1447"/>
                  </a:lnTo>
                  <a:lnTo>
                    <a:pt x="3335" y="1460"/>
                  </a:lnTo>
                  <a:lnTo>
                    <a:pt x="3310" y="1472"/>
                  </a:lnTo>
                  <a:lnTo>
                    <a:pt x="3284" y="1483"/>
                  </a:lnTo>
                  <a:lnTo>
                    <a:pt x="3256" y="1492"/>
                  </a:lnTo>
                  <a:lnTo>
                    <a:pt x="3229" y="1500"/>
                  </a:lnTo>
                  <a:lnTo>
                    <a:pt x="3200" y="1507"/>
                  </a:lnTo>
                  <a:lnTo>
                    <a:pt x="3171" y="1513"/>
                  </a:lnTo>
                  <a:lnTo>
                    <a:pt x="3141" y="1517"/>
                  </a:lnTo>
                  <a:lnTo>
                    <a:pt x="3111" y="1520"/>
                  </a:lnTo>
                  <a:lnTo>
                    <a:pt x="3080" y="1522"/>
                  </a:lnTo>
                  <a:lnTo>
                    <a:pt x="3049" y="1523"/>
                  </a:lnTo>
                  <a:lnTo>
                    <a:pt x="3018" y="1522"/>
                  </a:lnTo>
                  <a:lnTo>
                    <a:pt x="2988" y="1520"/>
                  </a:lnTo>
                  <a:lnTo>
                    <a:pt x="2957" y="1517"/>
                  </a:lnTo>
                  <a:lnTo>
                    <a:pt x="2928" y="1513"/>
                  </a:lnTo>
                  <a:lnTo>
                    <a:pt x="2898" y="1507"/>
                  </a:lnTo>
                  <a:lnTo>
                    <a:pt x="2870" y="1500"/>
                  </a:lnTo>
                  <a:lnTo>
                    <a:pt x="2842" y="1492"/>
                  </a:lnTo>
                  <a:lnTo>
                    <a:pt x="2815" y="1483"/>
                  </a:lnTo>
                  <a:lnTo>
                    <a:pt x="2788" y="1472"/>
                  </a:lnTo>
                  <a:lnTo>
                    <a:pt x="2763" y="1460"/>
                  </a:lnTo>
                  <a:lnTo>
                    <a:pt x="2737" y="1447"/>
                  </a:lnTo>
                  <a:lnTo>
                    <a:pt x="2713" y="1434"/>
                  </a:lnTo>
                  <a:lnTo>
                    <a:pt x="2691" y="1418"/>
                  </a:lnTo>
                  <a:lnTo>
                    <a:pt x="2667" y="1402"/>
                  </a:lnTo>
                  <a:lnTo>
                    <a:pt x="2646" y="1385"/>
                  </a:lnTo>
                  <a:lnTo>
                    <a:pt x="2626" y="1366"/>
                  </a:lnTo>
                  <a:lnTo>
                    <a:pt x="2606" y="1346"/>
                  </a:lnTo>
                  <a:lnTo>
                    <a:pt x="2588" y="1326"/>
                  </a:lnTo>
                  <a:lnTo>
                    <a:pt x="2570" y="1305"/>
                  </a:lnTo>
                  <a:lnTo>
                    <a:pt x="2553" y="1281"/>
                  </a:lnTo>
                  <a:lnTo>
                    <a:pt x="2538" y="1258"/>
                  </a:lnTo>
                  <a:lnTo>
                    <a:pt x="2524" y="1233"/>
                  </a:lnTo>
                  <a:lnTo>
                    <a:pt x="2511" y="1207"/>
                  </a:lnTo>
                  <a:lnTo>
                    <a:pt x="2499" y="1181"/>
                  </a:lnTo>
                  <a:lnTo>
                    <a:pt x="2489" y="1153"/>
                  </a:lnTo>
                  <a:lnTo>
                    <a:pt x="2480" y="1125"/>
                  </a:lnTo>
                  <a:lnTo>
                    <a:pt x="2472" y="1095"/>
                  </a:lnTo>
                  <a:lnTo>
                    <a:pt x="2465" y="1065"/>
                  </a:lnTo>
                  <a:lnTo>
                    <a:pt x="2460" y="1033"/>
                  </a:lnTo>
                  <a:lnTo>
                    <a:pt x="2457" y="1001"/>
                  </a:lnTo>
                  <a:lnTo>
                    <a:pt x="2454" y="968"/>
                  </a:lnTo>
                  <a:lnTo>
                    <a:pt x="2454" y="933"/>
                  </a:lnTo>
                  <a:close/>
                  <a:moveTo>
                    <a:pt x="4047" y="933"/>
                  </a:moveTo>
                  <a:lnTo>
                    <a:pt x="4046" y="882"/>
                  </a:lnTo>
                  <a:lnTo>
                    <a:pt x="4042" y="831"/>
                  </a:lnTo>
                  <a:lnTo>
                    <a:pt x="4035" y="781"/>
                  </a:lnTo>
                  <a:lnTo>
                    <a:pt x="4026" y="733"/>
                  </a:lnTo>
                  <a:lnTo>
                    <a:pt x="4015" y="685"/>
                  </a:lnTo>
                  <a:lnTo>
                    <a:pt x="4002" y="640"/>
                  </a:lnTo>
                  <a:lnTo>
                    <a:pt x="3985" y="595"/>
                  </a:lnTo>
                  <a:lnTo>
                    <a:pt x="3967" y="551"/>
                  </a:lnTo>
                  <a:lnTo>
                    <a:pt x="3947" y="509"/>
                  </a:lnTo>
                  <a:lnTo>
                    <a:pt x="3924" y="469"/>
                  </a:lnTo>
                  <a:lnTo>
                    <a:pt x="3900" y="430"/>
                  </a:lnTo>
                  <a:lnTo>
                    <a:pt x="3874" y="392"/>
                  </a:lnTo>
                  <a:lnTo>
                    <a:pt x="3846" y="356"/>
                  </a:lnTo>
                  <a:lnTo>
                    <a:pt x="3815" y="321"/>
                  </a:lnTo>
                  <a:lnTo>
                    <a:pt x="3784" y="289"/>
                  </a:lnTo>
                  <a:lnTo>
                    <a:pt x="3751" y="257"/>
                  </a:lnTo>
                  <a:lnTo>
                    <a:pt x="3716" y="227"/>
                  </a:lnTo>
                  <a:lnTo>
                    <a:pt x="3679" y="199"/>
                  </a:lnTo>
                  <a:lnTo>
                    <a:pt x="3642" y="173"/>
                  </a:lnTo>
                  <a:lnTo>
                    <a:pt x="3603" y="147"/>
                  </a:lnTo>
                  <a:lnTo>
                    <a:pt x="3562" y="125"/>
                  </a:lnTo>
                  <a:lnTo>
                    <a:pt x="3521" y="104"/>
                  </a:lnTo>
                  <a:lnTo>
                    <a:pt x="3477" y="84"/>
                  </a:lnTo>
                  <a:lnTo>
                    <a:pt x="3433" y="67"/>
                  </a:lnTo>
                  <a:lnTo>
                    <a:pt x="3388" y="52"/>
                  </a:lnTo>
                  <a:lnTo>
                    <a:pt x="3342" y="39"/>
                  </a:lnTo>
                  <a:lnTo>
                    <a:pt x="3295" y="26"/>
                  </a:lnTo>
                  <a:lnTo>
                    <a:pt x="3247" y="17"/>
                  </a:lnTo>
                  <a:lnTo>
                    <a:pt x="3199" y="10"/>
                  </a:lnTo>
                  <a:lnTo>
                    <a:pt x="3149" y="4"/>
                  </a:lnTo>
                  <a:lnTo>
                    <a:pt x="3099" y="1"/>
                  </a:lnTo>
                  <a:lnTo>
                    <a:pt x="3049" y="0"/>
                  </a:lnTo>
                  <a:lnTo>
                    <a:pt x="2999" y="1"/>
                  </a:lnTo>
                  <a:lnTo>
                    <a:pt x="2949" y="4"/>
                  </a:lnTo>
                  <a:lnTo>
                    <a:pt x="2899" y="10"/>
                  </a:lnTo>
                  <a:lnTo>
                    <a:pt x="2851" y="17"/>
                  </a:lnTo>
                  <a:lnTo>
                    <a:pt x="2804" y="26"/>
                  </a:lnTo>
                  <a:lnTo>
                    <a:pt x="2756" y="39"/>
                  </a:lnTo>
                  <a:lnTo>
                    <a:pt x="2710" y="52"/>
                  </a:lnTo>
                  <a:lnTo>
                    <a:pt x="2665" y="67"/>
                  </a:lnTo>
                  <a:lnTo>
                    <a:pt x="2620" y="84"/>
                  </a:lnTo>
                  <a:lnTo>
                    <a:pt x="2578" y="104"/>
                  </a:lnTo>
                  <a:lnTo>
                    <a:pt x="2536" y="125"/>
                  </a:lnTo>
                  <a:lnTo>
                    <a:pt x="2495" y="147"/>
                  </a:lnTo>
                  <a:lnTo>
                    <a:pt x="2457" y="173"/>
                  </a:lnTo>
                  <a:lnTo>
                    <a:pt x="2418" y="199"/>
                  </a:lnTo>
                  <a:lnTo>
                    <a:pt x="2382" y="227"/>
                  </a:lnTo>
                  <a:lnTo>
                    <a:pt x="2347" y="257"/>
                  </a:lnTo>
                  <a:lnTo>
                    <a:pt x="2313" y="289"/>
                  </a:lnTo>
                  <a:lnTo>
                    <a:pt x="2282" y="321"/>
                  </a:lnTo>
                  <a:lnTo>
                    <a:pt x="2252" y="356"/>
                  </a:lnTo>
                  <a:lnTo>
                    <a:pt x="2224" y="392"/>
                  </a:lnTo>
                  <a:lnTo>
                    <a:pt x="2197" y="430"/>
                  </a:lnTo>
                  <a:lnTo>
                    <a:pt x="2173" y="469"/>
                  </a:lnTo>
                  <a:lnTo>
                    <a:pt x="2152" y="509"/>
                  </a:lnTo>
                  <a:lnTo>
                    <a:pt x="2131" y="551"/>
                  </a:lnTo>
                  <a:lnTo>
                    <a:pt x="2113" y="595"/>
                  </a:lnTo>
                  <a:lnTo>
                    <a:pt x="2097" y="640"/>
                  </a:lnTo>
                  <a:lnTo>
                    <a:pt x="2083" y="685"/>
                  </a:lnTo>
                  <a:lnTo>
                    <a:pt x="2071" y="733"/>
                  </a:lnTo>
                  <a:lnTo>
                    <a:pt x="2063" y="781"/>
                  </a:lnTo>
                  <a:lnTo>
                    <a:pt x="2056" y="831"/>
                  </a:lnTo>
                  <a:lnTo>
                    <a:pt x="2052" y="882"/>
                  </a:lnTo>
                  <a:lnTo>
                    <a:pt x="2051" y="933"/>
                  </a:lnTo>
                  <a:lnTo>
                    <a:pt x="2052" y="985"/>
                  </a:lnTo>
                  <a:lnTo>
                    <a:pt x="2056" y="1036"/>
                  </a:lnTo>
                  <a:lnTo>
                    <a:pt x="2063" y="1086"/>
                  </a:lnTo>
                  <a:lnTo>
                    <a:pt x="2071" y="1135"/>
                  </a:lnTo>
                  <a:lnTo>
                    <a:pt x="2083" y="1182"/>
                  </a:lnTo>
                  <a:lnTo>
                    <a:pt x="2097" y="1228"/>
                  </a:lnTo>
                  <a:lnTo>
                    <a:pt x="2113" y="1273"/>
                  </a:lnTo>
                  <a:lnTo>
                    <a:pt x="2131" y="1316"/>
                  </a:lnTo>
                  <a:lnTo>
                    <a:pt x="2152" y="1357"/>
                  </a:lnTo>
                  <a:lnTo>
                    <a:pt x="2173" y="1398"/>
                  </a:lnTo>
                  <a:lnTo>
                    <a:pt x="2197" y="1438"/>
                  </a:lnTo>
                  <a:lnTo>
                    <a:pt x="2224" y="1475"/>
                  </a:lnTo>
                  <a:lnTo>
                    <a:pt x="2252" y="1512"/>
                  </a:lnTo>
                  <a:lnTo>
                    <a:pt x="2282" y="1547"/>
                  </a:lnTo>
                  <a:lnTo>
                    <a:pt x="2313" y="1579"/>
                  </a:lnTo>
                  <a:lnTo>
                    <a:pt x="2347" y="1611"/>
                  </a:lnTo>
                  <a:lnTo>
                    <a:pt x="2382" y="1640"/>
                  </a:lnTo>
                  <a:lnTo>
                    <a:pt x="2418" y="1669"/>
                  </a:lnTo>
                  <a:lnTo>
                    <a:pt x="2457" y="1695"/>
                  </a:lnTo>
                  <a:lnTo>
                    <a:pt x="2495" y="1719"/>
                  </a:lnTo>
                  <a:lnTo>
                    <a:pt x="2536" y="1743"/>
                  </a:lnTo>
                  <a:lnTo>
                    <a:pt x="2578" y="1764"/>
                  </a:lnTo>
                  <a:lnTo>
                    <a:pt x="2620" y="1782"/>
                  </a:lnTo>
                  <a:lnTo>
                    <a:pt x="2665" y="1801"/>
                  </a:lnTo>
                  <a:lnTo>
                    <a:pt x="2710" y="1816"/>
                  </a:lnTo>
                  <a:lnTo>
                    <a:pt x="2756" y="1829"/>
                  </a:lnTo>
                  <a:lnTo>
                    <a:pt x="2804" y="1840"/>
                  </a:lnTo>
                  <a:lnTo>
                    <a:pt x="2851" y="1851"/>
                  </a:lnTo>
                  <a:lnTo>
                    <a:pt x="2899" y="1858"/>
                  </a:lnTo>
                  <a:lnTo>
                    <a:pt x="2949" y="1863"/>
                  </a:lnTo>
                  <a:lnTo>
                    <a:pt x="2999" y="1866"/>
                  </a:lnTo>
                  <a:lnTo>
                    <a:pt x="3049" y="1868"/>
                  </a:lnTo>
                  <a:lnTo>
                    <a:pt x="3099" y="1866"/>
                  </a:lnTo>
                  <a:lnTo>
                    <a:pt x="3149" y="1863"/>
                  </a:lnTo>
                  <a:lnTo>
                    <a:pt x="3199" y="1858"/>
                  </a:lnTo>
                  <a:lnTo>
                    <a:pt x="3247" y="1851"/>
                  </a:lnTo>
                  <a:lnTo>
                    <a:pt x="3295" y="1840"/>
                  </a:lnTo>
                  <a:lnTo>
                    <a:pt x="3342" y="1829"/>
                  </a:lnTo>
                  <a:lnTo>
                    <a:pt x="3388" y="1816"/>
                  </a:lnTo>
                  <a:lnTo>
                    <a:pt x="3433" y="1801"/>
                  </a:lnTo>
                  <a:lnTo>
                    <a:pt x="3477" y="1782"/>
                  </a:lnTo>
                  <a:lnTo>
                    <a:pt x="3521" y="1764"/>
                  </a:lnTo>
                  <a:lnTo>
                    <a:pt x="3562" y="1743"/>
                  </a:lnTo>
                  <a:lnTo>
                    <a:pt x="3603" y="1719"/>
                  </a:lnTo>
                  <a:lnTo>
                    <a:pt x="3642" y="1695"/>
                  </a:lnTo>
                  <a:lnTo>
                    <a:pt x="3679" y="1669"/>
                  </a:lnTo>
                  <a:lnTo>
                    <a:pt x="3716" y="1640"/>
                  </a:lnTo>
                  <a:lnTo>
                    <a:pt x="3751" y="1611"/>
                  </a:lnTo>
                  <a:lnTo>
                    <a:pt x="3784" y="1579"/>
                  </a:lnTo>
                  <a:lnTo>
                    <a:pt x="3815" y="1547"/>
                  </a:lnTo>
                  <a:lnTo>
                    <a:pt x="3846" y="1512"/>
                  </a:lnTo>
                  <a:lnTo>
                    <a:pt x="3874" y="1475"/>
                  </a:lnTo>
                  <a:lnTo>
                    <a:pt x="3900" y="1438"/>
                  </a:lnTo>
                  <a:lnTo>
                    <a:pt x="3924" y="1398"/>
                  </a:lnTo>
                  <a:lnTo>
                    <a:pt x="3947" y="1357"/>
                  </a:lnTo>
                  <a:lnTo>
                    <a:pt x="3967" y="1316"/>
                  </a:lnTo>
                  <a:lnTo>
                    <a:pt x="3985" y="1273"/>
                  </a:lnTo>
                  <a:lnTo>
                    <a:pt x="4002" y="1228"/>
                  </a:lnTo>
                  <a:lnTo>
                    <a:pt x="4015" y="1182"/>
                  </a:lnTo>
                  <a:lnTo>
                    <a:pt x="4026" y="1135"/>
                  </a:lnTo>
                  <a:lnTo>
                    <a:pt x="4035" y="1086"/>
                  </a:lnTo>
                  <a:lnTo>
                    <a:pt x="4042" y="1036"/>
                  </a:lnTo>
                  <a:lnTo>
                    <a:pt x="4046" y="985"/>
                  </a:lnTo>
                  <a:lnTo>
                    <a:pt x="4047" y="933"/>
                  </a:lnTo>
                  <a:close/>
                  <a:moveTo>
                    <a:pt x="4779" y="42"/>
                  </a:moveTo>
                  <a:lnTo>
                    <a:pt x="4540" y="1317"/>
                  </a:lnTo>
                  <a:lnTo>
                    <a:pt x="4535" y="1334"/>
                  </a:lnTo>
                  <a:lnTo>
                    <a:pt x="4530" y="1350"/>
                  </a:lnTo>
                  <a:lnTo>
                    <a:pt x="4524" y="1366"/>
                  </a:lnTo>
                  <a:lnTo>
                    <a:pt x="4517" y="1379"/>
                  </a:lnTo>
                  <a:lnTo>
                    <a:pt x="4510" y="1392"/>
                  </a:lnTo>
                  <a:lnTo>
                    <a:pt x="4501" y="1403"/>
                  </a:lnTo>
                  <a:lnTo>
                    <a:pt x="4491" y="1413"/>
                  </a:lnTo>
                  <a:lnTo>
                    <a:pt x="4481" y="1423"/>
                  </a:lnTo>
                  <a:lnTo>
                    <a:pt x="4469" y="1431"/>
                  </a:lnTo>
                  <a:lnTo>
                    <a:pt x="4457" y="1437"/>
                  </a:lnTo>
                  <a:lnTo>
                    <a:pt x="4444" y="1443"/>
                  </a:lnTo>
                  <a:lnTo>
                    <a:pt x="4430" y="1447"/>
                  </a:lnTo>
                  <a:lnTo>
                    <a:pt x="4415" y="1451"/>
                  </a:lnTo>
                  <a:lnTo>
                    <a:pt x="4399" y="1453"/>
                  </a:lnTo>
                  <a:lnTo>
                    <a:pt x="4383" y="1455"/>
                  </a:lnTo>
                  <a:lnTo>
                    <a:pt x="4366" y="1455"/>
                  </a:lnTo>
                  <a:lnTo>
                    <a:pt x="4172" y="1455"/>
                  </a:lnTo>
                  <a:lnTo>
                    <a:pt x="4172" y="1822"/>
                  </a:lnTo>
                  <a:lnTo>
                    <a:pt x="4385" y="1822"/>
                  </a:lnTo>
                  <a:lnTo>
                    <a:pt x="4412" y="1822"/>
                  </a:lnTo>
                  <a:lnTo>
                    <a:pt x="4439" y="1821"/>
                  </a:lnTo>
                  <a:lnTo>
                    <a:pt x="4465" y="1819"/>
                  </a:lnTo>
                  <a:lnTo>
                    <a:pt x="4491" y="1816"/>
                  </a:lnTo>
                  <a:lnTo>
                    <a:pt x="4515" y="1812"/>
                  </a:lnTo>
                  <a:lnTo>
                    <a:pt x="4540" y="1808"/>
                  </a:lnTo>
                  <a:lnTo>
                    <a:pt x="4563" y="1802"/>
                  </a:lnTo>
                  <a:lnTo>
                    <a:pt x="4586" y="1796"/>
                  </a:lnTo>
                  <a:lnTo>
                    <a:pt x="4609" y="1789"/>
                  </a:lnTo>
                  <a:lnTo>
                    <a:pt x="4630" y="1780"/>
                  </a:lnTo>
                  <a:lnTo>
                    <a:pt x="4651" y="1771"/>
                  </a:lnTo>
                  <a:lnTo>
                    <a:pt x="4672" y="1762"/>
                  </a:lnTo>
                  <a:lnTo>
                    <a:pt x="4692" y="1751"/>
                  </a:lnTo>
                  <a:lnTo>
                    <a:pt x="4710" y="1740"/>
                  </a:lnTo>
                  <a:lnTo>
                    <a:pt x="4730" y="1728"/>
                  </a:lnTo>
                  <a:lnTo>
                    <a:pt x="4747" y="1713"/>
                  </a:lnTo>
                  <a:lnTo>
                    <a:pt x="4764" y="1699"/>
                  </a:lnTo>
                  <a:lnTo>
                    <a:pt x="4781" y="1684"/>
                  </a:lnTo>
                  <a:lnTo>
                    <a:pt x="4796" y="1668"/>
                  </a:lnTo>
                  <a:lnTo>
                    <a:pt x="4811" y="1650"/>
                  </a:lnTo>
                  <a:lnTo>
                    <a:pt x="4825" y="1633"/>
                  </a:lnTo>
                  <a:lnTo>
                    <a:pt x="4839" y="1614"/>
                  </a:lnTo>
                  <a:lnTo>
                    <a:pt x="4852" y="1593"/>
                  </a:lnTo>
                  <a:lnTo>
                    <a:pt x="4864" y="1572"/>
                  </a:lnTo>
                  <a:lnTo>
                    <a:pt x="4875" y="1551"/>
                  </a:lnTo>
                  <a:lnTo>
                    <a:pt x="4885" y="1527"/>
                  </a:lnTo>
                  <a:lnTo>
                    <a:pt x="4895" y="1504"/>
                  </a:lnTo>
                  <a:lnTo>
                    <a:pt x="4905" y="1478"/>
                  </a:lnTo>
                  <a:lnTo>
                    <a:pt x="4913" y="1452"/>
                  </a:lnTo>
                  <a:lnTo>
                    <a:pt x="4920" y="1426"/>
                  </a:lnTo>
                  <a:lnTo>
                    <a:pt x="4927" y="1397"/>
                  </a:lnTo>
                  <a:lnTo>
                    <a:pt x="4932" y="1369"/>
                  </a:lnTo>
                  <a:lnTo>
                    <a:pt x="5113" y="403"/>
                  </a:lnTo>
                  <a:lnTo>
                    <a:pt x="5796" y="403"/>
                  </a:lnTo>
                  <a:lnTo>
                    <a:pt x="5796" y="1822"/>
                  </a:lnTo>
                  <a:lnTo>
                    <a:pt x="6198" y="1822"/>
                  </a:lnTo>
                  <a:lnTo>
                    <a:pt x="6198" y="42"/>
                  </a:lnTo>
                  <a:lnTo>
                    <a:pt x="4779" y="42"/>
                  </a:lnTo>
                  <a:close/>
                  <a:moveTo>
                    <a:pt x="6585" y="42"/>
                  </a:moveTo>
                  <a:lnTo>
                    <a:pt x="6585" y="1822"/>
                  </a:lnTo>
                  <a:lnTo>
                    <a:pt x="6980" y="1822"/>
                  </a:lnTo>
                  <a:lnTo>
                    <a:pt x="6980" y="1069"/>
                  </a:lnTo>
                  <a:lnTo>
                    <a:pt x="7251" y="1069"/>
                  </a:lnTo>
                  <a:lnTo>
                    <a:pt x="7258" y="1116"/>
                  </a:lnTo>
                  <a:lnTo>
                    <a:pt x="7266" y="1162"/>
                  </a:lnTo>
                  <a:lnTo>
                    <a:pt x="7277" y="1207"/>
                  </a:lnTo>
                  <a:lnTo>
                    <a:pt x="7290" y="1251"/>
                  </a:lnTo>
                  <a:lnTo>
                    <a:pt x="7304" y="1292"/>
                  </a:lnTo>
                  <a:lnTo>
                    <a:pt x="7320" y="1333"/>
                  </a:lnTo>
                  <a:lnTo>
                    <a:pt x="7338" y="1372"/>
                  </a:lnTo>
                  <a:lnTo>
                    <a:pt x="7358" y="1409"/>
                  </a:lnTo>
                  <a:lnTo>
                    <a:pt x="7379" y="1446"/>
                  </a:lnTo>
                  <a:lnTo>
                    <a:pt x="7402" y="1482"/>
                  </a:lnTo>
                  <a:lnTo>
                    <a:pt x="7427" y="1514"/>
                  </a:lnTo>
                  <a:lnTo>
                    <a:pt x="7452" y="1547"/>
                  </a:lnTo>
                  <a:lnTo>
                    <a:pt x="7480" y="1577"/>
                  </a:lnTo>
                  <a:lnTo>
                    <a:pt x="7509" y="1607"/>
                  </a:lnTo>
                  <a:lnTo>
                    <a:pt x="7540" y="1634"/>
                  </a:lnTo>
                  <a:lnTo>
                    <a:pt x="7571" y="1660"/>
                  </a:lnTo>
                  <a:lnTo>
                    <a:pt x="7604" y="1685"/>
                  </a:lnTo>
                  <a:lnTo>
                    <a:pt x="7637" y="1708"/>
                  </a:lnTo>
                  <a:lnTo>
                    <a:pt x="7673" y="1730"/>
                  </a:lnTo>
                  <a:lnTo>
                    <a:pt x="7710" y="1750"/>
                  </a:lnTo>
                  <a:lnTo>
                    <a:pt x="7747" y="1768"/>
                  </a:lnTo>
                  <a:lnTo>
                    <a:pt x="7786" y="1786"/>
                  </a:lnTo>
                  <a:lnTo>
                    <a:pt x="7824" y="1801"/>
                  </a:lnTo>
                  <a:lnTo>
                    <a:pt x="7865" y="1815"/>
                  </a:lnTo>
                  <a:lnTo>
                    <a:pt x="7907" y="1827"/>
                  </a:lnTo>
                  <a:lnTo>
                    <a:pt x="7949" y="1837"/>
                  </a:lnTo>
                  <a:lnTo>
                    <a:pt x="7991" y="1847"/>
                  </a:lnTo>
                  <a:lnTo>
                    <a:pt x="8035" y="1854"/>
                  </a:lnTo>
                  <a:lnTo>
                    <a:pt x="8080" y="1860"/>
                  </a:lnTo>
                  <a:lnTo>
                    <a:pt x="8124" y="1864"/>
                  </a:lnTo>
                  <a:lnTo>
                    <a:pt x="8170" y="1867"/>
                  </a:lnTo>
                  <a:lnTo>
                    <a:pt x="8217" y="1868"/>
                  </a:lnTo>
                  <a:lnTo>
                    <a:pt x="8267" y="1867"/>
                  </a:lnTo>
                  <a:lnTo>
                    <a:pt x="8317" y="1864"/>
                  </a:lnTo>
                  <a:lnTo>
                    <a:pt x="8364" y="1859"/>
                  </a:lnTo>
                  <a:lnTo>
                    <a:pt x="8413" y="1852"/>
                  </a:lnTo>
                  <a:lnTo>
                    <a:pt x="8460" y="1842"/>
                  </a:lnTo>
                  <a:lnTo>
                    <a:pt x="8506" y="1832"/>
                  </a:lnTo>
                  <a:lnTo>
                    <a:pt x="8552" y="1820"/>
                  </a:lnTo>
                  <a:lnTo>
                    <a:pt x="8595" y="1805"/>
                  </a:lnTo>
                  <a:lnTo>
                    <a:pt x="8639" y="1789"/>
                  </a:lnTo>
                  <a:lnTo>
                    <a:pt x="8681" y="1771"/>
                  </a:lnTo>
                  <a:lnTo>
                    <a:pt x="8721" y="1751"/>
                  </a:lnTo>
                  <a:lnTo>
                    <a:pt x="8761" y="1729"/>
                  </a:lnTo>
                  <a:lnTo>
                    <a:pt x="8799" y="1705"/>
                  </a:lnTo>
                  <a:lnTo>
                    <a:pt x="8835" y="1680"/>
                  </a:lnTo>
                  <a:lnTo>
                    <a:pt x="8871" y="1653"/>
                  </a:lnTo>
                  <a:lnTo>
                    <a:pt x="8905" y="1624"/>
                  </a:lnTo>
                  <a:lnTo>
                    <a:pt x="8937" y="1593"/>
                  </a:lnTo>
                  <a:lnTo>
                    <a:pt x="8968" y="1561"/>
                  </a:lnTo>
                  <a:lnTo>
                    <a:pt x="8996" y="1526"/>
                  </a:lnTo>
                  <a:lnTo>
                    <a:pt x="9023" y="1491"/>
                  </a:lnTo>
                  <a:lnTo>
                    <a:pt x="9049" y="1453"/>
                  </a:lnTo>
                  <a:lnTo>
                    <a:pt x="9072" y="1414"/>
                  </a:lnTo>
                  <a:lnTo>
                    <a:pt x="9094" y="1374"/>
                  </a:lnTo>
                  <a:lnTo>
                    <a:pt x="9113" y="1331"/>
                  </a:lnTo>
                  <a:lnTo>
                    <a:pt x="9130" y="1287"/>
                  </a:lnTo>
                  <a:lnTo>
                    <a:pt x="9146" y="1242"/>
                  </a:lnTo>
                  <a:lnTo>
                    <a:pt x="9159" y="1194"/>
                  </a:lnTo>
                  <a:lnTo>
                    <a:pt x="9169" y="1145"/>
                  </a:lnTo>
                  <a:lnTo>
                    <a:pt x="9178" y="1094"/>
                  </a:lnTo>
                  <a:lnTo>
                    <a:pt x="9184" y="1042"/>
                  </a:lnTo>
                  <a:lnTo>
                    <a:pt x="9188" y="988"/>
                  </a:lnTo>
                  <a:lnTo>
                    <a:pt x="9189" y="933"/>
                  </a:lnTo>
                  <a:lnTo>
                    <a:pt x="9188" y="879"/>
                  </a:lnTo>
                  <a:lnTo>
                    <a:pt x="9184" y="825"/>
                  </a:lnTo>
                  <a:lnTo>
                    <a:pt x="9178" y="773"/>
                  </a:lnTo>
                  <a:lnTo>
                    <a:pt x="9169" y="723"/>
                  </a:lnTo>
                  <a:lnTo>
                    <a:pt x="9159" y="674"/>
                  </a:lnTo>
                  <a:lnTo>
                    <a:pt x="9146" y="626"/>
                  </a:lnTo>
                  <a:lnTo>
                    <a:pt x="9130" y="581"/>
                  </a:lnTo>
                  <a:lnTo>
                    <a:pt x="9113" y="537"/>
                  </a:lnTo>
                  <a:lnTo>
                    <a:pt x="9094" y="494"/>
                  </a:lnTo>
                  <a:lnTo>
                    <a:pt x="9072" y="453"/>
                  </a:lnTo>
                  <a:lnTo>
                    <a:pt x="9049" y="414"/>
                  </a:lnTo>
                  <a:lnTo>
                    <a:pt x="9023" y="376"/>
                  </a:lnTo>
                  <a:lnTo>
                    <a:pt x="8996" y="341"/>
                  </a:lnTo>
                  <a:lnTo>
                    <a:pt x="8968" y="307"/>
                  </a:lnTo>
                  <a:lnTo>
                    <a:pt x="8937" y="275"/>
                  </a:lnTo>
                  <a:lnTo>
                    <a:pt x="8905" y="244"/>
                  </a:lnTo>
                  <a:lnTo>
                    <a:pt x="8871" y="215"/>
                  </a:lnTo>
                  <a:lnTo>
                    <a:pt x="8835" y="187"/>
                  </a:lnTo>
                  <a:lnTo>
                    <a:pt x="8799" y="162"/>
                  </a:lnTo>
                  <a:lnTo>
                    <a:pt x="8761" y="138"/>
                  </a:lnTo>
                  <a:lnTo>
                    <a:pt x="8721" y="117"/>
                  </a:lnTo>
                  <a:lnTo>
                    <a:pt x="8681" y="97"/>
                  </a:lnTo>
                  <a:lnTo>
                    <a:pt x="8639" y="78"/>
                  </a:lnTo>
                  <a:lnTo>
                    <a:pt x="8595" y="62"/>
                  </a:lnTo>
                  <a:lnTo>
                    <a:pt x="8552" y="48"/>
                  </a:lnTo>
                  <a:lnTo>
                    <a:pt x="8506" y="36"/>
                  </a:lnTo>
                  <a:lnTo>
                    <a:pt x="8460" y="24"/>
                  </a:lnTo>
                  <a:lnTo>
                    <a:pt x="8413" y="16"/>
                  </a:lnTo>
                  <a:lnTo>
                    <a:pt x="8364" y="9"/>
                  </a:lnTo>
                  <a:lnTo>
                    <a:pt x="8317" y="4"/>
                  </a:lnTo>
                  <a:lnTo>
                    <a:pt x="8267" y="1"/>
                  </a:lnTo>
                  <a:lnTo>
                    <a:pt x="8217" y="0"/>
                  </a:lnTo>
                  <a:lnTo>
                    <a:pt x="8173" y="1"/>
                  </a:lnTo>
                  <a:lnTo>
                    <a:pt x="8131" y="3"/>
                  </a:lnTo>
                  <a:lnTo>
                    <a:pt x="8088" y="7"/>
                  </a:lnTo>
                  <a:lnTo>
                    <a:pt x="8046" y="12"/>
                  </a:lnTo>
                  <a:lnTo>
                    <a:pt x="8004" y="18"/>
                  </a:lnTo>
                  <a:lnTo>
                    <a:pt x="7964" y="26"/>
                  </a:lnTo>
                  <a:lnTo>
                    <a:pt x="7924" y="36"/>
                  </a:lnTo>
                  <a:lnTo>
                    <a:pt x="7884" y="47"/>
                  </a:lnTo>
                  <a:lnTo>
                    <a:pt x="7846" y="59"/>
                  </a:lnTo>
                  <a:lnTo>
                    <a:pt x="7808" y="73"/>
                  </a:lnTo>
                  <a:lnTo>
                    <a:pt x="7772" y="88"/>
                  </a:lnTo>
                  <a:lnTo>
                    <a:pt x="7736" y="105"/>
                  </a:lnTo>
                  <a:lnTo>
                    <a:pt x="7700" y="122"/>
                  </a:lnTo>
                  <a:lnTo>
                    <a:pt x="7667" y="141"/>
                  </a:lnTo>
                  <a:lnTo>
                    <a:pt x="7633" y="162"/>
                  </a:lnTo>
                  <a:lnTo>
                    <a:pt x="7602" y="184"/>
                  </a:lnTo>
                  <a:lnTo>
                    <a:pt x="7571" y="207"/>
                  </a:lnTo>
                  <a:lnTo>
                    <a:pt x="7542" y="232"/>
                  </a:lnTo>
                  <a:lnTo>
                    <a:pt x="7512" y="257"/>
                  </a:lnTo>
                  <a:lnTo>
                    <a:pt x="7486" y="285"/>
                  </a:lnTo>
                  <a:lnTo>
                    <a:pt x="7459" y="313"/>
                  </a:lnTo>
                  <a:lnTo>
                    <a:pt x="7435" y="343"/>
                  </a:lnTo>
                  <a:lnTo>
                    <a:pt x="7412" y="374"/>
                  </a:lnTo>
                  <a:lnTo>
                    <a:pt x="7389" y="406"/>
                  </a:lnTo>
                  <a:lnTo>
                    <a:pt x="7369" y="439"/>
                  </a:lnTo>
                  <a:lnTo>
                    <a:pt x="7350" y="475"/>
                  </a:lnTo>
                  <a:lnTo>
                    <a:pt x="7331" y="510"/>
                  </a:lnTo>
                  <a:lnTo>
                    <a:pt x="7315" y="548"/>
                  </a:lnTo>
                  <a:lnTo>
                    <a:pt x="7301" y="586"/>
                  </a:lnTo>
                  <a:lnTo>
                    <a:pt x="7287" y="625"/>
                  </a:lnTo>
                  <a:lnTo>
                    <a:pt x="7276" y="666"/>
                  </a:lnTo>
                  <a:lnTo>
                    <a:pt x="7267" y="709"/>
                  </a:lnTo>
                  <a:lnTo>
                    <a:pt x="6980" y="709"/>
                  </a:lnTo>
                  <a:lnTo>
                    <a:pt x="6980" y="42"/>
                  </a:lnTo>
                  <a:lnTo>
                    <a:pt x="6585" y="42"/>
                  </a:lnTo>
                  <a:close/>
                  <a:moveTo>
                    <a:pt x="7643" y="933"/>
                  </a:moveTo>
                  <a:lnTo>
                    <a:pt x="7644" y="900"/>
                  </a:lnTo>
                  <a:lnTo>
                    <a:pt x="7645" y="866"/>
                  </a:lnTo>
                  <a:lnTo>
                    <a:pt x="7649" y="835"/>
                  </a:lnTo>
                  <a:lnTo>
                    <a:pt x="7653" y="803"/>
                  </a:lnTo>
                  <a:lnTo>
                    <a:pt x="7658" y="773"/>
                  </a:lnTo>
                  <a:lnTo>
                    <a:pt x="7664" y="743"/>
                  </a:lnTo>
                  <a:lnTo>
                    <a:pt x="7672" y="715"/>
                  </a:lnTo>
                  <a:lnTo>
                    <a:pt x="7680" y="686"/>
                  </a:lnTo>
                  <a:lnTo>
                    <a:pt x="7690" y="660"/>
                  </a:lnTo>
                  <a:lnTo>
                    <a:pt x="7700" y="634"/>
                  </a:lnTo>
                  <a:lnTo>
                    <a:pt x="7713" y="610"/>
                  </a:lnTo>
                  <a:lnTo>
                    <a:pt x="7726" y="586"/>
                  </a:lnTo>
                  <a:lnTo>
                    <a:pt x="7740" y="563"/>
                  </a:lnTo>
                  <a:lnTo>
                    <a:pt x="7755" y="542"/>
                  </a:lnTo>
                  <a:lnTo>
                    <a:pt x="7772" y="521"/>
                  </a:lnTo>
                  <a:lnTo>
                    <a:pt x="7789" y="501"/>
                  </a:lnTo>
                  <a:lnTo>
                    <a:pt x="7807" y="483"/>
                  </a:lnTo>
                  <a:lnTo>
                    <a:pt x="7828" y="466"/>
                  </a:lnTo>
                  <a:lnTo>
                    <a:pt x="7848" y="449"/>
                  </a:lnTo>
                  <a:lnTo>
                    <a:pt x="7870" y="434"/>
                  </a:lnTo>
                  <a:lnTo>
                    <a:pt x="7893" y="420"/>
                  </a:lnTo>
                  <a:lnTo>
                    <a:pt x="7917" y="408"/>
                  </a:lnTo>
                  <a:lnTo>
                    <a:pt x="7942" y="396"/>
                  </a:lnTo>
                  <a:lnTo>
                    <a:pt x="7968" y="385"/>
                  </a:lnTo>
                  <a:lnTo>
                    <a:pt x="7995" y="375"/>
                  </a:lnTo>
                  <a:lnTo>
                    <a:pt x="8024" y="367"/>
                  </a:lnTo>
                  <a:lnTo>
                    <a:pt x="8053" y="361"/>
                  </a:lnTo>
                  <a:lnTo>
                    <a:pt x="8084" y="355"/>
                  </a:lnTo>
                  <a:lnTo>
                    <a:pt x="8115" y="351"/>
                  </a:lnTo>
                  <a:lnTo>
                    <a:pt x="8148" y="347"/>
                  </a:lnTo>
                  <a:lnTo>
                    <a:pt x="8182" y="345"/>
                  </a:lnTo>
                  <a:lnTo>
                    <a:pt x="8217" y="345"/>
                  </a:lnTo>
                  <a:lnTo>
                    <a:pt x="8252" y="345"/>
                  </a:lnTo>
                  <a:lnTo>
                    <a:pt x="8285" y="347"/>
                  </a:lnTo>
                  <a:lnTo>
                    <a:pt x="8318" y="351"/>
                  </a:lnTo>
                  <a:lnTo>
                    <a:pt x="8349" y="355"/>
                  </a:lnTo>
                  <a:lnTo>
                    <a:pt x="8380" y="361"/>
                  </a:lnTo>
                  <a:lnTo>
                    <a:pt x="8409" y="367"/>
                  </a:lnTo>
                  <a:lnTo>
                    <a:pt x="8438" y="375"/>
                  </a:lnTo>
                  <a:lnTo>
                    <a:pt x="8465" y="385"/>
                  </a:lnTo>
                  <a:lnTo>
                    <a:pt x="8492" y="396"/>
                  </a:lnTo>
                  <a:lnTo>
                    <a:pt x="8517" y="408"/>
                  </a:lnTo>
                  <a:lnTo>
                    <a:pt x="8540" y="420"/>
                  </a:lnTo>
                  <a:lnTo>
                    <a:pt x="8564" y="434"/>
                  </a:lnTo>
                  <a:lnTo>
                    <a:pt x="8585" y="449"/>
                  </a:lnTo>
                  <a:lnTo>
                    <a:pt x="8607" y="466"/>
                  </a:lnTo>
                  <a:lnTo>
                    <a:pt x="8626" y="483"/>
                  </a:lnTo>
                  <a:lnTo>
                    <a:pt x="8644" y="501"/>
                  </a:lnTo>
                  <a:lnTo>
                    <a:pt x="8662" y="521"/>
                  </a:lnTo>
                  <a:lnTo>
                    <a:pt x="8679" y="542"/>
                  </a:lnTo>
                  <a:lnTo>
                    <a:pt x="8694" y="563"/>
                  </a:lnTo>
                  <a:lnTo>
                    <a:pt x="8708" y="586"/>
                  </a:lnTo>
                  <a:lnTo>
                    <a:pt x="8720" y="610"/>
                  </a:lnTo>
                  <a:lnTo>
                    <a:pt x="8733" y="634"/>
                  </a:lnTo>
                  <a:lnTo>
                    <a:pt x="8744" y="660"/>
                  </a:lnTo>
                  <a:lnTo>
                    <a:pt x="8753" y="686"/>
                  </a:lnTo>
                  <a:lnTo>
                    <a:pt x="8762" y="715"/>
                  </a:lnTo>
                  <a:lnTo>
                    <a:pt x="8769" y="743"/>
                  </a:lnTo>
                  <a:lnTo>
                    <a:pt x="8775" y="773"/>
                  </a:lnTo>
                  <a:lnTo>
                    <a:pt x="8780" y="803"/>
                  </a:lnTo>
                  <a:lnTo>
                    <a:pt x="8785" y="835"/>
                  </a:lnTo>
                  <a:lnTo>
                    <a:pt x="8788" y="866"/>
                  </a:lnTo>
                  <a:lnTo>
                    <a:pt x="8790" y="900"/>
                  </a:lnTo>
                  <a:lnTo>
                    <a:pt x="8790" y="933"/>
                  </a:lnTo>
                  <a:lnTo>
                    <a:pt x="8790" y="968"/>
                  </a:lnTo>
                  <a:lnTo>
                    <a:pt x="8788" y="1001"/>
                  </a:lnTo>
                  <a:lnTo>
                    <a:pt x="8785" y="1033"/>
                  </a:lnTo>
                  <a:lnTo>
                    <a:pt x="8780" y="1065"/>
                  </a:lnTo>
                  <a:lnTo>
                    <a:pt x="8775" y="1095"/>
                  </a:lnTo>
                  <a:lnTo>
                    <a:pt x="8769" y="1125"/>
                  </a:lnTo>
                  <a:lnTo>
                    <a:pt x="8762" y="1153"/>
                  </a:lnTo>
                  <a:lnTo>
                    <a:pt x="8753" y="1181"/>
                  </a:lnTo>
                  <a:lnTo>
                    <a:pt x="8744" y="1207"/>
                  </a:lnTo>
                  <a:lnTo>
                    <a:pt x="8733" y="1233"/>
                  </a:lnTo>
                  <a:lnTo>
                    <a:pt x="8720" y="1258"/>
                  </a:lnTo>
                  <a:lnTo>
                    <a:pt x="8708" y="1281"/>
                  </a:lnTo>
                  <a:lnTo>
                    <a:pt x="8694" y="1305"/>
                  </a:lnTo>
                  <a:lnTo>
                    <a:pt x="8679" y="1326"/>
                  </a:lnTo>
                  <a:lnTo>
                    <a:pt x="8662" y="1346"/>
                  </a:lnTo>
                  <a:lnTo>
                    <a:pt x="8644" y="1366"/>
                  </a:lnTo>
                  <a:lnTo>
                    <a:pt x="8626" y="1385"/>
                  </a:lnTo>
                  <a:lnTo>
                    <a:pt x="8607" y="1402"/>
                  </a:lnTo>
                  <a:lnTo>
                    <a:pt x="8585" y="1418"/>
                  </a:lnTo>
                  <a:lnTo>
                    <a:pt x="8564" y="1434"/>
                  </a:lnTo>
                  <a:lnTo>
                    <a:pt x="8540" y="1447"/>
                  </a:lnTo>
                  <a:lnTo>
                    <a:pt x="8517" y="1460"/>
                  </a:lnTo>
                  <a:lnTo>
                    <a:pt x="8492" y="1472"/>
                  </a:lnTo>
                  <a:lnTo>
                    <a:pt x="8465" y="1483"/>
                  </a:lnTo>
                  <a:lnTo>
                    <a:pt x="8438" y="1492"/>
                  </a:lnTo>
                  <a:lnTo>
                    <a:pt x="8409" y="1500"/>
                  </a:lnTo>
                  <a:lnTo>
                    <a:pt x="8380" y="1507"/>
                  </a:lnTo>
                  <a:lnTo>
                    <a:pt x="8349" y="1513"/>
                  </a:lnTo>
                  <a:lnTo>
                    <a:pt x="8318" y="1517"/>
                  </a:lnTo>
                  <a:lnTo>
                    <a:pt x="8285" y="1520"/>
                  </a:lnTo>
                  <a:lnTo>
                    <a:pt x="8252" y="1522"/>
                  </a:lnTo>
                  <a:lnTo>
                    <a:pt x="8217" y="1523"/>
                  </a:lnTo>
                  <a:lnTo>
                    <a:pt x="8182" y="1522"/>
                  </a:lnTo>
                  <a:lnTo>
                    <a:pt x="8148" y="1520"/>
                  </a:lnTo>
                  <a:lnTo>
                    <a:pt x="8115" y="1517"/>
                  </a:lnTo>
                  <a:lnTo>
                    <a:pt x="8084" y="1513"/>
                  </a:lnTo>
                  <a:lnTo>
                    <a:pt x="8053" y="1507"/>
                  </a:lnTo>
                  <a:lnTo>
                    <a:pt x="8024" y="1500"/>
                  </a:lnTo>
                  <a:lnTo>
                    <a:pt x="7995" y="1492"/>
                  </a:lnTo>
                  <a:lnTo>
                    <a:pt x="7968" y="1483"/>
                  </a:lnTo>
                  <a:lnTo>
                    <a:pt x="7942" y="1472"/>
                  </a:lnTo>
                  <a:lnTo>
                    <a:pt x="7917" y="1460"/>
                  </a:lnTo>
                  <a:lnTo>
                    <a:pt x="7893" y="1447"/>
                  </a:lnTo>
                  <a:lnTo>
                    <a:pt x="7870" y="1434"/>
                  </a:lnTo>
                  <a:lnTo>
                    <a:pt x="7848" y="1418"/>
                  </a:lnTo>
                  <a:lnTo>
                    <a:pt x="7828" y="1402"/>
                  </a:lnTo>
                  <a:lnTo>
                    <a:pt x="7807" y="1385"/>
                  </a:lnTo>
                  <a:lnTo>
                    <a:pt x="7789" y="1366"/>
                  </a:lnTo>
                  <a:lnTo>
                    <a:pt x="7772" y="1346"/>
                  </a:lnTo>
                  <a:lnTo>
                    <a:pt x="7755" y="1326"/>
                  </a:lnTo>
                  <a:lnTo>
                    <a:pt x="7740" y="1305"/>
                  </a:lnTo>
                  <a:lnTo>
                    <a:pt x="7726" y="1281"/>
                  </a:lnTo>
                  <a:lnTo>
                    <a:pt x="7713" y="1258"/>
                  </a:lnTo>
                  <a:lnTo>
                    <a:pt x="7700" y="1233"/>
                  </a:lnTo>
                  <a:lnTo>
                    <a:pt x="7690" y="1207"/>
                  </a:lnTo>
                  <a:lnTo>
                    <a:pt x="7680" y="1181"/>
                  </a:lnTo>
                  <a:lnTo>
                    <a:pt x="7672" y="1153"/>
                  </a:lnTo>
                  <a:lnTo>
                    <a:pt x="7664" y="1125"/>
                  </a:lnTo>
                  <a:lnTo>
                    <a:pt x="7658" y="1095"/>
                  </a:lnTo>
                  <a:lnTo>
                    <a:pt x="7653" y="1065"/>
                  </a:lnTo>
                  <a:lnTo>
                    <a:pt x="7649" y="1033"/>
                  </a:lnTo>
                  <a:lnTo>
                    <a:pt x="7645" y="1001"/>
                  </a:lnTo>
                  <a:lnTo>
                    <a:pt x="7644" y="968"/>
                  </a:lnTo>
                  <a:lnTo>
                    <a:pt x="7643" y="933"/>
                  </a:lnTo>
                  <a:close/>
                  <a:moveTo>
                    <a:pt x="11327" y="477"/>
                  </a:moveTo>
                  <a:lnTo>
                    <a:pt x="11310" y="447"/>
                  </a:lnTo>
                  <a:lnTo>
                    <a:pt x="11291" y="420"/>
                  </a:lnTo>
                  <a:lnTo>
                    <a:pt x="11272" y="392"/>
                  </a:lnTo>
                  <a:lnTo>
                    <a:pt x="11253" y="366"/>
                  </a:lnTo>
                  <a:lnTo>
                    <a:pt x="11232" y="341"/>
                  </a:lnTo>
                  <a:lnTo>
                    <a:pt x="11211" y="316"/>
                  </a:lnTo>
                  <a:lnTo>
                    <a:pt x="11190" y="293"/>
                  </a:lnTo>
                  <a:lnTo>
                    <a:pt x="11167" y="270"/>
                  </a:lnTo>
                  <a:lnTo>
                    <a:pt x="11144" y="248"/>
                  </a:lnTo>
                  <a:lnTo>
                    <a:pt x="11121" y="228"/>
                  </a:lnTo>
                  <a:lnTo>
                    <a:pt x="11096" y="207"/>
                  </a:lnTo>
                  <a:lnTo>
                    <a:pt x="11071" y="188"/>
                  </a:lnTo>
                  <a:lnTo>
                    <a:pt x="11045" y="171"/>
                  </a:lnTo>
                  <a:lnTo>
                    <a:pt x="11018" y="154"/>
                  </a:lnTo>
                  <a:lnTo>
                    <a:pt x="10991" y="136"/>
                  </a:lnTo>
                  <a:lnTo>
                    <a:pt x="10963" y="121"/>
                  </a:lnTo>
                  <a:lnTo>
                    <a:pt x="10934" y="107"/>
                  </a:lnTo>
                  <a:lnTo>
                    <a:pt x="10905" y="93"/>
                  </a:lnTo>
                  <a:lnTo>
                    <a:pt x="10875" y="80"/>
                  </a:lnTo>
                  <a:lnTo>
                    <a:pt x="10845" y="68"/>
                  </a:lnTo>
                  <a:lnTo>
                    <a:pt x="10813" y="58"/>
                  </a:lnTo>
                  <a:lnTo>
                    <a:pt x="10782" y="48"/>
                  </a:lnTo>
                  <a:lnTo>
                    <a:pt x="10749" y="39"/>
                  </a:lnTo>
                  <a:lnTo>
                    <a:pt x="10716" y="30"/>
                  </a:lnTo>
                  <a:lnTo>
                    <a:pt x="10682" y="23"/>
                  </a:lnTo>
                  <a:lnTo>
                    <a:pt x="10648" y="17"/>
                  </a:lnTo>
                  <a:lnTo>
                    <a:pt x="10612" y="12"/>
                  </a:lnTo>
                  <a:lnTo>
                    <a:pt x="10576" y="8"/>
                  </a:lnTo>
                  <a:lnTo>
                    <a:pt x="10540" y="4"/>
                  </a:lnTo>
                  <a:lnTo>
                    <a:pt x="10502" y="2"/>
                  </a:lnTo>
                  <a:lnTo>
                    <a:pt x="10465" y="1"/>
                  </a:lnTo>
                  <a:lnTo>
                    <a:pt x="10426" y="0"/>
                  </a:lnTo>
                  <a:lnTo>
                    <a:pt x="10373" y="1"/>
                  </a:lnTo>
                  <a:lnTo>
                    <a:pt x="10322" y="4"/>
                  </a:lnTo>
                  <a:lnTo>
                    <a:pt x="10271" y="9"/>
                  </a:lnTo>
                  <a:lnTo>
                    <a:pt x="10222" y="16"/>
                  </a:lnTo>
                  <a:lnTo>
                    <a:pt x="10174" y="25"/>
                  </a:lnTo>
                  <a:lnTo>
                    <a:pt x="10126" y="37"/>
                  </a:lnTo>
                  <a:lnTo>
                    <a:pt x="10079" y="50"/>
                  </a:lnTo>
                  <a:lnTo>
                    <a:pt x="10033" y="65"/>
                  </a:lnTo>
                  <a:lnTo>
                    <a:pt x="9990" y="81"/>
                  </a:lnTo>
                  <a:lnTo>
                    <a:pt x="9947" y="101"/>
                  </a:lnTo>
                  <a:lnTo>
                    <a:pt x="9905" y="121"/>
                  </a:lnTo>
                  <a:lnTo>
                    <a:pt x="9865" y="143"/>
                  </a:lnTo>
                  <a:lnTo>
                    <a:pt x="9826" y="168"/>
                  </a:lnTo>
                  <a:lnTo>
                    <a:pt x="9788" y="194"/>
                  </a:lnTo>
                  <a:lnTo>
                    <a:pt x="9753" y="222"/>
                  </a:lnTo>
                  <a:lnTo>
                    <a:pt x="9718" y="251"/>
                  </a:lnTo>
                  <a:lnTo>
                    <a:pt x="9686" y="282"/>
                  </a:lnTo>
                  <a:lnTo>
                    <a:pt x="9654" y="314"/>
                  </a:lnTo>
                  <a:lnTo>
                    <a:pt x="9626" y="349"/>
                  </a:lnTo>
                  <a:lnTo>
                    <a:pt x="9598" y="385"/>
                  </a:lnTo>
                  <a:lnTo>
                    <a:pt x="9572" y="423"/>
                  </a:lnTo>
                  <a:lnTo>
                    <a:pt x="9548" y="462"/>
                  </a:lnTo>
                  <a:lnTo>
                    <a:pt x="9527" y="502"/>
                  </a:lnTo>
                  <a:lnTo>
                    <a:pt x="9508" y="545"/>
                  </a:lnTo>
                  <a:lnTo>
                    <a:pt x="9489" y="589"/>
                  </a:lnTo>
                  <a:lnTo>
                    <a:pt x="9474" y="633"/>
                  </a:lnTo>
                  <a:lnTo>
                    <a:pt x="9461" y="680"/>
                  </a:lnTo>
                  <a:lnTo>
                    <a:pt x="9451" y="728"/>
                  </a:lnTo>
                  <a:lnTo>
                    <a:pt x="9441" y="778"/>
                  </a:lnTo>
                  <a:lnTo>
                    <a:pt x="9435" y="829"/>
                  </a:lnTo>
                  <a:lnTo>
                    <a:pt x="9432" y="881"/>
                  </a:lnTo>
                  <a:lnTo>
                    <a:pt x="9430" y="933"/>
                  </a:lnTo>
                  <a:lnTo>
                    <a:pt x="9431" y="987"/>
                  </a:lnTo>
                  <a:lnTo>
                    <a:pt x="9435" y="1039"/>
                  </a:lnTo>
                  <a:lnTo>
                    <a:pt x="9441" y="1090"/>
                  </a:lnTo>
                  <a:lnTo>
                    <a:pt x="9450" y="1139"/>
                  </a:lnTo>
                  <a:lnTo>
                    <a:pt x="9461" y="1188"/>
                  </a:lnTo>
                  <a:lnTo>
                    <a:pt x="9474" y="1234"/>
                  </a:lnTo>
                  <a:lnTo>
                    <a:pt x="9488" y="1279"/>
                  </a:lnTo>
                  <a:lnTo>
                    <a:pt x="9506" y="1323"/>
                  </a:lnTo>
                  <a:lnTo>
                    <a:pt x="9525" y="1365"/>
                  </a:lnTo>
                  <a:lnTo>
                    <a:pt x="9546" y="1405"/>
                  </a:lnTo>
                  <a:lnTo>
                    <a:pt x="9570" y="1445"/>
                  </a:lnTo>
                  <a:lnTo>
                    <a:pt x="9595" y="1483"/>
                  </a:lnTo>
                  <a:lnTo>
                    <a:pt x="9623" y="1518"/>
                  </a:lnTo>
                  <a:lnTo>
                    <a:pt x="9651" y="1553"/>
                  </a:lnTo>
                  <a:lnTo>
                    <a:pt x="9681" y="1585"/>
                  </a:lnTo>
                  <a:lnTo>
                    <a:pt x="9714" y="1617"/>
                  </a:lnTo>
                  <a:lnTo>
                    <a:pt x="9749" y="1646"/>
                  </a:lnTo>
                  <a:lnTo>
                    <a:pt x="9784" y="1674"/>
                  </a:lnTo>
                  <a:lnTo>
                    <a:pt x="9822" y="1700"/>
                  </a:lnTo>
                  <a:lnTo>
                    <a:pt x="9860" y="1724"/>
                  </a:lnTo>
                  <a:lnTo>
                    <a:pt x="9900" y="1746"/>
                  </a:lnTo>
                  <a:lnTo>
                    <a:pt x="9942" y="1767"/>
                  </a:lnTo>
                  <a:lnTo>
                    <a:pt x="9986" y="1786"/>
                  </a:lnTo>
                  <a:lnTo>
                    <a:pt x="10029" y="1803"/>
                  </a:lnTo>
                  <a:lnTo>
                    <a:pt x="10075" y="1818"/>
                  </a:lnTo>
                  <a:lnTo>
                    <a:pt x="10122" y="1830"/>
                  </a:lnTo>
                  <a:lnTo>
                    <a:pt x="10170" y="1841"/>
                  </a:lnTo>
                  <a:lnTo>
                    <a:pt x="10219" y="1851"/>
                  </a:lnTo>
                  <a:lnTo>
                    <a:pt x="10269" y="1858"/>
                  </a:lnTo>
                  <a:lnTo>
                    <a:pt x="10320" y="1863"/>
                  </a:lnTo>
                  <a:lnTo>
                    <a:pt x="10372" y="1867"/>
                  </a:lnTo>
                  <a:lnTo>
                    <a:pt x="10426" y="1868"/>
                  </a:lnTo>
                  <a:lnTo>
                    <a:pt x="10465" y="1867"/>
                  </a:lnTo>
                  <a:lnTo>
                    <a:pt x="10502" y="1866"/>
                  </a:lnTo>
                  <a:lnTo>
                    <a:pt x="10540" y="1863"/>
                  </a:lnTo>
                  <a:lnTo>
                    <a:pt x="10576" y="1860"/>
                  </a:lnTo>
                  <a:lnTo>
                    <a:pt x="10612" y="1856"/>
                  </a:lnTo>
                  <a:lnTo>
                    <a:pt x="10648" y="1851"/>
                  </a:lnTo>
                  <a:lnTo>
                    <a:pt x="10682" y="1845"/>
                  </a:lnTo>
                  <a:lnTo>
                    <a:pt x="10716" y="1837"/>
                  </a:lnTo>
                  <a:lnTo>
                    <a:pt x="10749" y="1829"/>
                  </a:lnTo>
                  <a:lnTo>
                    <a:pt x="10782" y="1820"/>
                  </a:lnTo>
                  <a:lnTo>
                    <a:pt x="10813" y="1810"/>
                  </a:lnTo>
                  <a:lnTo>
                    <a:pt x="10845" y="1799"/>
                  </a:lnTo>
                  <a:lnTo>
                    <a:pt x="10875" y="1788"/>
                  </a:lnTo>
                  <a:lnTo>
                    <a:pt x="10905" y="1774"/>
                  </a:lnTo>
                  <a:lnTo>
                    <a:pt x="10934" y="1761"/>
                  </a:lnTo>
                  <a:lnTo>
                    <a:pt x="10963" y="1746"/>
                  </a:lnTo>
                  <a:lnTo>
                    <a:pt x="10991" y="1731"/>
                  </a:lnTo>
                  <a:lnTo>
                    <a:pt x="11018" y="1714"/>
                  </a:lnTo>
                  <a:lnTo>
                    <a:pt x="11045" y="1697"/>
                  </a:lnTo>
                  <a:lnTo>
                    <a:pt x="11071" y="1679"/>
                  </a:lnTo>
                  <a:lnTo>
                    <a:pt x="11096" y="1659"/>
                  </a:lnTo>
                  <a:lnTo>
                    <a:pt x="11121" y="1640"/>
                  </a:lnTo>
                  <a:lnTo>
                    <a:pt x="11144" y="1619"/>
                  </a:lnTo>
                  <a:lnTo>
                    <a:pt x="11167" y="1597"/>
                  </a:lnTo>
                  <a:lnTo>
                    <a:pt x="11190" y="1574"/>
                  </a:lnTo>
                  <a:lnTo>
                    <a:pt x="11211" y="1551"/>
                  </a:lnTo>
                  <a:lnTo>
                    <a:pt x="11232" y="1526"/>
                  </a:lnTo>
                  <a:lnTo>
                    <a:pt x="11253" y="1501"/>
                  </a:lnTo>
                  <a:lnTo>
                    <a:pt x="11272" y="1474"/>
                  </a:lnTo>
                  <a:lnTo>
                    <a:pt x="11291" y="1448"/>
                  </a:lnTo>
                  <a:lnTo>
                    <a:pt x="11310" y="1419"/>
                  </a:lnTo>
                  <a:lnTo>
                    <a:pt x="11327" y="1391"/>
                  </a:lnTo>
                  <a:lnTo>
                    <a:pt x="11015" y="1211"/>
                  </a:lnTo>
                  <a:lnTo>
                    <a:pt x="11002" y="1228"/>
                  </a:lnTo>
                  <a:lnTo>
                    <a:pt x="10988" y="1246"/>
                  </a:lnTo>
                  <a:lnTo>
                    <a:pt x="10975" y="1263"/>
                  </a:lnTo>
                  <a:lnTo>
                    <a:pt x="10962" y="1279"/>
                  </a:lnTo>
                  <a:lnTo>
                    <a:pt x="10948" y="1294"/>
                  </a:lnTo>
                  <a:lnTo>
                    <a:pt x="10933" y="1310"/>
                  </a:lnTo>
                  <a:lnTo>
                    <a:pt x="10919" y="1325"/>
                  </a:lnTo>
                  <a:lnTo>
                    <a:pt x="10904" y="1339"/>
                  </a:lnTo>
                  <a:lnTo>
                    <a:pt x="10890" y="1352"/>
                  </a:lnTo>
                  <a:lnTo>
                    <a:pt x="10873" y="1366"/>
                  </a:lnTo>
                  <a:lnTo>
                    <a:pt x="10858" y="1378"/>
                  </a:lnTo>
                  <a:lnTo>
                    <a:pt x="10842" y="1390"/>
                  </a:lnTo>
                  <a:lnTo>
                    <a:pt x="10825" y="1402"/>
                  </a:lnTo>
                  <a:lnTo>
                    <a:pt x="10807" y="1412"/>
                  </a:lnTo>
                  <a:lnTo>
                    <a:pt x="10790" y="1423"/>
                  </a:lnTo>
                  <a:lnTo>
                    <a:pt x="10773" y="1433"/>
                  </a:lnTo>
                  <a:lnTo>
                    <a:pt x="10754" y="1442"/>
                  </a:lnTo>
                  <a:lnTo>
                    <a:pt x="10735" y="1451"/>
                  </a:lnTo>
                  <a:lnTo>
                    <a:pt x="10716" y="1459"/>
                  </a:lnTo>
                  <a:lnTo>
                    <a:pt x="10696" y="1466"/>
                  </a:lnTo>
                  <a:lnTo>
                    <a:pt x="10676" y="1473"/>
                  </a:lnTo>
                  <a:lnTo>
                    <a:pt x="10656" y="1479"/>
                  </a:lnTo>
                  <a:lnTo>
                    <a:pt x="10634" y="1486"/>
                  </a:lnTo>
                  <a:lnTo>
                    <a:pt x="10613" y="1491"/>
                  </a:lnTo>
                  <a:lnTo>
                    <a:pt x="10591" y="1495"/>
                  </a:lnTo>
                  <a:lnTo>
                    <a:pt x="10567" y="1499"/>
                  </a:lnTo>
                  <a:lnTo>
                    <a:pt x="10544" y="1502"/>
                  </a:lnTo>
                  <a:lnTo>
                    <a:pt x="10521" y="1505"/>
                  </a:lnTo>
                  <a:lnTo>
                    <a:pt x="10496" y="1507"/>
                  </a:lnTo>
                  <a:lnTo>
                    <a:pt x="10471" y="1509"/>
                  </a:lnTo>
                  <a:lnTo>
                    <a:pt x="10445" y="1510"/>
                  </a:lnTo>
                  <a:lnTo>
                    <a:pt x="10419" y="1510"/>
                  </a:lnTo>
                  <a:lnTo>
                    <a:pt x="10386" y="1509"/>
                  </a:lnTo>
                  <a:lnTo>
                    <a:pt x="10355" y="1507"/>
                  </a:lnTo>
                  <a:lnTo>
                    <a:pt x="10324" y="1504"/>
                  </a:lnTo>
                  <a:lnTo>
                    <a:pt x="10294" y="1500"/>
                  </a:lnTo>
                  <a:lnTo>
                    <a:pt x="10264" y="1494"/>
                  </a:lnTo>
                  <a:lnTo>
                    <a:pt x="10236" y="1487"/>
                  </a:lnTo>
                  <a:lnTo>
                    <a:pt x="10207" y="1478"/>
                  </a:lnTo>
                  <a:lnTo>
                    <a:pt x="10180" y="1468"/>
                  </a:lnTo>
                  <a:lnTo>
                    <a:pt x="10153" y="1458"/>
                  </a:lnTo>
                  <a:lnTo>
                    <a:pt x="10128" y="1446"/>
                  </a:lnTo>
                  <a:lnTo>
                    <a:pt x="10104" y="1433"/>
                  </a:lnTo>
                  <a:lnTo>
                    <a:pt x="10080" y="1418"/>
                  </a:lnTo>
                  <a:lnTo>
                    <a:pt x="10057" y="1403"/>
                  </a:lnTo>
                  <a:lnTo>
                    <a:pt x="10035" y="1387"/>
                  </a:lnTo>
                  <a:lnTo>
                    <a:pt x="10014" y="1370"/>
                  </a:lnTo>
                  <a:lnTo>
                    <a:pt x="9994" y="1351"/>
                  </a:lnTo>
                  <a:lnTo>
                    <a:pt x="9975" y="1332"/>
                  </a:lnTo>
                  <a:lnTo>
                    <a:pt x="9957" y="1312"/>
                  </a:lnTo>
                  <a:lnTo>
                    <a:pt x="9941" y="1289"/>
                  </a:lnTo>
                  <a:lnTo>
                    <a:pt x="9925" y="1268"/>
                  </a:lnTo>
                  <a:lnTo>
                    <a:pt x="9910" y="1245"/>
                  </a:lnTo>
                  <a:lnTo>
                    <a:pt x="9896" y="1220"/>
                  </a:lnTo>
                  <a:lnTo>
                    <a:pt x="9884" y="1195"/>
                  </a:lnTo>
                  <a:lnTo>
                    <a:pt x="9873" y="1169"/>
                  </a:lnTo>
                  <a:lnTo>
                    <a:pt x="9864" y="1143"/>
                  </a:lnTo>
                  <a:lnTo>
                    <a:pt x="9854" y="1114"/>
                  </a:lnTo>
                  <a:lnTo>
                    <a:pt x="9847" y="1087"/>
                  </a:lnTo>
                  <a:lnTo>
                    <a:pt x="9841" y="1057"/>
                  </a:lnTo>
                  <a:lnTo>
                    <a:pt x="9836" y="1028"/>
                  </a:lnTo>
                  <a:lnTo>
                    <a:pt x="9833" y="998"/>
                  </a:lnTo>
                  <a:lnTo>
                    <a:pt x="9831" y="966"/>
                  </a:lnTo>
                  <a:lnTo>
                    <a:pt x="9830" y="933"/>
                  </a:lnTo>
                  <a:lnTo>
                    <a:pt x="9831" y="901"/>
                  </a:lnTo>
                  <a:lnTo>
                    <a:pt x="9833" y="869"/>
                  </a:lnTo>
                  <a:lnTo>
                    <a:pt x="9836" y="839"/>
                  </a:lnTo>
                  <a:lnTo>
                    <a:pt x="9840" y="808"/>
                  </a:lnTo>
                  <a:lnTo>
                    <a:pt x="9846" y="779"/>
                  </a:lnTo>
                  <a:lnTo>
                    <a:pt x="9853" y="750"/>
                  </a:lnTo>
                  <a:lnTo>
                    <a:pt x="9863" y="723"/>
                  </a:lnTo>
                  <a:lnTo>
                    <a:pt x="9872" y="696"/>
                  </a:lnTo>
                  <a:lnTo>
                    <a:pt x="9883" y="670"/>
                  </a:lnTo>
                  <a:lnTo>
                    <a:pt x="9894" y="645"/>
                  </a:lnTo>
                  <a:lnTo>
                    <a:pt x="9907" y="620"/>
                  </a:lnTo>
                  <a:lnTo>
                    <a:pt x="9923" y="597"/>
                  </a:lnTo>
                  <a:lnTo>
                    <a:pt x="9938" y="575"/>
                  </a:lnTo>
                  <a:lnTo>
                    <a:pt x="9954" y="553"/>
                  </a:lnTo>
                  <a:lnTo>
                    <a:pt x="9971" y="533"/>
                  </a:lnTo>
                  <a:lnTo>
                    <a:pt x="9991" y="513"/>
                  </a:lnTo>
                  <a:lnTo>
                    <a:pt x="10010" y="496"/>
                  </a:lnTo>
                  <a:lnTo>
                    <a:pt x="10031" y="479"/>
                  </a:lnTo>
                  <a:lnTo>
                    <a:pt x="10053" y="463"/>
                  </a:lnTo>
                  <a:lnTo>
                    <a:pt x="10075" y="447"/>
                  </a:lnTo>
                  <a:lnTo>
                    <a:pt x="10099" y="433"/>
                  </a:lnTo>
                  <a:lnTo>
                    <a:pt x="10124" y="420"/>
                  </a:lnTo>
                  <a:lnTo>
                    <a:pt x="10149" y="409"/>
                  </a:lnTo>
                  <a:lnTo>
                    <a:pt x="10176" y="399"/>
                  </a:lnTo>
                  <a:lnTo>
                    <a:pt x="10203" y="388"/>
                  </a:lnTo>
                  <a:lnTo>
                    <a:pt x="10232" y="380"/>
                  </a:lnTo>
                  <a:lnTo>
                    <a:pt x="10261" y="373"/>
                  </a:lnTo>
                  <a:lnTo>
                    <a:pt x="10291" y="368"/>
                  </a:lnTo>
                  <a:lnTo>
                    <a:pt x="10322" y="363"/>
                  </a:lnTo>
                  <a:lnTo>
                    <a:pt x="10354" y="360"/>
                  </a:lnTo>
                  <a:lnTo>
                    <a:pt x="10386" y="358"/>
                  </a:lnTo>
                  <a:lnTo>
                    <a:pt x="10419" y="358"/>
                  </a:lnTo>
                  <a:lnTo>
                    <a:pt x="10445" y="358"/>
                  </a:lnTo>
                  <a:lnTo>
                    <a:pt x="10471" y="359"/>
                  </a:lnTo>
                  <a:lnTo>
                    <a:pt x="10496" y="360"/>
                  </a:lnTo>
                  <a:lnTo>
                    <a:pt x="10521" y="362"/>
                  </a:lnTo>
                  <a:lnTo>
                    <a:pt x="10544" y="365"/>
                  </a:lnTo>
                  <a:lnTo>
                    <a:pt x="10567" y="368"/>
                  </a:lnTo>
                  <a:lnTo>
                    <a:pt x="10591" y="372"/>
                  </a:lnTo>
                  <a:lnTo>
                    <a:pt x="10613" y="377"/>
                  </a:lnTo>
                  <a:lnTo>
                    <a:pt x="10634" y="382"/>
                  </a:lnTo>
                  <a:lnTo>
                    <a:pt x="10656" y="388"/>
                  </a:lnTo>
                  <a:lnTo>
                    <a:pt x="10676" y="395"/>
                  </a:lnTo>
                  <a:lnTo>
                    <a:pt x="10696" y="402"/>
                  </a:lnTo>
                  <a:lnTo>
                    <a:pt x="10716" y="409"/>
                  </a:lnTo>
                  <a:lnTo>
                    <a:pt x="10735" y="417"/>
                  </a:lnTo>
                  <a:lnTo>
                    <a:pt x="10754" y="425"/>
                  </a:lnTo>
                  <a:lnTo>
                    <a:pt x="10773" y="435"/>
                  </a:lnTo>
                  <a:lnTo>
                    <a:pt x="10790" y="444"/>
                  </a:lnTo>
                  <a:lnTo>
                    <a:pt x="10807" y="455"/>
                  </a:lnTo>
                  <a:lnTo>
                    <a:pt x="10825" y="466"/>
                  </a:lnTo>
                  <a:lnTo>
                    <a:pt x="10842" y="477"/>
                  </a:lnTo>
                  <a:lnTo>
                    <a:pt x="10858" y="489"/>
                  </a:lnTo>
                  <a:lnTo>
                    <a:pt x="10873" y="502"/>
                  </a:lnTo>
                  <a:lnTo>
                    <a:pt x="10890" y="515"/>
                  </a:lnTo>
                  <a:lnTo>
                    <a:pt x="10904" y="529"/>
                  </a:lnTo>
                  <a:lnTo>
                    <a:pt x="10919" y="543"/>
                  </a:lnTo>
                  <a:lnTo>
                    <a:pt x="10933" y="557"/>
                  </a:lnTo>
                  <a:lnTo>
                    <a:pt x="10948" y="572"/>
                  </a:lnTo>
                  <a:lnTo>
                    <a:pt x="10962" y="589"/>
                  </a:lnTo>
                  <a:lnTo>
                    <a:pt x="10975" y="605"/>
                  </a:lnTo>
                  <a:lnTo>
                    <a:pt x="10988" y="621"/>
                  </a:lnTo>
                  <a:lnTo>
                    <a:pt x="11002" y="639"/>
                  </a:lnTo>
                  <a:lnTo>
                    <a:pt x="11015" y="657"/>
                  </a:lnTo>
                  <a:lnTo>
                    <a:pt x="11327" y="4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2" name="Freeform 6"/>
            <p:cNvSpPr>
              <a:spLocks noEditPoints="1"/>
            </p:cNvSpPr>
            <p:nvPr userDrawn="1"/>
          </p:nvSpPr>
          <p:spPr bwMode="auto">
            <a:xfrm>
              <a:off x="490538" y="487363"/>
              <a:ext cx="466725" cy="455612"/>
            </a:xfrm>
            <a:custGeom>
              <a:avLst/>
              <a:gdLst>
                <a:gd name="T0" fmla="*/ 1853 w 3532"/>
                <a:gd name="T1" fmla="*/ 1336 h 3444"/>
                <a:gd name="T2" fmla="*/ 1828 w 3532"/>
                <a:gd name="T3" fmla="*/ 1351 h 3444"/>
                <a:gd name="T4" fmla="*/ 1795 w 3532"/>
                <a:gd name="T5" fmla="*/ 1349 h 3444"/>
                <a:gd name="T6" fmla="*/ 1104 w 3532"/>
                <a:gd name="T7" fmla="*/ 1069 h 3444"/>
                <a:gd name="T8" fmla="*/ 1071 w 3532"/>
                <a:gd name="T9" fmla="*/ 1010 h 3444"/>
                <a:gd name="T10" fmla="*/ 1204 w 3532"/>
                <a:gd name="T11" fmla="*/ 141 h 3444"/>
                <a:gd name="T12" fmla="*/ 1231 w 3532"/>
                <a:gd name="T13" fmla="*/ 77 h 3444"/>
                <a:gd name="T14" fmla="*/ 1287 w 3532"/>
                <a:gd name="T15" fmla="*/ 37 h 3444"/>
                <a:gd name="T16" fmla="*/ 2026 w 3532"/>
                <a:gd name="T17" fmla="*/ 0 h 3444"/>
                <a:gd name="T18" fmla="*/ 2055 w 3532"/>
                <a:gd name="T19" fmla="*/ 11 h 3444"/>
                <a:gd name="T20" fmla="*/ 2072 w 3532"/>
                <a:gd name="T21" fmla="*/ 37 h 3444"/>
                <a:gd name="T22" fmla="*/ 1399 w 3532"/>
                <a:gd name="T23" fmla="*/ 1554 h 3444"/>
                <a:gd name="T24" fmla="*/ 1417 w 3532"/>
                <a:gd name="T25" fmla="*/ 1578 h 3444"/>
                <a:gd name="T26" fmla="*/ 1414 w 3532"/>
                <a:gd name="T27" fmla="*/ 1610 h 3444"/>
                <a:gd name="T28" fmla="*/ 958 w 3532"/>
                <a:gd name="T29" fmla="*/ 2172 h 3444"/>
                <a:gd name="T30" fmla="*/ 893 w 3532"/>
                <a:gd name="T31" fmla="*/ 2208 h 3444"/>
                <a:gd name="T32" fmla="*/ 826 w 3532"/>
                <a:gd name="T33" fmla="*/ 2201 h 3444"/>
                <a:gd name="T34" fmla="*/ 45 w 3532"/>
                <a:gd name="T35" fmla="*/ 1796 h 3444"/>
                <a:gd name="T36" fmla="*/ 6 w 3532"/>
                <a:gd name="T37" fmla="*/ 1741 h 3444"/>
                <a:gd name="T38" fmla="*/ 4 w 3532"/>
                <a:gd name="T39" fmla="*/ 1664 h 3444"/>
                <a:gd name="T40" fmla="*/ 200 w 3532"/>
                <a:gd name="T41" fmla="*/ 976 h 3444"/>
                <a:gd name="T42" fmla="*/ 226 w 3532"/>
                <a:gd name="T43" fmla="*/ 959 h 3444"/>
                <a:gd name="T44" fmla="*/ 255 w 3532"/>
                <a:gd name="T45" fmla="*/ 963 h 3444"/>
                <a:gd name="T46" fmla="*/ 1491 w 3532"/>
                <a:gd name="T47" fmla="*/ 2055 h 3444"/>
                <a:gd name="T48" fmla="*/ 1521 w 3532"/>
                <a:gd name="T49" fmla="*/ 2057 h 3444"/>
                <a:gd name="T50" fmla="*/ 1546 w 3532"/>
                <a:gd name="T51" fmla="*/ 2077 h 3444"/>
                <a:gd name="T52" fmla="*/ 1940 w 3532"/>
                <a:gd name="T53" fmla="*/ 2711 h 3444"/>
                <a:gd name="T54" fmla="*/ 1933 w 3532"/>
                <a:gd name="T55" fmla="*/ 2779 h 3444"/>
                <a:gd name="T56" fmla="*/ 1315 w 3532"/>
                <a:gd name="T57" fmla="*/ 3402 h 3444"/>
                <a:gd name="T58" fmla="*/ 1256 w 3532"/>
                <a:gd name="T59" fmla="*/ 3439 h 3444"/>
                <a:gd name="T60" fmla="*/ 1187 w 3532"/>
                <a:gd name="T61" fmla="*/ 3439 h 3444"/>
                <a:gd name="T62" fmla="*/ 567 w 3532"/>
                <a:gd name="T63" fmla="*/ 3035 h 3444"/>
                <a:gd name="T64" fmla="*/ 549 w 3532"/>
                <a:gd name="T65" fmla="*/ 3009 h 3444"/>
                <a:gd name="T66" fmla="*/ 551 w 3532"/>
                <a:gd name="T67" fmla="*/ 2978 h 3444"/>
                <a:gd name="T68" fmla="*/ 1987 w 3532"/>
                <a:gd name="T69" fmla="*/ 2144 h 3444"/>
                <a:gd name="T70" fmla="*/ 1988 w 3532"/>
                <a:gd name="T71" fmla="*/ 2114 h 3444"/>
                <a:gd name="T72" fmla="*/ 2009 w 3532"/>
                <a:gd name="T73" fmla="*/ 2091 h 3444"/>
                <a:gd name="T74" fmla="*/ 2707 w 3532"/>
                <a:gd name="T75" fmla="*/ 1899 h 3444"/>
                <a:gd name="T76" fmla="*/ 2780 w 3532"/>
                <a:gd name="T77" fmla="*/ 1910 h 3444"/>
                <a:gd name="T78" fmla="*/ 2832 w 3532"/>
                <a:gd name="T79" fmla="*/ 1953 h 3444"/>
                <a:gd name="T80" fmla="*/ 3229 w 3532"/>
                <a:gd name="T81" fmla="*/ 2739 h 3444"/>
                <a:gd name="T82" fmla="*/ 3227 w 3532"/>
                <a:gd name="T83" fmla="*/ 2806 h 3444"/>
                <a:gd name="T84" fmla="*/ 3184 w 3532"/>
                <a:gd name="T85" fmla="*/ 2871 h 3444"/>
                <a:gd name="T86" fmla="*/ 2624 w 3532"/>
                <a:gd name="T87" fmla="*/ 3314 h 3444"/>
                <a:gd name="T88" fmla="*/ 2593 w 3532"/>
                <a:gd name="T89" fmla="*/ 3313 h 3444"/>
                <a:gd name="T90" fmla="*/ 2570 w 3532"/>
                <a:gd name="T91" fmla="*/ 3292 h 3444"/>
                <a:gd name="T92" fmla="*/ 2206 w 3532"/>
                <a:gd name="T93" fmla="*/ 1686 h 3444"/>
                <a:gd name="T94" fmla="*/ 2183 w 3532"/>
                <a:gd name="T95" fmla="*/ 1667 h 3444"/>
                <a:gd name="T96" fmla="*/ 2176 w 3532"/>
                <a:gd name="T97" fmla="*/ 1635 h 3444"/>
                <a:gd name="T98" fmla="*/ 2229 w 3532"/>
                <a:gd name="T99" fmla="*/ 892 h 3444"/>
                <a:gd name="T100" fmla="*/ 2275 w 3532"/>
                <a:gd name="T101" fmla="*/ 841 h 3444"/>
                <a:gd name="T102" fmla="*/ 3142 w 3532"/>
                <a:gd name="T103" fmla="*/ 700 h 3444"/>
                <a:gd name="T104" fmla="*/ 3211 w 3532"/>
                <a:gd name="T105" fmla="*/ 706 h 3444"/>
                <a:gd name="T106" fmla="*/ 3268 w 3532"/>
                <a:gd name="T107" fmla="*/ 746 h 3444"/>
                <a:gd name="T108" fmla="*/ 3530 w 3532"/>
                <a:gd name="T109" fmla="*/ 1438 h 3444"/>
                <a:gd name="T110" fmla="*/ 3529 w 3532"/>
                <a:gd name="T111" fmla="*/ 1469 h 3444"/>
                <a:gd name="T112" fmla="*/ 3510 w 3532"/>
                <a:gd name="T113" fmla="*/ 1493 h 3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32" h="3444">
                  <a:moveTo>
                    <a:pt x="2072" y="52"/>
                  </a:moveTo>
                  <a:lnTo>
                    <a:pt x="1861" y="1317"/>
                  </a:lnTo>
                  <a:lnTo>
                    <a:pt x="1860" y="1322"/>
                  </a:lnTo>
                  <a:lnTo>
                    <a:pt x="1858" y="1327"/>
                  </a:lnTo>
                  <a:lnTo>
                    <a:pt x="1856" y="1332"/>
                  </a:lnTo>
                  <a:lnTo>
                    <a:pt x="1853" y="1336"/>
                  </a:lnTo>
                  <a:lnTo>
                    <a:pt x="1849" y="1340"/>
                  </a:lnTo>
                  <a:lnTo>
                    <a:pt x="1846" y="1343"/>
                  </a:lnTo>
                  <a:lnTo>
                    <a:pt x="1842" y="1346"/>
                  </a:lnTo>
                  <a:lnTo>
                    <a:pt x="1837" y="1348"/>
                  </a:lnTo>
                  <a:lnTo>
                    <a:pt x="1833" y="1350"/>
                  </a:lnTo>
                  <a:lnTo>
                    <a:pt x="1828" y="1351"/>
                  </a:lnTo>
                  <a:lnTo>
                    <a:pt x="1822" y="1352"/>
                  </a:lnTo>
                  <a:lnTo>
                    <a:pt x="1817" y="1353"/>
                  </a:lnTo>
                  <a:lnTo>
                    <a:pt x="1811" y="1352"/>
                  </a:lnTo>
                  <a:lnTo>
                    <a:pt x="1806" y="1352"/>
                  </a:lnTo>
                  <a:lnTo>
                    <a:pt x="1801" y="1351"/>
                  </a:lnTo>
                  <a:lnTo>
                    <a:pt x="1795" y="1349"/>
                  </a:lnTo>
                  <a:lnTo>
                    <a:pt x="1163" y="1105"/>
                  </a:lnTo>
                  <a:lnTo>
                    <a:pt x="1149" y="1099"/>
                  </a:lnTo>
                  <a:lnTo>
                    <a:pt x="1136" y="1092"/>
                  </a:lnTo>
                  <a:lnTo>
                    <a:pt x="1125" y="1085"/>
                  </a:lnTo>
                  <a:lnTo>
                    <a:pt x="1114" y="1077"/>
                  </a:lnTo>
                  <a:lnTo>
                    <a:pt x="1104" y="1069"/>
                  </a:lnTo>
                  <a:lnTo>
                    <a:pt x="1096" y="1060"/>
                  </a:lnTo>
                  <a:lnTo>
                    <a:pt x="1089" y="1050"/>
                  </a:lnTo>
                  <a:lnTo>
                    <a:pt x="1083" y="1041"/>
                  </a:lnTo>
                  <a:lnTo>
                    <a:pt x="1078" y="1031"/>
                  </a:lnTo>
                  <a:lnTo>
                    <a:pt x="1074" y="1020"/>
                  </a:lnTo>
                  <a:lnTo>
                    <a:pt x="1071" y="1010"/>
                  </a:lnTo>
                  <a:lnTo>
                    <a:pt x="1068" y="999"/>
                  </a:lnTo>
                  <a:lnTo>
                    <a:pt x="1067" y="986"/>
                  </a:lnTo>
                  <a:lnTo>
                    <a:pt x="1067" y="975"/>
                  </a:lnTo>
                  <a:lnTo>
                    <a:pt x="1068" y="963"/>
                  </a:lnTo>
                  <a:lnTo>
                    <a:pt x="1069" y="951"/>
                  </a:lnTo>
                  <a:lnTo>
                    <a:pt x="1204" y="141"/>
                  </a:lnTo>
                  <a:lnTo>
                    <a:pt x="1206" y="130"/>
                  </a:lnTo>
                  <a:lnTo>
                    <a:pt x="1209" y="118"/>
                  </a:lnTo>
                  <a:lnTo>
                    <a:pt x="1213" y="107"/>
                  </a:lnTo>
                  <a:lnTo>
                    <a:pt x="1218" y="97"/>
                  </a:lnTo>
                  <a:lnTo>
                    <a:pt x="1224" y="86"/>
                  </a:lnTo>
                  <a:lnTo>
                    <a:pt x="1231" y="77"/>
                  </a:lnTo>
                  <a:lnTo>
                    <a:pt x="1238" y="69"/>
                  </a:lnTo>
                  <a:lnTo>
                    <a:pt x="1246" y="61"/>
                  </a:lnTo>
                  <a:lnTo>
                    <a:pt x="1255" y="54"/>
                  </a:lnTo>
                  <a:lnTo>
                    <a:pt x="1265" y="47"/>
                  </a:lnTo>
                  <a:lnTo>
                    <a:pt x="1275" y="42"/>
                  </a:lnTo>
                  <a:lnTo>
                    <a:pt x="1287" y="37"/>
                  </a:lnTo>
                  <a:lnTo>
                    <a:pt x="1300" y="33"/>
                  </a:lnTo>
                  <a:lnTo>
                    <a:pt x="1313" y="29"/>
                  </a:lnTo>
                  <a:lnTo>
                    <a:pt x="1327" y="27"/>
                  </a:lnTo>
                  <a:lnTo>
                    <a:pt x="1342" y="26"/>
                  </a:lnTo>
                  <a:lnTo>
                    <a:pt x="2020" y="0"/>
                  </a:lnTo>
                  <a:lnTo>
                    <a:pt x="2026" y="0"/>
                  </a:lnTo>
                  <a:lnTo>
                    <a:pt x="2031" y="1"/>
                  </a:lnTo>
                  <a:lnTo>
                    <a:pt x="2036" y="2"/>
                  </a:lnTo>
                  <a:lnTo>
                    <a:pt x="2042" y="3"/>
                  </a:lnTo>
                  <a:lnTo>
                    <a:pt x="2046" y="5"/>
                  </a:lnTo>
                  <a:lnTo>
                    <a:pt x="2051" y="8"/>
                  </a:lnTo>
                  <a:lnTo>
                    <a:pt x="2055" y="11"/>
                  </a:lnTo>
                  <a:lnTo>
                    <a:pt x="2059" y="14"/>
                  </a:lnTo>
                  <a:lnTo>
                    <a:pt x="2062" y="18"/>
                  </a:lnTo>
                  <a:lnTo>
                    <a:pt x="2066" y="22"/>
                  </a:lnTo>
                  <a:lnTo>
                    <a:pt x="2068" y="26"/>
                  </a:lnTo>
                  <a:lnTo>
                    <a:pt x="2070" y="32"/>
                  </a:lnTo>
                  <a:lnTo>
                    <a:pt x="2072" y="37"/>
                  </a:lnTo>
                  <a:lnTo>
                    <a:pt x="2072" y="42"/>
                  </a:lnTo>
                  <a:lnTo>
                    <a:pt x="2073" y="47"/>
                  </a:lnTo>
                  <a:lnTo>
                    <a:pt x="2072" y="52"/>
                  </a:lnTo>
                  <a:close/>
                  <a:moveTo>
                    <a:pt x="255" y="963"/>
                  </a:moveTo>
                  <a:lnTo>
                    <a:pt x="1394" y="1551"/>
                  </a:lnTo>
                  <a:lnTo>
                    <a:pt x="1399" y="1554"/>
                  </a:lnTo>
                  <a:lnTo>
                    <a:pt x="1403" y="1557"/>
                  </a:lnTo>
                  <a:lnTo>
                    <a:pt x="1408" y="1561"/>
                  </a:lnTo>
                  <a:lnTo>
                    <a:pt x="1411" y="1565"/>
                  </a:lnTo>
                  <a:lnTo>
                    <a:pt x="1413" y="1569"/>
                  </a:lnTo>
                  <a:lnTo>
                    <a:pt x="1415" y="1574"/>
                  </a:lnTo>
                  <a:lnTo>
                    <a:pt x="1417" y="1578"/>
                  </a:lnTo>
                  <a:lnTo>
                    <a:pt x="1418" y="1583"/>
                  </a:lnTo>
                  <a:lnTo>
                    <a:pt x="1418" y="1588"/>
                  </a:lnTo>
                  <a:lnTo>
                    <a:pt x="1418" y="1593"/>
                  </a:lnTo>
                  <a:lnTo>
                    <a:pt x="1417" y="1599"/>
                  </a:lnTo>
                  <a:lnTo>
                    <a:pt x="1416" y="1605"/>
                  </a:lnTo>
                  <a:lnTo>
                    <a:pt x="1414" y="1610"/>
                  </a:lnTo>
                  <a:lnTo>
                    <a:pt x="1412" y="1614"/>
                  </a:lnTo>
                  <a:lnTo>
                    <a:pt x="1409" y="1619"/>
                  </a:lnTo>
                  <a:lnTo>
                    <a:pt x="1405" y="1624"/>
                  </a:lnTo>
                  <a:lnTo>
                    <a:pt x="978" y="2151"/>
                  </a:lnTo>
                  <a:lnTo>
                    <a:pt x="969" y="2162"/>
                  </a:lnTo>
                  <a:lnTo>
                    <a:pt x="958" y="2172"/>
                  </a:lnTo>
                  <a:lnTo>
                    <a:pt x="948" y="2181"/>
                  </a:lnTo>
                  <a:lnTo>
                    <a:pt x="938" y="2188"/>
                  </a:lnTo>
                  <a:lnTo>
                    <a:pt x="926" y="2195"/>
                  </a:lnTo>
                  <a:lnTo>
                    <a:pt x="915" y="2200"/>
                  </a:lnTo>
                  <a:lnTo>
                    <a:pt x="904" y="2204"/>
                  </a:lnTo>
                  <a:lnTo>
                    <a:pt x="893" y="2208"/>
                  </a:lnTo>
                  <a:lnTo>
                    <a:pt x="882" y="2209"/>
                  </a:lnTo>
                  <a:lnTo>
                    <a:pt x="871" y="2210"/>
                  </a:lnTo>
                  <a:lnTo>
                    <a:pt x="859" y="2209"/>
                  </a:lnTo>
                  <a:lnTo>
                    <a:pt x="848" y="2208"/>
                  </a:lnTo>
                  <a:lnTo>
                    <a:pt x="837" y="2206"/>
                  </a:lnTo>
                  <a:lnTo>
                    <a:pt x="826" y="2201"/>
                  </a:lnTo>
                  <a:lnTo>
                    <a:pt x="815" y="2197"/>
                  </a:lnTo>
                  <a:lnTo>
                    <a:pt x="803" y="2192"/>
                  </a:lnTo>
                  <a:lnTo>
                    <a:pt x="74" y="1816"/>
                  </a:lnTo>
                  <a:lnTo>
                    <a:pt x="64" y="1810"/>
                  </a:lnTo>
                  <a:lnTo>
                    <a:pt x="54" y="1803"/>
                  </a:lnTo>
                  <a:lnTo>
                    <a:pt x="45" y="1796"/>
                  </a:lnTo>
                  <a:lnTo>
                    <a:pt x="37" y="1789"/>
                  </a:lnTo>
                  <a:lnTo>
                    <a:pt x="28" y="1779"/>
                  </a:lnTo>
                  <a:lnTo>
                    <a:pt x="21" y="1771"/>
                  </a:lnTo>
                  <a:lnTo>
                    <a:pt x="15" y="1761"/>
                  </a:lnTo>
                  <a:lnTo>
                    <a:pt x="10" y="1751"/>
                  </a:lnTo>
                  <a:lnTo>
                    <a:pt x="6" y="1741"/>
                  </a:lnTo>
                  <a:lnTo>
                    <a:pt x="3" y="1729"/>
                  </a:lnTo>
                  <a:lnTo>
                    <a:pt x="1" y="1717"/>
                  </a:lnTo>
                  <a:lnTo>
                    <a:pt x="0" y="1704"/>
                  </a:lnTo>
                  <a:lnTo>
                    <a:pt x="0" y="1691"/>
                  </a:lnTo>
                  <a:lnTo>
                    <a:pt x="1" y="1678"/>
                  </a:lnTo>
                  <a:lnTo>
                    <a:pt x="4" y="1664"/>
                  </a:lnTo>
                  <a:lnTo>
                    <a:pt x="7" y="1648"/>
                  </a:lnTo>
                  <a:lnTo>
                    <a:pt x="190" y="995"/>
                  </a:lnTo>
                  <a:lnTo>
                    <a:pt x="192" y="990"/>
                  </a:lnTo>
                  <a:lnTo>
                    <a:pt x="194" y="985"/>
                  </a:lnTo>
                  <a:lnTo>
                    <a:pt x="197" y="980"/>
                  </a:lnTo>
                  <a:lnTo>
                    <a:pt x="200" y="976"/>
                  </a:lnTo>
                  <a:lnTo>
                    <a:pt x="203" y="972"/>
                  </a:lnTo>
                  <a:lnTo>
                    <a:pt x="207" y="969"/>
                  </a:lnTo>
                  <a:lnTo>
                    <a:pt x="212" y="965"/>
                  </a:lnTo>
                  <a:lnTo>
                    <a:pt x="216" y="963"/>
                  </a:lnTo>
                  <a:lnTo>
                    <a:pt x="221" y="961"/>
                  </a:lnTo>
                  <a:lnTo>
                    <a:pt x="226" y="959"/>
                  </a:lnTo>
                  <a:lnTo>
                    <a:pt x="230" y="958"/>
                  </a:lnTo>
                  <a:lnTo>
                    <a:pt x="235" y="958"/>
                  </a:lnTo>
                  <a:lnTo>
                    <a:pt x="240" y="958"/>
                  </a:lnTo>
                  <a:lnTo>
                    <a:pt x="245" y="959"/>
                  </a:lnTo>
                  <a:lnTo>
                    <a:pt x="250" y="960"/>
                  </a:lnTo>
                  <a:lnTo>
                    <a:pt x="255" y="963"/>
                  </a:lnTo>
                  <a:close/>
                  <a:moveTo>
                    <a:pt x="560" y="2966"/>
                  </a:moveTo>
                  <a:lnTo>
                    <a:pt x="1474" y="2066"/>
                  </a:lnTo>
                  <a:lnTo>
                    <a:pt x="1478" y="2062"/>
                  </a:lnTo>
                  <a:lnTo>
                    <a:pt x="1482" y="2059"/>
                  </a:lnTo>
                  <a:lnTo>
                    <a:pt x="1487" y="2057"/>
                  </a:lnTo>
                  <a:lnTo>
                    <a:pt x="1491" y="2055"/>
                  </a:lnTo>
                  <a:lnTo>
                    <a:pt x="1496" y="2054"/>
                  </a:lnTo>
                  <a:lnTo>
                    <a:pt x="1501" y="2053"/>
                  </a:lnTo>
                  <a:lnTo>
                    <a:pt x="1506" y="2054"/>
                  </a:lnTo>
                  <a:lnTo>
                    <a:pt x="1511" y="2054"/>
                  </a:lnTo>
                  <a:lnTo>
                    <a:pt x="1516" y="2055"/>
                  </a:lnTo>
                  <a:lnTo>
                    <a:pt x="1521" y="2057"/>
                  </a:lnTo>
                  <a:lnTo>
                    <a:pt x="1526" y="2059"/>
                  </a:lnTo>
                  <a:lnTo>
                    <a:pt x="1531" y="2062"/>
                  </a:lnTo>
                  <a:lnTo>
                    <a:pt x="1535" y="2065"/>
                  </a:lnTo>
                  <a:lnTo>
                    <a:pt x="1539" y="2069"/>
                  </a:lnTo>
                  <a:lnTo>
                    <a:pt x="1543" y="2073"/>
                  </a:lnTo>
                  <a:lnTo>
                    <a:pt x="1546" y="2077"/>
                  </a:lnTo>
                  <a:lnTo>
                    <a:pt x="1914" y="2647"/>
                  </a:lnTo>
                  <a:lnTo>
                    <a:pt x="1922" y="2660"/>
                  </a:lnTo>
                  <a:lnTo>
                    <a:pt x="1928" y="2673"/>
                  </a:lnTo>
                  <a:lnTo>
                    <a:pt x="1933" y="2685"/>
                  </a:lnTo>
                  <a:lnTo>
                    <a:pt x="1937" y="2699"/>
                  </a:lnTo>
                  <a:lnTo>
                    <a:pt x="1940" y="2711"/>
                  </a:lnTo>
                  <a:lnTo>
                    <a:pt x="1941" y="2723"/>
                  </a:lnTo>
                  <a:lnTo>
                    <a:pt x="1942" y="2734"/>
                  </a:lnTo>
                  <a:lnTo>
                    <a:pt x="1941" y="2745"/>
                  </a:lnTo>
                  <a:lnTo>
                    <a:pt x="1939" y="2758"/>
                  </a:lnTo>
                  <a:lnTo>
                    <a:pt x="1936" y="2768"/>
                  </a:lnTo>
                  <a:lnTo>
                    <a:pt x="1933" y="2779"/>
                  </a:lnTo>
                  <a:lnTo>
                    <a:pt x="1928" y="2789"/>
                  </a:lnTo>
                  <a:lnTo>
                    <a:pt x="1922" y="2799"/>
                  </a:lnTo>
                  <a:lnTo>
                    <a:pt x="1915" y="2808"/>
                  </a:lnTo>
                  <a:lnTo>
                    <a:pt x="1908" y="2818"/>
                  </a:lnTo>
                  <a:lnTo>
                    <a:pt x="1900" y="2827"/>
                  </a:lnTo>
                  <a:lnTo>
                    <a:pt x="1315" y="3402"/>
                  </a:lnTo>
                  <a:lnTo>
                    <a:pt x="1307" y="3410"/>
                  </a:lnTo>
                  <a:lnTo>
                    <a:pt x="1297" y="3419"/>
                  </a:lnTo>
                  <a:lnTo>
                    <a:pt x="1288" y="3425"/>
                  </a:lnTo>
                  <a:lnTo>
                    <a:pt x="1277" y="3431"/>
                  </a:lnTo>
                  <a:lnTo>
                    <a:pt x="1267" y="3435"/>
                  </a:lnTo>
                  <a:lnTo>
                    <a:pt x="1256" y="3439"/>
                  </a:lnTo>
                  <a:lnTo>
                    <a:pt x="1245" y="3442"/>
                  </a:lnTo>
                  <a:lnTo>
                    <a:pt x="1234" y="3443"/>
                  </a:lnTo>
                  <a:lnTo>
                    <a:pt x="1222" y="3444"/>
                  </a:lnTo>
                  <a:lnTo>
                    <a:pt x="1211" y="3443"/>
                  </a:lnTo>
                  <a:lnTo>
                    <a:pt x="1199" y="3442"/>
                  </a:lnTo>
                  <a:lnTo>
                    <a:pt x="1187" y="3439"/>
                  </a:lnTo>
                  <a:lnTo>
                    <a:pt x="1174" y="3435"/>
                  </a:lnTo>
                  <a:lnTo>
                    <a:pt x="1161" y="3430"/>
                  </a:lnTo>
                  <a:lnTo>
                    <a:pt x="1148" y="3423"/>
                  </a:lnTo>
                  <a:lnTo>
                    <a:pt x="1136" y="3415"/>
                  </a:lnTo>
                  <a:lnTo>
                    <a:pt x="572" y="3038"/>
                  </a:lnTo>
                  <a:lnTo>
                    <a:pt x="567" y="3035"/>
                  </a:lnTo>
                  <a:lnTo>
                    <a:pt x="563" y="3031"/>
                  </a:lnTo>
                  <a:lnTo>
                    <a:pt x="559" y="3027"/>
                  </a:lnTo>
                  <a:lnTo>
                    <a:pt x="556" y="3023"/>
                  </a:lnTo>
                  <a:lnTo>
                    <a:pt x="553" y="3018"/>
                  </a:lnTo>
                  <a:lnTo>
                    <a:pt x="551" y="3014"/>
                  </a:lnTo>
                  <a:lnTo>
                    <a:pt x="549" y="3009"/>
                  </a:lnTo>
                  <a:lnTo>
                    <a:pt x="548" y="3004"/>
                  </a:lnTo>
                  <a:lnTo>
                    <a:pt x="548" y="2999"/>
                  </a:lnTo>
                  <a:lnTo>
                    <a:pt x="548" y="2994"/>
                  </a:lnTo>
                  <a:lnTo>
                    <a:pt x="548" y="2988"/>
                  </a:lnTo>
                  <a:lnTo>
                    <a:pt x="549" y="2983"/>
                  </a:lnTo>
                  <a:lnTo>
                    <a:pt x="551" y="2978"/>
                  </a:lnTo>
                  <a:lnTo>
                    <a:pt x="553" y="2974"/>
                  </a:lnTo>
                  <a:lnTo>
                    <a:pt x="556" y="2970"/>
                  </a:lnTo>
                  <a:lnTo>
                    <a:pt x="560" y="2966"/>
                  </a:lnTo>
                  <a:close/>
                  <a:moveTo>
                    <a:pt x="2570" y="3292"/>
                  </a:moveTo>
                  <a:lnTo>
                    <a:pt x="1990" y="2150"/>
                  </a:lnTo>
                  <a:lnTo>
                    <a:pt x="1987" y="2144"/>
                  </a:lnTo>
                  <a:lnTo>
                    <a:pt x="1986" y="2139"/>
                  </a:lnTo>
                  <a:lnTo>
                    <a:pt x="1985" y="2134"/>
                  </a:lnTo>
                  <a:lnTo>
                    <a:pt x="1985" y="2128"/>
                  </a:lnTo>
                  <a:lnTo>
                    <a:pt x="1986" y="2124"/>
                  </a:lnTo>
                  <a:lnTo>
                    <a:pt x="1987" y="2119"/>
                  </a:lnTo>
                  <a:lnTo>
                    <a:pt x="1988" y="2114"/>
                  </a:lnTo>
                  <a:lnTo>
                    <a:pt x="1990" y="2110"/>
                  </a:lnTo>
                  <a:lnTo>
                    <a:pt x="1993" y="2105"/>
                  </a:lnTo>
                  <a:lnTo>
                    <a:pt x="1996" y="2101"/>
                  </a:lnTo>
                  <a:lnTo>
                    <a:pt x="2000" y="2098"/>
                  </a:lnTo>
                  <a:lnTo>
                    <a:pt x="2003" y="2094"/>
                  </a:lnTo>
                  <a:lnTo>
                    <a:pt x="2009" y="2091"/>
                  </a:lnTo>
                  <a:lnTo>
                    <a:pt x="2013" y="2088"/>
                  </a:lnTo>
                  <a:lnTo>
                    <a:pt x="2018" y="2086"/>
                  </a:lnTo>
                  <a:lnTo>
                    <a:pt x="2024" y="2084"/>
                  </a:lnTo>
                  <a:lnTo>
                    <a:pt x="2678" y="1906"/>
                  </a:lnTo>
                  <a:lnTo>
                    <a:pt x="2693" y="1902"/>
                  </a:lnTo>
                  <a:lnTo>
                    <a:pt x="2707" y="1899"/>
                  </a:lnTo>
                  <a:lnTo>
                    <a:pt x="2720" y="1898"/>
                  </a:lnTo>
                  <a:lnTo>
                    <a:pt x="2734" y="1898"/>
                  </a:lnTo>
                  <a:lnTo>
                    <a:pt x="2746" y="1900"/>
                  </a:lnTo>
                  <a:lnTo>
                    <a:pt x="2758" y="1902"/>
                  </a:lnTo>
                  <a:lnTo>
                    <a:pt x="2769" y="1906"/>
                  </a:lnTo>
                  <a:lnTo>
                    <a:pt x="2780" y="1910"/>
                  </a:lnTo>
                  <a:lnTo>
                    <a:pt x="2791" y="1915"/>
                  </a:lnTo>
                  <a:lnTo>
                    <a:pt x="2800" y="1921"/>
                  </a:lnTo>
                  <a:lnTo>
                    <a:pt x="2809" y="1928"/>
                  </a:lnTo>
                  <a:lnTo>
                    <a:pt x="2817" y="1936"/>
                  </a:lnTo>
                  <a:lnTo>
                    <a:pt x="2825" y="1944"/>
                  </a:lnTo>
                  <a:lnTo>
                    <a:pt x="2832" y="1953"/>
                  </a:lnTo>
                  <a:lnTo>
                    <a:pt x="2838" y="1963"/>
                  </a:lnTo>
                  <a:lnTo>
                    <a:pt x="2845" y="1974"/>
                  </a:lnTo>
                  <a:lnTo>
                    <a:pt x="3216" y="2706"/>
                  </a:lnTo>
                  <a:lnTo>
                    <a:pt x="3221" y="2717"/>
                  </a:lnTo>
                  <a:lnTo>
                    <a:pt x="3225" y="2727"/>
                  </a:lnTo>
                  <a:lnTo>
                    <a:pt x="3229" y="2739"/>
                  </a:lnTo>
                  <a:lnTo>
                    <a:pt x="3231" y="2751"/>
                  </a:lnTo>
                  <a:lnTo>
                    <a:pt x="3232" y="2762"/>
                  </a:lnTo>
                  <a:lnTo>
                    <a:pt x="3233" y="2773"/>
                  </a:lnTo>
                  <a:lnTo>
                    <a:pt x="3232" y="2784"/>
                  </a:lnTo>
                  <a:lnTo>
                    <a:pt x="3230" y="2795"/>
                  </a:lnTo>
                  <a:lnTo>
                    <a:pt x="3227" y="2806"/>
                  </a:lnTo>
                  <a:lnTo>
                    <a:pt x="3223" y="2818"/>
                  </a:lnTo>
                  <a:lnTo>
                    <a:pt x="3218" y="2829"/>
                  </a:lnTo>
                  <a:lnTo>
                    <a:pt x="3212" y="2839"/>
                  </a:lnTo>
                  <a:lnTo>
                    <a:pt x="3204" y="2850"/>
                  </a:lnTo>
                  <a:lnTo>
                    <a:pt x="3194" y="2860"/>
                  </a:lnTo>
                  <a:lnTo>
                    <a:pt x="3184" y="2871"/>
                  </a:lnTo>
                  <a:lnTo>
                    <a:pt x="3173" y="2881"/>
                  </a:lnTo>
                  <a:lnTo>
                    <a:pt x="2643" y="3304"/>
                  </a:lnTo>
                  <a:lnTo>
                    <a:pt x="2638" y="3307"/>
                  </a:lnTo>
                  <a:lnTo>
                    <a:pt x="2633" y="3310"/>
                  </a:lnTo>
                  <a:lnTo>
                    <a:pt x="2629" y="3312"/>
                  </a:lnTo>
                  <a:lnTo>
                    <a:pt x="2624" y="3314"/>
                  </a:lnTo>
                  <a:lnTo>
                    <a:pt x="2619" y="3315"/>
                  </a:lnTo>
                  <a:lnTo>
                    <a:pt x="2613" y="3316"/>
                  </a:lnTo>
                  <a:lnTo>
                    <a:pt x="2608" y="3316"/>
                  </a:lnTo>
                  <a:lnTo>
                    <a:pt x="2603" y="3315"/>
                  </a:lnTo>
                  <a:lnTo>
                    <a:pt x="2598" y="3314"/>
                  </a:lnTo>
                  <a:lnTo>
                    <a:pt x="2593" y="3313"/>
                  </a:lnTo>
                  <a:lnTo>
                    <a:pt x="2588" y="3311"/>
                  </a:lnTo>
                  <a:lnTo>
                    <a:pt x="2584" y="3308"/>
                  </a:lnTo>
                  <a:lnTo>
                    <a:pt x="2580" y="3305"/>
                  </a:lnTo>
                  <a:lnTo>
                    <a:pt x="2576" y="3302"/>
                  </a:lnTo>
                  <a:lnTo>
                    <a:pt x="2573" y="3297"/>
                  </a:lnTo>
                  <a:lnTo>
                    <a:pt x="2570" y="3292"/>
                  </a:lnTo>
                  <a:close/>
                  <a:moveTo>
                    <a:pt x="3494" y="1498"/>
                  </a:moveTo>
                  <a:lnTo>
                    <a:pt x="2227" y="1688"/>
                  </a:lnTo>
                  <a:lnTo>
                    <a:pt x="2222" y="1688"/>
                  </a:lnTo>
                  <a:lnTo>
                    <a:pt x="2216" y="1688"/>
                  </a:lnTo>
                  <a:lnTo>
                    <a:pt x="2211" y="1687"/>
                  </a:lnTo>
                  <a:lnTo>
                    <a:pt x="2206" y="1686"/>
                  </a:lnTo>
                  <a:lnTo>
                    <a:pt x="2202" y="1684"/>
                  </a:lnTo>
                  <a:lnTo>
                    <a:pt x="2198" y="1681"/>
                  </a:lnTo>
                  <a:lnTo>
                    <a:pt x="2194" y="1678"/>
                  </a:lnTo>
                  <a:lnTo>
                    <a:pt x="2190" y="1675"/>
                  </a:lnTo>
                  <a:lnTo>
                    <a:pt x="2187" y="1671"/>
                  </a:lnTo>
                  <a:lnTo>
                    <a:pt x="2183" y="1667"/>
                  </a:lnTo>
                  <a:lnTo>
                    <a:pt x="2181" y="1661"/>
                  </a:lnTo>
                  <a:lnTo>
                    <a:pt x="2179" y="1657"/>
                  </a:lnTo>
                  <a:lnTo>
                    <a:pt x="2177" y="1652"/>
                  </a:lnTo>
                  <a:lnTo>
                    <a:pt x="2176" y="1646"/>
                  </a:lnTo>
                  <a:lnTo>
                    <a:pt x="2176" y="1641"/>
                  </a:lnTo>
                  <a:lnTo>
                    <a:pt x="2176" y="1635"/>
                  </a:lnTo>
                  <a:lnTo>
                    <a:pt x="2213" y="959"/>
                  </a:lnTo>
                  <a:lnTo>
                    <a:pt x="2214" y="944"/>
                  </a:lnTo>
                  <a:lnTo>
                    <a:pt x="2217" y="929"/>
                  </a:lnTo>
                  <a:lnTo>
                    <a:pt x="2220" y="915"/>
                  </a:lnTo>
                  <a:lnTo>
                    <a:pt x="2224" y="903"/>
                  </a:lnTo>
                  <a:lnTo>
                    <a:pt x="2229" y="892"/>
                  </a:lnTo>
                  <a:lnTo>
                    <a:pt x="2235" y="881"/>
                  </a:lnTo>
                  <a:lnTo>
                    <a:pt x="2241" y="871"/>
                  </a:lnTo>
                  <a:lnTo>
                    <a:pt x="2250" y="862"/>
                  </a:lnTo>
                  <a:lnTo>
                    <a:pt x="2257" y="854"/>
                  </a:lnTo>
                  <a:lnTo>
                    <a:pt x="2266" y="847"/>
                  </a:lnTo>
                  <a:lnTo>
                    <a:pt x="2275" y="841"/>
                  </a:lnTo>
                  <a:lnTo>
                    <a:pt x="2285" y="836"/>
                  </a:lnTo>
                  <a:lnTo>
                    <a:pt x="2296" y="831"/>
                  </a:lnTo>
                  <a:lnTo>
                    <a:pt x="2307" y="827"/>
                  </a:lnTo>
                  <a:lnTo>
                    <a:pt x="2319" y="824"/>
                  </a:lnTo>
                  <a:lnTo>
                    <a:pt x="2331" y="822"/>
                  </a:lnTo>
                  <a:lnTo>
                    <a:pt x="3142" y="700"/>
                  </a:lnTo>
                  <a:lnTo>
                    <a:pt x="3154" y="699"/>
                  </a:lnTo>
                  <a:lnTo>
                    <a:pt x="3166" y="699"/>
                  </a:lnTo>
                  <a:lnTo>
                    <a:pt x="3177" y="699"/>
                  </a:lnTo>
                  <a:lnTo>
                    <a:pt x="3189" y="700"/>
                  </a:lnTo>
                  <a:lnTo>
                    <a:pt x="3200" y="702"/>
                  </a:lnTo>
                  <a:lnTo>
                    <a:pt x="3211" y="706"/>
                  </a:lnTo>
                  <a:lnTo>
                    <a:pt x="3222" y="710"/>
                  </a:lnTo>
                  <a:lnTo>
                    <a:pt x="3232" y="715"/>
                  </a:lnTo>
                  <a:lnTo>
                    <a:pt x="3241" y="721"/>
                  </a:lnTo>
                  <a:lnTo>
                    <a:pt x="3250" y="728"/>
                  </a:lnTo>
                  <a:lnTo>
                    <a:pt x="3259" y="737"/>
                  </a:lnTo>
                  <a:lnTo>
                    <a:pt x="3268" y="746"/>
                  </a:lnTo>
                  <a:lnTo>
                    <a:pt x="3275" y="758"/>
                  </a:lnTo>
                  <a:lnTo>
                    <a:pt x="3282" y="769"/>
                  </a:lnTo>
                  <a:lnTo>
                    <a:pt x="3289" y="782"/>
                  </a:lnTo>
                  <a:lnTo>
                    <a:pt x="3294" y="796"/>
                  </a:lnTo>
                  <a:lnTo>
                    <a:pt x="3529" y="1433"/>
                  </a:lnTo>
                  <a:lnTo>
                    <a:pt x="3530" y="1438"/>
                  </a:lnTo>
                  <a:lnTo>
                    <a:pt x="3531" y="1443"/>
                  </a:lnTo>
                  <a:lnTo>
                    <a:pt x="3532" y="1449"/>
                  </a:lnTo>
                  <a:lnTo>
                    <a:pt x="3532" y="1454"/>
                  </a:lnTo>
                  <a:lnTo>
                    <a:pt x="3531" y="1459"/>
                  </a:lnTo>
                  <a:lnTo>
                    <a:pt x="3530" y="1464"/>
                  </a:lnTo>
                  <a:lnTo>
                    <a:pt x="3529" y="1469"/>
                  </a:lnTo>
                  <a:lnTo>
                    <a:pt x="3527" y="1474"/>
                  </a:lnTo>
                  <a:lnTo>
                    <a:pt x="3525" y="1478"/>
                  </a:lnTo>
                  <a:lnTo>
                    <a:pt x="3522" y="1483"/>
                  </a:lnTo>
                  <a:lnTo>
                    <a:pt x="3518" y="1487"/>
                  </a:lnTo>
                  <a:lnTo>
                    <a:pt x="3515" y="1490"/>
                  </a:lnTo>
                  <a:lnTo>
                    <a:pt x="3510" y="1493"/>
                  </a:lnTo>
                  <a:lnTo>
                    <a:pt x="3506" y="1495"/>
                  </a:lnTo>
                  <a:lnTo>
                    <a:pt x="3501" y="1497"/>
                  </a:lnTo>
                  <a:lnTo>
                    <a:pt x="3494" y="1498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331251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4764185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Вертикальный заголовок и текст">
    <p:bg>
      <p:bgPr>
        <a:blipFill dpi="0" rotWithShape="1">
          <a:blip r:embed="rId2" cstate="print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4715" y="2028092"/>
            <a:ext cx="7401315" cy="4829908"/>
          </a:xfrm>
          <a:prstGeom prst="rect">
            <a:avLst/>
          </a:prstGeom>
        </p:spPr>
      </p:pic>
      <p:grpSp>
        <p:nvGrpSpPr>
          <p:cNvPr id="7" name="Группа 6"/>
          <p:cNvGrpSpPr/>
          <p:nvPr userDrawn="1"/>
        </p:nvGrpSpPr>
        <p:grpSpPr>
          <a:xfrm>
            <a:off x="531416" y="487363"/>
            <a:ext cx="2332038" cy="455612"/>
            <a:chOff x="490538" y="487363"/>
            <a:chExt cx="2152650" cy="455612"/>
          </a:xfrm>
        </p:grpSpPr>
        <p:sp>
          <p:nvSpPr>
            <p:cNvPr id="8" name="Freeform 5"/>
            <p:cNvSpPr>
              <a:spLocks noEditPoints="1"/>
            </p:cNvSpPr>
            <p:nvPr userDrawn="1"/>
          </p:nvSpPr>
          <p:spPr bwMode="auto">
            <a:xfrm>
              <a:off x="1144588" y="590550"/>
              <a:ext cx="1498600" cy="247650"/>
            </a:xfrm>
            <a:custGeom>
              <a:avLst/>
              <a:gdLst>
                <a:gd name="T0" fmla="*/ 2465 w 11327"/>
                <a:gd name="T1" fmla="*/ 803 h 1868"/>
                <a:gd name="T2" fmla="*/ 2667 w 11327"/>
                <a:gd name="T3" fmla="*/ 466 h 1868"/>
                <a:gd name="T4" fmla="*/ 3049 w 11327"/>
                <a:gd name="T5" fmla="*/ 345 h 1868"/>
                <a:gd name="T6" fmla="*/ 3430 w 11327"/>
                <a:gd name="T7" fmla="*/ 466 h 1868"/>
                <a:gd name="T8" fmla="*/ 3632 w 11327"/>
                <a:gd name="T9" fmla="*/ 803 h 1868"/>
                <a:gd name="T10" fmla="*/ 3574 w 11327"/>
                <a:gd name="T11" fmla="*/ 1233 h 1868"/>
                <a:gd name="T12" fmla="*/ 3284 w 11327"/>
                <a:gd name="T13" fmla="*/ 1483 h 1868"/>
                <a:gd name="T14" fmla="*/ 2870 w 11327"/>
                <a:gd name="T15" fmla="*/ 1500 h 1868"/>
                <a:gd name="T16" fmla="*/ 2553 w 11327"/>
                <a:gd name="T17" fmla="*/ 1281 h 1868"/>
                <a:gd name="T18" fmla="*/ 4046 w 11327"/>
                <a:gd name="T19" fmla="*/ 882 h 1868"/>
                <a:gd name="T20" fmla="*/ 3784 w 11327"/>
                <a:gd name="T21" fmla="*/ 289 h 1868"/>
                <a:gd name="T22" fmla="*/ 3199 w 11327"/>
                <a:gd name="T23" fmla="*/ 10 h 1868"/>
                <a:gd name="T24" fmla="*/ 2536 w 11327"/>
                <a:gd name="T25" fmla="*/ 125 h 1868"/>
                <a:gd name="T26" fmla="*/ 2113 w 11327"/>
                <a:gd name="T27" fmla="*/ 595 h 1868"/>
                <a:gd name="T28" fmla="*/ 2113 w 11327"/>
                <a:gd name="T29" fmla="*/ 1273 h 1868"/>
                <a:gd name="T30" fmla="*/ 2536 w 11327"/>
                <a:gd name="T31" fmla="*/ 1743 h 1868"/>
                <a:gd name="T32" fmla="*/ 3199 w 11327"/>
                <a:gd name="T33" fmla="*/ 1858 h 1868"/>
                <a:gd name="T34" fmla="*/ 3784 w 11327"/>
                <a:gd name="T35" fmla="*/ 1579 h 1868"/>
                <a:gd name="T36" fmla="*/ 4046 w 11327"/>
                <a:gd name="T37" fmla="*/ 985 h 1868"/>
                <a:gd name="T38" fmla="*/ 4444 w 11327"/>
                <a:gd name="T39" fmla="*/ 1443 h 1868"/>
                <a:gd name="T40" fmla="*/ 4540 w 11327"/>
                <a:gd name="T41" fmla="*/ 1808 h 1868"/>
                <a:gd name="T42" fmla="*/ 4811 w 11327"/>
                <a:gd name="T43" fmla="*/ 1650 h 1868"/>
                <a:gd name="T44" fmla="*/ 5796 w 11327"/>
                <a:gd name="T45" fmla="*/ 403 h 1868"/>
                <a:gd name="T46" fmla="*/ 7304 w 11327"/>
                <a:gd name="T47" fmla="*/ 1292 h 1868"/>
                <a:gd name="T48" fmla="*/ 7673 w 11327"/>
                <a:gd name="T49" fmla="*/ 1730 h 1868"/>
                <a:gd name="T50" fmla="*/ 8267 w 11327"/>
                <a:gd name="T51" fmla="*/ 1867 h 1868"/>
                <a:gd name="T52" fmla="*/ 8871 w 11327"/>
                <a:gd name="T53" fmla="*/ 1653 h 1868"/>
                <a:gd name="T54" fmla="*/ 9178 w 11327"/>
                <a:gd name="T55" fmla="*/ 1094 h 1868"/>
                <a:gd name="T56" fmla="*/ 9049 w 11327"/>
                <a:gd name="T57" fmla="*/ 414 h 1868"/>
                <a:gd name="T58" fmla="*/ 8552 w 11327"/>
                <a:gd name="T59" fmla="*/ 48 h 1868"/>
                <a:gd name="T60" fmla="*/ 7924 w 11327"/>
                <a:gd name="T61" fmla="*/ 36 h 1868"/>
                <a:gd name="T62" fmla="*/ 7459 w 11327"/>
                <a:gd name="T63" fmla="*/ 313 h 1868"/>
                <a:gd name="T64" fmla="*/ 6585 w 11327"/>
                <a:gd name="T65" fmla="*/ 42 h 1868"/>
                <a:gd name="T66" fmla="*/ 7740 w 11327"/>
                <a:gd name="T67" fmla="*/ 563 h 1868"/>
                <a:gd name="T68" fmla="*/ 8053 w 11327"/>
                <a:gd name="T69" fmla="*/ 361 h 1868"/>
                <a:gd name="T70" fmla="*/ 8492 w 11327"/>
                <a:gd name="T71" fmla="*/ 396 h 1868"/>
                <a:gd name="T72" fmla="*/ 8744 w 11327"/>
                <a:gd name="T73" fmla="*/ 660 h 1868"/>
                <a:gd name="T74" fmla="*/ 8775 w 11327"/>
                <a:gd name="T75" fmla="*/ 1095 h 1868"/>
                <a:gd name="T76" fmla="*/ 8585 w 11327"/>
                <a:gd name="T77" fmla="*/ 1418 h 1868"/>
                <a:gd name="T78" fmla="*/ 8182 w 11327"/>
                <a:gd name="T79" fmla="*/ 1522 h 1868"/>
                <a:gd name="T80" fmla="*/ 7807 w 11327"/>
                <a:gd name="T81" fmla="*/ 1385 h 1868"/>
                <a:gd name="T82" fmla="*/ 7649 w 11327"/>
                <a:gd name="T83" fmla="*/ 1033 h 1868"/>
                <a:gd name="T84" fmla="*/ 11121 w 11327"/>
                <a:gd name="T85" fmla="*/ 228 h 1868"/>
                <a:gd name="T86" fmla="*/ 10716 w 11327"/>
                <a:gd name="T87" fmla="*/ 30 h 1868"/>
                <a:gd name="T88" fmla="*/ 10126 w 11327"/>
                <a:gd name="T89" fmla="*/ 37 h 1868"/>
                <a:gd name="T90" fmla="*/ 9598 w 11327"/>
                <a:gd name="T91" fmla="*/ 385 h 1868"/>
                <a:gd name="T92" fmla="*/ 9435 w 11327"/>
                <a:gd name="T93" fmla="*/ 1039 h 1868"/>
                <a:gd name="T94" fmla="*/ 9714 w 11327"/>
                <a:gd name="T95" fmla="*/ 1617 h 1868"/>
                <a:gd name="T96" fmla="*/ 10320 w 11327"/>
                <a:gd name="T97" fmla="*/ 1863 h 1868"/>
                <a:gd name="T98" fmla="*/ 10845 w 11327"/>
                <a:gd name="T99" fmla="*/ 1799 h 1868"/>
                <a:gd name="T100" fmla="*/ 11211 w 11327"/>
                <a:gd name="T101" fmla="*/ 1551 h 1868"/>
                <a:gd name="T102" fmla="*/ 10919 w 11327"/>
                <a:gd name="T103" fmla="*/ 1325 h 1868"/>
                <a:gd name="T104" fmla="*/ 10676 w 11327"/>
                <a:gd name="T105" fmla="*/ 1473 h 1868"/>
                <a:gd name="T106" fmla="*/ 10324 w 11327"/>
                <a:gd name="T107" fmla="*/ 1504 h 1868"/>
                <a:gd name="T108" fmla="*/ 9975 w 11327"/>
                <a:gd name="T109" fmla="*/ 1332 h 1868"/>
                <a:gd name="T110" fmla="*/ 9831 w 11327"/>
                <a:gd name="T111" fmla="*/ 966 h 1868"/>
                <a:gd name="T112" fmla="*/ 9938 w 11327"/>
                <a:gd name="T113" fmla="*/ 575 h 1868"/>
                <a:gd name="T114" fmla="*/ 10261 w 11327"/>
                <a:gd name="T115" fmla="*/ 373 h 1868"/>
                <a:gd name="T116" fmla="*/ 10634 w 11327"/>
                <a:gd name="T117" fmla="*/ 382 h 1868"/>
                <a:gd name="T118" fmla="*/ 10890 w 11327"/>
                <a:gd name="T119" fmla="*/ 515 h 1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27" h="1868">
                  <a:moveTo>
                    <a:pt x="0" y="42"/>
                  </a:moveTo>
                  <a:lnTo>
                    <a:pt x="0" y="1822"/>
                  </a:lnTo>
                  <a:lnTo>
                    <a:pt x="399" y="1822"/>
                  </a:lnTo>
                  <a:lnTo>
                    <a:pt x="399" y="400"/>
                  </a:lnTo>
                  <a:lnTo>
                    <a:pt x="1352" y="400"/>
                  </a:lnTo>
                  <a:lnTo>
                    <a:pt x="1352" y="1822"/>
                  </a:lnTo>
                  <a:lnTo>
                    <a:pt x="1755" y="1822"/>
                  </a:lnTo>
                  <a:lnTo>
                    <a:pt x="1755" y="42"/>
                  </a:lnTo>
                  <a:lnTo>
                    <a:pt x="0" y="42"/>
                  </a:lnTo>
                  <a:close/>
                  <a:moveTo>
                    <a:pt x="2454" y="933"/>
                  </a:moveTo>
                  <a:lnTo>
                    <a:pt x="2454" y="900"/>
                  </a:lnTo>
                  <a:lnTo>
                    <a:pt x="2457" y="866"/>
                  </a:lnTo>
                  <a:lnTo>
                    <a:pt x="2460" y="835"/>
                  </a:lnTo>
                  <a:lnTo>
                    <a:pt x="2465" y="803"/>
                  </a:lnTo>
                  <a:lnTo>
                    <a:pt x="2472" y="773"/>
                  </a:lnTo>
                  <a:lnTo>
                    <a:pt x="2480" y="743"/>
                  </a:lnTo>
                  <a:lnTo>
                    <a:pt x="2489" y="715"/>
                  </a:lnTo>
                  <a:lnTo>
                    <a:pt x="2499" y="686"/>
                  </a:lnTo>
                  <a:lnTo>
                    <a:pt x="2511" y="660"/>
                  </a:lnTo>
                  <a:lnTo>
                    <a:pt x="2524" y="634"/>
                  </a:lnTo>
                  <a:lnTo>
                    <a:pt x="2538" y="610"/>
                  </a:lnTo>
                  <a:lnTo>
                    <a:pt x="2553" y="586"/>
                  </a:lnTo>
                  <a:lnTo>
                    <a:pt x="2570" y="563"/>
                  </a:lnTo>
                  <a:lnTo>
                    <a:pt x="2588" y="542"/>
                  </a:lnTo>
                  <a:lnTo>
                    <a:pt x="2606" y="521"/>
                  </a:lnTo>
                  <a:lnTo>
                    <a:pt x="2626" y="501"/>
                  </a:lnTo>
                  <a:lnTo>
                    <a:pt x="2646" y="483"/>
                  </a:lnTo>
                  <a:lnTo>
                    <a:pt x="2667" y="466"/>
                  </a:lnTo>
                  <a:lnTo>
                    <a:pt x="2691" y="449"/>
                  </a:lnTo>
                  <a:lnTo>
                    <a:pt x="2713" y="434"/>
                  </a:lnTo>
                  <a:lnTo>
                    <a:pt x="2737" y="420"/>
                  </a:lnTo>
                  <a:lnTo>
                    <a:pt x="2763" y="408"/>
                  </a:lnTo>
                  <a:lnTo>
                    <a:pt x="2788" y="396"/>
                  </a:lnTo>
                  <a:lnTo>
                    <a:pt x="2815" y="385"/>
                  </a:lnTo>
                  <a:lnTo>
                    <a:pt x="2842" y="375"/>
                  </a:lnTo>
                  <a:lnTo>
                    <a:pt x="2870" y="367"/>
                  </a:lnTo>
                  <a:lnTo>
                    <a:pt x="2898" y="361"/>
                  </a:lnTo>
                  <a:lnTo>
                    <a:pt x="2928" y="355"/>
                  </a:lnTo>
                  <a:lnTo>
                    <a:pt x="2957" y="351"/>
                  </a:lnTo>
                  <a:lnTo>
                    <a:pt x="2988" y="347"/>
                  </a:lnTo>
                  <a:lnTo>
                    <a:pt x="3018" y="345"/>
                  </a:lnTo>
                  <a:lnTo>
                    <a:pt x="3049" y="345"/>
                  </a:lnTo>
                  <a:lnTo>
                    <a:pt x="3080" y="345"/>
                  </a:lnTo>
                  <a:lnTo>
                    <a:pt x="3111" y="347"/>
                  </a:lnTo>
                  <a:lnTo>
                    <a:pt x="3141" y="351"/>
                  </a:lnTo>
                  <a:lnTo>
                    <a:pt x="3171" y="355"/>
                  </a:lnTo>
                  <a:lnTo>
                    <a:pt x="3200" y="361"/>
                  </a:lnTo>
                  <a:lnTo>
                    <a:pt x="3229" y="367"/>
                  </a:lnTo>
                  <a:lnTo>
                    <a:pt x="3256" y="375"/>
                  </a:lnTo>
                  <a:lnTo>
                    <a:pt x="3284" y="385"/>
                  </a:lnTo>
                  <a:lnTo>
                    <a:pt x="3310" y="396"/>
                  </a:lnTo>
                  <a:lnTo>
                    <a:pt x="3335" y="408"/>
                  </a:lnTo>
                  <a:lnTo>
                    <a:pt x="3361" y="420"/>
                  </a:lnTo>
                  <a:lnTo>
                    <a:pt x="3384" y="434"/>
                  </a:lnTo>
                  <a:lnTo>
                    <a:pt x="3408" y="449"/>
                  </a:lnTo>
                  <a:lnTo>
                    <a:pt x="3430" y="466"/>
                  </a:lnTo>
                  <a:lnTo>
                    <a:pt x="3452" y="483"/>
                  </a:lnTo>
                  <a:lnTo>
                    <a:pt x="3473" y="501"/>
                  </a:lnTo>
                  <a:lnTo>
                    <a:pt x="3492" y="521"/>
                  </a:lnTo>
                  <a:lnTo>
                    <a:pt x="3510" y="542"/>
                  </a:lnTo>
                  <a:lnTo>
                    <a:pt x="3528" y="563"/>
                  </a:lnTo>
                  <a:lnTo>
                    <a:pt x="3545" y="586"/>
                  </a:lnTo>
                  <a:lnTo>
                    <a:pt x="3560" y="610"/>
                  </a:lnTo>
                  <a:lnTo>
                    <a:pt x="3574" y="634"/>
                  </a:lnTo>
                  <a:lnTo>
                    <a:pt x="3587" y="660"/>
                  </a:lnTo>
                  <a:lnTo>
                    <a:pt x="3599" y="686"/>
                  </a:lnTo>
                  <a:lnTo>
                    <a:pt x="3609" y="715"/>
                  </a:lnTo>
                  <a:lnTo>
                    <a:pt x="3618" y="743"/>
                  </a:lnTo>
                  <a:lnTo>
                    <a:pt x="3626" y="773"/>
                  </a:lnTo>
                  <a:lnTo>
                    <a:pt x="3632" y="803"/>
                  </a:lnTo>
                  <a:lnTo>
                    <a:pt x="3637" y="835"/>
                  </a:lnTo>
                  <a:lnTo>
                    <a:pt x="3642" y="866"/>
                  </a:lnTo>
                  <a:lnTo>
                    <a:pt x="3644" y="900"/>
                  </a:lnTo>
                  <a:lnTo>
                    <a:pt x="3645" y="933"/>
                  </a:lnTo>
                  <a:lnTo>
                    <a:pt x="3644" y="968"/>
                  </a:lnTo>
                  <a:lnTo>
                    <a:pt x="3642" y="1001"/>
                  </a:lnTo>
                  <a:lnTo>
                    <a:pt x="3637" y="1033"/>
                  </a:lnTo>
                  <a:lnTo>
                    <a:pt x="3632" y="1065"/>
                  </a:lnTo>
                  <a:lnTo>
                    <a:pt x="3626" y="1095"/>
                  </a:lnTo>
                  <a:lnTo>
                    <a:pt x="3618" y="1125"/>
                  </a:lnTo>
                  <a:lnTo>
                    <a:pt x="3609" y="1153"/>
                  </a:lnTo>
                  <a:lnTo>
                    <a:pt x="3599" y="1181"/>
                  </a:lnTo>
                  <a:lnTo>
                    <a:pt x="3587" y="1207"/>
                  </a:lnTo>
                  <a:lnTo>
                    <a:pt x="3574" y="1233"/>
                  </a:lnTo>
                  <a:lnTo>
                    <a:pt x="3560" y="1258"/>
                  </a:lnTo>
                  <a:lnTo>
                    <a:pt x="3545" y="1281"/>
                  </a:lnTo>
                  <a:lnTo>
                    <a:pt x="3528" y="1305"/>
                  </a:lnTo>
                  <a:lnTo>
                    <a:pt x="3510" y="1326"/>
                  </a:lnTo>
                  <a:lnTo>
                    <a:pt x="3492" y="1346"/>
                  </a:lnTo>
                  <a:lnTo>
                    <a:pt x="3473" y="1366"/>
                  </a:lnTo>
                  <a:lnTo>
                    <a:pt x="3452" y="1385"/>
                  </a:lnTo>
                  <a:lnTo>
                    <a:pt x="3430" y="1402"/>
                  </a:lnTo>
                  <a:lnTo>
                    <a:pt x="3408" y="1418"/>
                  </a:lnTo>
                  <a:lnTo>
                    <a:pt x="3384" y="1434"/>
                  </a:lnTo>
                  <a:lnTo>
                    <a:pt x="3361" y="1447"/>
                  </a:lnTo>
                  <a:lnTo>
                    <a:pt x="3335" y="1460"/>
                  </a:lnTo>
                  <a:lnTo>
                    <a:pt x="3310" y="1472"/>
                  </a:lnTo>
                  <a:lnTo>
                    <a:pt x="3284" y="1483"/>
                  </a:lnTo>
                  <a:lnTo>
                    <a:pt x="3256" y="1492"/>
                  </a:lnTo>
                  <a:lnTo>
                    <a:pt x="3229" y="1500"/>
                  </a:lnTo>
                  <a:lnTo>
                    <a:pt x="3200" y="1507"/>
                  </a:lnTo>
                  <a:lnTo>
                    <a:pt x="3171" y="1513"/>
                  </a:lnTo>
                  <a:lnTo>
                    <a:pt x="3141" y="1517"/>
                  </a:lnTo>
                  <a:lnTo>
                    <a:pt x="3111" y="1520"/>
                  </a:lnTo>
                  <a:lnTo>
                    <a:pt x="3080" y="1522"/>
                  </a:lnTo>
                  <a:lnTo>
                    <a:pt x="3049" y="1523"/>
                  </a:lnTo>
                  <a:lnTo>
                    <a:pt x="3018" y="1522"/>
                  </a:lnTo>
                  <a:lnTo>
                    <a:pt x="2988" y="1520"/>
                  </a:lnTo>
                  <a:lnTo>
                    <a:pt x="2957" y="1517"/>
                  </a:lnTo>
                  <a:lnTo>
                    <a:pt x="2928" y="1513"/>
                  </a:lnTo>
                  <a:lnTo>
                    <a:pt x="2898" y="1507"/>
                  </a:lnTo>
                  <a:lnTo>
                    <a:pt x="2870" y="1500"/>
                  </a:lnTo>
                  <a:lnTo>
                    <a:pt x="2842" y="1492"/>
                  </a:lnTo>
                  <a:lnTo>
                    <a:pt x="2815" y="1483"/>
                  </a:lnTo>
                  <a:lnTo>
                    <a:pt x="2788" y="1472"/>
                  </a:lnTo>
                  <a:lnTo>
                    <a:pt x="2763" y="1460"/>
                  </a:lnTo>
                  <a:lnTo>
                    <a:pt x="2737" y="1447"/>
                  </a:lnTo>
                  <a:lnTo>
                    <a:pt x="2713" y="1434"/>
                  </a:lnTo>
                  <a:lnTo>
                    <a:pt x="2691" y="1418"/>
                  </a:lnTo>
                  <a:lnTo>
                    <a:pt x="2667" y="1402"/>
                  </a:lnTo>
                  <a:lnTo>
                    <a:pt x="2646" y="1385"/>
                  </a:lnTo>
                  <a:lnTo>
                    <a:pt x="2626" y="1366"/>
                  </a:lnTo>
                  <a:lnTo>
                    <a:pt x="2606" y="1346"/>
                  </a:lnTo>
                  <a:lnTo>
                    <a:pt x="2588" y="1326"/>
                  </a:lnTo>
                  <a:lnTo>
                    <a:pt x="2570" y="1305"/>
                  </a:lnTo>
                  <a:lnTo>
                    <a:pt x="2553" y="1281"/>
                  </a:lnTo>
                  <a:lnTo>
                    <a:pt x="2538" y="1258"/>
                  </a:lnTo>
                  <a:lnTo>
                    <a:pt x="2524" y="1233"/>
                  </a:lnTo>
                  <a:lnTo>
                    <a:pt x="2511" y="1207"/>
                  </a:lnTo>
                  <a:lnTo>
                    <a:pt x="2499" y="1181"/>
                  </a:lnTo>
                  <a:lnTo>
                    <a:pt x="2489" y="1153"/>
                  </a:lnTo>
                  <a:lnTo>
                    <a:pt x="2480" y="1125"/>
                  </a:lnTo>
                  <a:lnTo>
                    <a:pt x="2472" y="1095"/>
                  </a:lnTo>
                  <a:lnTo>
                    <a:pt x="2465" y="1065"/>
                  </a:lnTo>
                  <a:lnTo>
                    <a:pt x="2460" y="1033"/>
                  </a:lnTo>
                  <a:lnTo>
                    <a:pt x="2457" y="1001"/>
                  </a:lnTo>
                  <a:lnTo>
                    <a:pt x="2454" y="968"/>
                  </a:lnTo>
                  <a:lnTo>
                    <a:pt x="2454" y="933"/>
                  </a:lnTo>
                  <a:close/>
                  <a:moveTo>
                    <a:pt x="4047" y="933"/>
                  </a:moveTo>
                  <a:lnTo>
                    <a:pt x="4046" y="882"/>
                  </a:lnTo>
                  <a:lnTo>
                    <a:pt x="4042" y="831"/>
                  </a:lnTo>
                  <a:lnTo>
                    <a:pt x="4035" y="781"/>
                  </a:lnTo>
                  <a:lnTo>
                    <a:pt x="4026" y="733"/>
                  </a:lnTo>
                  <a:lnTo>
                    <a:pt x="4015" y="685"/>
                  </a:lnTo>
                  <a:lnTo>
                    <a:pt x="4002" y="640"/>
                  </a:lnTo>
                  <a:lnTo>
                    <a:pt x="3985" y="595"/>
                  </a:lnTo>
                  <a:lnTo>
                    <a:pt x="3967" y="551"/>
                  </a:lnTo>
                  <a:lnTo>
                    <a:pt x="3947" y="509"/>
                  </a:lnTo>
                  <a:lnTo>
                    <a:pt x="3924" y="469"/>
                  </a:lnTo>
                  <a:lnTo>
                    <a:pt x="3900" y="430"/>
                  </a:lnTo>
                  <a:lnTo>
                    <a:pt x="3874" y="392"/>
                  </a:lnTo>
                  <a:lnTo>
                    <a:pt x="3846" y="356"/>
                  </a:lnTo>
                  <a:lnTo>
                    <a:pt x="3815" y="321"/>
                  </a:lnTo>
                  <a:lnTo>
                    <a:pt x="3784" y="289"/>
                  </a:lnTo>
                  <a:lnTo>
                    <a:pt x="3751" y="257"/>
                  </a:lnTo>
                  <a:lnTo>
                    <a:pt x="3716" y="227"/>
                  </a:lnTo>
                  <a:lnTo>
                    <a:pt x="3679" y="199"/>
                  </a:lnTo>
                  <a:lnTo>
                    <a:pt x="3642" y="173"/>
                  </a:lnTo>
                  <a:lnTo>
                    <a:pt x="3603" y="147"/>
                  </a:lnTo>
                  <a:lnTo>
                    <a:pt x="3562" y="125"/>
                  </a:lnTo>
                  <a:lnTo>
                    <a:pt x="3521" y="104"/>
                  </a:lnTo>
                  <a:lnTo>
                    <a:pt x="3477" y="84"/>
                  </a:lnTo>
                  <a:lnTo>
                    <a:pt x="3433" y="67"/>
                  </a:lnTo>
                  <a:lnTo>
                    <a:pt x="3388" y="52"/>
                  </a:lnTo>
                  <a:lnTo>
                    <a:pt x="3342" y="39"/>
                  </a:lnTo>
                  <a:lnTo>
                    <a:pt x="3295" y="26"/>
                  </a:lnTo>
                  <a:lnTo>
                    <a:pt x="3247" y="17"/>
                  </a:lnTo>
                  <a:lnTo>
                    <a:pt x="3199" y="10"/>
                  </a:lnTo>
                  <a:lnTo>
                    <a:pt x="3149" y="4"/>
                  </a:lnTo>
                  <a:lnTo>
                    <a:pt x="3099" y="1"/>
                  </a:lnTo>
                  <a:lnTo>
                    <a:pt x="3049" y="0"/>
                  </a:lnTo>
                  <a:lnTo>
                    <a:pt x="2999" y="1"/>
                  </a:lnTo>
                  <a:lnTo>
                    <a:pt x="2949" y="4"/>
                  </a:lnTo>
                  <a:lnTo>
                    <a:pt x="2899" y="10"/>
                  </a:lnTo>
                  <a:lnTo>
                    <a:pt x="2851" y="17"/>
                  </a:lnTo>
                  <a:lnTo>
                    <a:pt x="2804" y="26"/>
                  </a:lnTo>
                  <a:lnTo>
                    <a:pt x="2756" y="39"/>
                  </a:lnTo>
                  <a:lnTo>
                    <a:pt x="2710" y="52"/>
                  </a:lnTo>
                  <a:lnTo>
                    <a:pt x="2665" y="67"/>
                  </a:lnTo>
                  <a:lnTo>
                    <a:pt x="2620" y="84"/>
                  </a:lnTo>
                  <a:lnTo>
                    <a:pt x="2578" y="104"/>
                  </a:lnTo>
                  <a:lnTo>
                    <a:pt x="2536" y="125"/>
                  </a:lnTo>
                  <a:lnTo>
                    <a:pt x="2495" y="147"/>
                  </a:lnTo>
                  <a:lnTo>
                    <a:pt x="2457" y="173"/>
                  </a:lnTo>
                  <a:lnTo>
                    <a:pt x="2418" y="199"/>
                  </a:lnTo>
                  <a:lnTo>
                    <a:pt x="2382" y="227"/>
                  </a:lnTo>
                  <a:lnTo>
                    <a:pt x="2347" y="257"/>
                  </a:lnTo>
                  <a:lnTo>
                    <a:pt x="2313" y="289"/>
                  </a:lnTo>
                  <a:lnTo>
                    <a:pt x="2282" y="321"/>
                  </a:lnTo>
                  <a:lnTo>
                    <a:pt x="2252" y="356"/>
                  </a:lnTo>
                  <a:lnTo>
                    <a:pt x="2224" y="392"/>
                  </a:lnTo>
                  <a:lnTo>
                    <a:pt x="2197" y="430"/>
                  </a:lnTo>
                  <a:lnTo>
                    <a:pt x="2173" y="469"/>
                  </a:lnTo>
                  <a:lnTo>
                    <a:pt x="2152" y="509"/>
                  </a:lnTo>
                  <a:lnTo>
                    <a:pt x="2131" y="551"/>
                  </a:lnTo>
                  <a:lnTo>
                    <a:pt x="2113" y="595"/>
                  </a:lnTo>
                  <a:lnTo>
                    <a:pt x="2097" y="640"/>
                  </a:lnTo>
                  <a:lnTo>
                    <a:pt x="2083" y="685"/>
                  </a:lnTo>
                  <a:lnTo>
                    <a:pt x="2071" y="733"/>
                  </a:lnTo>
                  <a:lnTo>
                    <a:pt x="2063" y="781"/>
                  </a:lnTo>
                  <a:lnTo>
                    <a:pt x="2056" y="831"/>
                  </a:lnTo>
                  <a:lnTo>
                    <a:pt x="2052" y="882"/>
                  </a:lnTo>
                  <a:lnTo>
                    <a:pt x="2051" y="933"/>
                  </a:lnTo>
                  <a:lnTo>
                    <a:pt x="2052" y="985"/>
                  </a:lnTo>
                  <a:lnTo>
                    <a:pt x="2056" y="1036"/>
                  </a:lnTo>
                  <a:lnTo>
                    <a:pt x="2063" y="1086"/>
                  </a:lnTo>
                  <a:lnTo>
                    <a:pt x="2071" y="1135"/>
                  </a:lnTo>
                  <a:lnTo>
                    <a:pt x="2083" y="1182"/>
                  </a:lnTo>
                  <a:lnTo>
                    <a:pt x="2097" y="1228"/>
                  </a:lnTo>
                  <a:lnTo>
                    <a:pt x="2113" y="1273"/>
                  </a:lnTo>
                  <a:lnTo>
                    <a:pt x="2131" y="1316"/>
                  </a:lnTo>
                  <a:lnTo>
                    <a:pt x="2152" y="1357"/>
                  </a:lnTo>
                  <a:lnTo>
                    <a:pt x="2173" y="1398"/>
                  </a:lnTo>
                  <a:lnTo>
                    <a:pt x="2197" y="1438"/>
                  </a:lnTo>
                  <a:lnTo>
                    <a:pt x="2224" y="1475"/>
                  </a:lnTo>
                  <a:lnTo>
                    <a:pt x="2252" y="1512"/>
                  </a:lnTo>
                  <a:lnTo>
                    <a:pt x="2282" y="1547"/>
                  </a:lnTo>
                  <a:lnTo>
                    <a:pt x="2313" y="1579"/>
                  </a:lnTo>
                  <a:lnTo>
                    <a:pt x="2347" y="1611"/>
                  </a:lnTo>
                  <a:lnTo>
                    <a:pt x="2382" y="1640"/>
                  </a:lnTo>
                  <a:lnTo>
                    <a:pt x="2418" y="1669"/>
                  </a:lnTo>
                  <a:lnTo>
                    <a:pt x="2457" y="1695"/>
                  </a:lnTo>
                  <a:lnTo>
                    <a:pt x="2495" y="1719"/>
                  </a:lnTo>
                  <a:lnTo>
                    <a:pt x="2536" y="1743"/>
                  </a:lnTo>
                  <a:lnTo>
                    <a:pt x="2578" y="1764"/>
                  </a:lnTo>
                  <a:lnTo>
                    <a:pt x="2620" y="1782"/>
                  </a:lnTo>
                  <a:lnTo>
                    <a:pt x="2665" y="1801"/>
                  </a:lnTo>
                  <a:lnTo>
                    <a:pt x="2710" y="1816"/>
                  </a:lnTo>
                  <a:lnTo>
                    <a:pt x="2756" y="1829"/>
                  </a:lnTo>
                  <a:lnTo>
                    <a:pt x="2804" y="1840"/>
                  </a:lnTo>
                  <a:lnTo>
                    <a:pt x="2851" y="1851"/>
                  </a:lnTo>
                  <a:lnTo>
                    <a:pt x="2899" y="1858"/>
                  </a:lnTo>
                  <a:lnTo>
                    <a:pt x="2949" y="1863"/>
                  </a:lnTo>
                  <a:lnTo>
                    <a:pt x="2999" y="1866"/>
                  </a:lnTo>
                  <a:lnTo>
                    <a:pt x="3049" y="1868"/>
                  </a:lnTo>
                  <a:lnTo>
                    <a:pt x="3099" y="1866"/>
                  </a:lnTo>
                  <a:lnTo>
                    <a:pt x="3149" y="1863"/>
                  </a:lnTo>
                  <a:lnTo>
                    <a:pt x="3199" y="1858"/>
                  </a:lnTo>
                  <a:lnTo>
                    <a:pt x="3247" y="1851"/>
                  </a:lnTo>
                  <a:lnTo>
                    <a:pt x="3295" y="1840"/>
                  </a:lnTo>
                  <a:lnTo>
                    <a:pt x="3342" y="1829"/>
                  </a:lnTo>
                  <a:lnTo>
                    <a:pt x="3388" y="1816"/>
                  </a:lnTo>
                  <a:lnTo>
                    <a:pt x="3433" y="1801"/>
                  </a:lnTo>
                  <a:lnTo>
                    <a:pt x="3477" y="1782"/>
                  </a:lnTo>
                  <a:lnTo>
                    <a:pt x="3521" y="1764"/>
                  </a:lnTo>
                  <a:lnTo>
                    <a:pt x="3562" y="1743"/>
                  </a:lnTo>
                  <a:lnTo>
                    <a:pt x="3603" y="1719"/>
                  </a:lnTo>
                  <a:lnTo>
                    <a:pt x="3642" y="1695"/>
                  </a:lnTo>
                  <a:lnTo>
                    <a:pt x="3679" y="1669"/>
                  </a:lnTo>
                  <a:lnTo>
                    <a:pt x="3716" y="1640"/>
                  </a:lnTo>
                  <a:lnTo>
                    <a:pt x="3751" y="1611"/>
                  </a:lnTo>
                  <a:lnTo>
                    <a:pt x="3784" y="1579"/>
                  </a:lnTo>
                  <a:lnTo>
                    <a:pt x="3815" y="1547"/>
                  </a:lnTo>
                  <a:lnTo>
                    <a:pt x="3846" y="1512"/>
                  </a:lnTo>
                  <a:lnTo>
                    <a:pt x="3874" y="1475"/>
                  </a:lnTo>
                  <a:lnTo>
                    <a:pt x="3900" y="1438"/>
                  </a:lnTo>
                  <a:lnTo>
                    <a:pt x="3924" y="1398"/>
                  </a:lnTo>
                  <a:lnTo>
                    <a:pt x="3947" y="1357"/>
                  </a:lnTo>
                  <a:lnTo>
                    <a:pt x="3967" y="1316"/>
                  </a:lnTo>
                  <a:lnTo>
                    <a:pt x="3985" y="1273"/>
                  </a:lnTo>
                  <a:lnTo>
                    <a:pt x="4002" y="1228"/>
                  </a:lnTo>
                  <a:lnTo>
                    <a:pt x="4015" y="1182"/>
                  </a:lnTo>
                  <a:lnTo>
                    <a:pt x="4026" y="1135"/>
                  </a:lnTo>
                  <a:lnTo>
                    <a:pt x="4035" y="1086"/>
                  </a:lnTo>
                  <a:lnTo>
                    <a:pt x="4042" y="1036"/>
                  </a:lnTo>
                  <a:lnTo>
                    <a:pt x="4046" y="985"/>
                  </a:lnTo>
                  <a:lnTo>
                    <a:pt x="4047" y="933"/>
                  </a:lnTo>
                  <a:close/>
                  <a:moveTo>
                    <a:pt x="4779" y="42"/>
                  </a:moveTo>
                  <a:lnTo>
                    <a:pt x="4540" y="1317"/>
                  </a:lnTo>
                  <a:lnTo>
                    <a:pt x="4535" y="1334"/>
                  </a:lnTo>
                  <a:lnTo>
                    <a:pt x="4530" y="1350"/>
                  </a:lnTo>
                  <a:lnTo>
                    <a:pt x="4524" y="1366"/>
                  </a:lnTo>
                  <a:lnTo>
                    <a:pt x="4517" y="1379"/>
                  </a:lnTo>
                  <a:lnTo>
                    <a:pt x="4510" y="1392"/>
                  </a:lnTo>
                  <a:lnTo>
                    <a:pt x="4501" y="1403"/>
                  </a:lnTo>
                  <a:lnTo>
                    <a:pt x="4491" y="1413"/>
                  </a:lnTo>
                  <a:lnTo>
                    <a:pt x="4481" y="1423"/>
                  </a:lnTo>
                  <a:lnTo>
                    <a:pt x="4469" y="1431"/>
                  </a:lnTo>
                  <a:lnTo>
                    <a:pt x="4457" y="1437"/>
                  </a:lnTo>
                  <a:lnTo>
                    <a:pt x="4444" y="1443"/>
                  </a:lnTo>
                  <a:lnTo>
                    <a:pt x="4430" y="1447"/>
                  </a:lnTo>
                  <a:lnTo>
                    <a:pt x="4415" y="1451"/>
                  </a:lnTo>
                  <a:lnTo>
                    <a:pt x="4399" y="1453"/>
                  </a:lnTo>
                  <a:lnTo>
                    <a:pt x="4383" y="1455"/>
                  </a:lnTo>
                  <a:lnTo>
                    <a:pt x="4366" y="1455"/>
                  </a:lnTo>
                  <a:lnTo>
                    <a:pt x="4172" y="1455"/>
                  </a:lnTo>
                  <a:lnTo>
                    <a:pt x="4172" y="1822"/>
                  </a:lnTo>
                  <a:lnTo>
                    <a:pt x="4385" y="1822"/>
                  </a:lnTo>
                  <a:lnTo>
                    <a:pt x="4412" y="1822"/>
                  </a:lnTo>
                  <a:lnTo>
                    <a:pt x="4439" y="1821"/>
                  </a:lnTo>
                  <a:lnTo>
                    <a:pt x="4465" y="1819"/>
                  </a:lnTo>
                  <a:lnTo>
                    <a:pt x="4491" y="1816"/>
                  </a:lnTo>
                  <a:lnTo>
                    <a:pt x="4515" y="1812"/>
                  </a:lnTo>
                  <a:lnTo>
                    <a:pt x="4540" y="1808"/>
                  </a:lnTo>
                  <a:lnTo>
                    <a:pt x="4563" y="1802"/>
                  </a:lnTo>
                  <a:lnTo>
                    <a:pt x="4586" y="1796"/>
                  </a:lnTo>
                  <a:lnTo>
                    <a:pt x="4609" y="1789"/>
                  </a:lnTo>
                  <a:lnTo>
                    <a:pt x="4630" y="1780"/>
                  </a:lnTo>
                  <a:lnTo>
                    <a:pt x="4651" y="1771"/>
                  </a:lnTo>
                  <a:lnTo>
                    <a:pt x="4672" y="1762"/>
                  </a:lnTo>
                  <a:lnTo>
                    <a:pt x="4692" y="1751"/>
                  </a:lnTo>
                  <a:lnTo>
                    <a:pt x="4710" y="1740"/>
                  </a:lnTo>
                  <a:lnTo>
                    <a:pt x="4730" y="1728"/>
                  </a:lnTo>
                  <a:lnTo>
                    <a:pt x="4747" y="1713"/>
                  </a:lnTo>
                  <a:lnTo>
                    <a:pt x="4764" y="1699"/>
                  </a:lnTo>
                  <a:lnTo>
                    <a:pt x="4781" y="1684"/>
                  </a:lnTo>
                  <a:lnTo>
                    <a:pt x="4796" y="1668"/>
                  </a:lnTo>
                  <a:lnTo>
                    <a:pt x="4811" y="1650"/>
                  </a:lnTo>
                  <a:lnTo>
                    <a:pt x="4825" y="1633"/>
                  </a:lnTo>
                  <a:lnTo>
                    <a:pt x="4839" y="1614"/>
                  </a:lnTo>
                  <a:lnTo>
                    <a:pt x="4852" y="1593"/>
                  </a:lnTo>
                  <a:lnTo>
                    <a:pt x="4864" y="1572"/>
                  </a:lnTo>
                  <a:lnTo>
                    <a:pt x="4875" y="1551"/>
                  </a:lnTo>
                  <a:lnTo>
                    <a:pt x="4885" y="1527"/>
                  </a:lnTo>
                  <a:lnTo>
                    <a:pt x="4895" y="1504"/>
                  </a:lnTo>
                  <a:lnTo>
                    <a:pt x="4905" y="1478"/>
                  </a:lnTo>
                  <a:lnTo>
                    <a:pt x="4913" y="1452"/>
                  </a:lnTo>
                  <a:lnTo>
                    <a:pt x="4920" y="1426"/>
                  </a:lnTo>
                  <a:lnTo>
                    <a:pt x="4927" y="1397"/>
                  </a:lnTo>
                  <a:lnTo>
                    <a:pt x="4932" y="1369"/>
                  </a:lnTo>
                  <a:lnTo>
                    <a:pt x="5113" y="403"/>
                  </a:lnTo>
                  <a:lnTo>
                    <a:pt x="5796" y="403"/>
                  </a:lnTo>
                  <a:lnTo>
                    <a:pt x="5796" y="1822"/>
                  </a:lnTo>
                  <a:lnTo>
                    <a:pt x="6198" y="1822"/>
                  </a:lnTo>
                  <a:lnTo>
                    <a:pt x="6198" y="42"/>
                  </a:lnTo>
                  <a:lnTo>
                    <a:pt x="4779" y="42"/>
                  </a:lnTo>
                  <a:close/>
                  <a:moveTo>
                    <a:pt x="6585" y="42"/>
                  </a:moveTo>
                  <a:lnTo>
                    <a:pt x="6585" y="1822"/>
                  </a:lnTo>
                  <a:lnTo>
                    <a:pt x="6980" y="1822"/>
                  </a:lnTo>
                  <a:lnTo>
                    <a:pt x="6980" y="1069"/>
                  </a:lnTo>
                  <a:lnTo>
                    <a:pt x="7251" y="1069"/>
                  </a:lnTo>
                  <a:lnTo>
                    <a:pt x="7258" y="1116"/>
                  </a:lnTo>
                  <a:lnTo>
                    <a:pt x="7266" y="1162"/>
                  </a:lnTo>
                  <a:lnTo>
                    <a:pt x="7277" y="1207"/>
                  </a:lnTo>
                  <a:lnTo>
                    <a:pt x="7290" y="1251"/>
                  </a:lnTo>
                  <a:lnTo>
                    <a:pt x="7304" y="1292"/>
                  </a:lnTo>
                  <a:lnTo>
                    <a:pt x="7320" y="1333"/>
                  </a:lnTo>
                  <a:lnTo>
                    <a:pt x="7338" y="1372"/>
                  </a:lnTo>
                  <a:lnTo>
                    <a:pt x="7358" y="1409"/>
                  </a:lnTo>
                  <a:lnTo>
                    <a:pt x="7379" y="1446"/>
                  </a:lnTo>
                  <a:lnTo>
                    <a:pt x="7402" y="1482"/>
                  </a:lnTo>
                  <a:lnTo>
                    <a:pt x="7427" y="1514"/>
                  </a:lnTo>
                  <a:lnTo>
                    <a:pt x="7452" y="1547"/>
                  </a:lnTo>
                  <a:lnTo>
                    <a:pt x="7480" y="1577"/>
                  </a:lnTo>
                  <a:lnTo>
                    <a:pt x="7509" y="1607"/>
                  </a:lnTo>
                  <a:lnTo>
                    <a:pt x="7540" y="1634"/>
                  </a:lnTo>
                  <a:lnTo>
                    <a:pt x="7571" y="1660"/>
                  </a:lnTo>
                  <a:lnTo>
                    <a:pt x="7604" y="1685"/>
                  </a:lnTo>
                  <a:lnTo>
                    <a:pt x="7637" y="1708"/>
                  </a:lnTo>
                  <a:lnTo>
                    <a:pt x="7673" y="1730"/>
                  </a:lnTo>
                  <a:lnTo>
                    <a:pt x="7710" y="1750"/>
                  </a:lnTo>
                  <a:lnTo>
                    <a:pt x="7747" y="1768"/>
                  </a:lnTo>
                  <a:lnTo>
                    <a:pt x="7786" y="1786"/>
                  </a:lnTo>
                  <a:lnTo>
                    <a:pt x="7824" y="1801"/>
                  </a:lnTo>
                  <a:lnTo>
                    <a:pt x="7865" y="1815"/>
                  </a:lnTo>
                  <a:lnTo>
                    <a:pt x="7907" y="1827"/>
                  </a:lnTo>
                  <a:lnTo>
                    <a:pt x="7949" y="1837"/>
                  </a:lnTo>
                  <a:lnTo>
                    <a:pt x="7991" y="1847"/>
                  </a:lnTo>
                  <a:lnTo>
                    <a:pt x="8035" y="1854"/>
                  </a:lnTo>
                  <a:lnTo>
                    <a:pt x="8080" y="1860"/>
                  </a:lnTo>
                  <a:lnTo>
                    <a:pt x="8124" y="1864"/>
                  </a:lnTo>
                  <a:lnTo>
                    <a:pt x="8170" y="1867"/>
                  </a:lnTo>
                  <a:lnTo>
                    <a:pt x="8217" y="1868"/>
                  </a:lnTo>
                  <a:lnTo>
                    <a:pt x="8267" y="1867"/>
                  </a:lnTo>
                  <a:lnTo>
                    <a:pt x="8317" y="1864"/>
                  </a:lnTo>
                  <a:lnTo>
                    <a:pt x="8364" y="1859"/>
                  </a:lnTo>
                  <a:lnTo>
                    <a:pt x="8413" y="1852"/>
                  </a:lnTo>
                  <a:lnTo>
                    <a:pt x="8460" y="1842"/>
                  </a:lnTo>
                  <a:lnTo>
                    <a:pt x="8506" y="1832"/>
                  </a:lnTo>
                  <a:lnTo>
                    <a:pt x="8552" y="1820"/>
                  </a:lnTo>
                  <a:lnTo>
                    <a:pt x="8595" y="1805"/>
                  </a:lnTo>
                  <a:lnTo>
                    <a:pt x="8639" y="1789"/>
                  </a:lnTo>
                  <a:lnTo>
                    <a:pt x="8681" y="1771"/>
                  </a:lnTo>
                  <a:lnTo>
                    <a:pt x="8721" y="1751"/>
                  </a:lnTo>
                  <a:lnTo>
                    <a:pt x="8761" y="1729"/>
                  </a:lnTo>
                  <a:lnTo>
                    <a:pt x="8799" y="1705"/>
                  </a:lnTo>
                  <a:lnTo>
                    <a:pt x="8835" y="1680"/>
                  </a:lnTo>
                  <a:lnTo>
                    <a:pt x="8871" y="1653"/>
                  </a:lnTo>
                  <a:lnTo>
                    <a:pt x="8905" y="1624"/>
                  </a:lnTo>
                  <a:lnTo>
                    <a:pt x="8937" y="1593"/>
                  </a:lnTo>
                  <a:lnTo>
                    <a:pt x="8968" y="1561"/>
                  </a:lnTo>
                  <a:lnTo>
                    <a:pt x="8996" y="1526"/>
                  </a:lnTo>
                  <a:lnTo>
                    <a:pt x="9023" y="1491"/>
                  </a:lnTo>
                  <a:lnTo>
                    <a:pt x="9049" y="1453"/>
                  </a:lnTo>
                  <a:lnTo>
                    <a:pt x="9072" y="1414"/>
                  </a:lnTo>
                  <a:lnTo>
                    <a:pt x="9094" y="1374"/>
                  </a:lnTo>
                  <a:lnTo>
                    <a:pt x="9113" y="1331"/>
                  </a:lnTo>
                  <a:lnTo>
                    <a:pt x="9130" y="1287"/>
                  </a:lnTo>
                  <a:lnTo>
                    <a:pt x="9146" y="1242"/>
                  </a:lnTo>
                  <a:lnTo>
                    <a:pt x="9159" y="1194"/>
                  </a:lnTo>
                  <a:lnTo>
                    <a:pt x="9169" y="1145"/>
                  </a:lnTo>
                  <a:lnTo>
                    <a:pt x="9178" y="1094"/>
                  </a:lnTo>
                  <a:lnTo>
                    <a:pt x="9184" y="1042"/>
                  </a:lnTo>
                  <a:lnTo>
                    <a:pt x="9188" y="988"/>
                  </a:lnTo>
                  <a:lnTo>
                    <a:pt x="9189" y="933"/>
                  </a:lnTo>
                  <a:lnTo>
                    <a:pt x="9188" y="879"/>
                  </a:lnTo>
                  <a:lnTo>
                    <a:pt x="9184" y="825"/>
                  </a:lnTo>
                  <a:lnTo>
                    <a:pt x="9178" y="773"/>
                  </a:lnTo>
                  <a:lnTo>
                    <a:pt x="9169" y="723"/>
                  </a:lnTo>
                  <a:lnTo>
                    <a:pt x="9159" y="674"/>
                  </a:lnTo>
                  <a:lnTo>
                    <a:pt x="9146" y="626"/>
                  </a:lnTo>
                  <a:lnTo>
                    <a:pt x="9130" y="581"/>
                  </a:lnTo>
                  <a:lnTo>
                    <a:pt x="9113" y="537"/>
                  </a:lnTo>
                  <a:lnTo>
                    <a:pt x="9094" y="494"/>
                  </a:lnTo>
                  <a:lnTo>
                    <a:pt x="9072" y="453"/>
                  </a:lnTo>
                  <a:lnTo>
                    <a:pt x="9049" y="414"/>
                  </a:lnTo>
                  <a:lnTo>
                    <a:pt x="9023" y="376"/>
                  </a:lnTo>
                  <a:lnTo>
                    <a:pt x="8996" y="341"/>
                  </a:lnTo>
                  <a:lnTo>
                    <a:pt x="8968" y="307"/>
                  </a:lnTo>
                  <a:lnTo>
                    <a:pt x="8937" y="275"/>
                  </a:lnTo>
                  <a:lnTo>
                    <a:pt x="8905" y="244"/>
                  </a:lnTo>
                  <a:lnTo>
                    <a:pt x="8871" y="215"/>
                  </a:lnTo>
                  <a:lnTo>
                    <a:pt x="8835" y="187"/>
                  </a:lnTo>
                  <a:lnTo>
                    <a:pt x="8799" y="162"/>
                  </a:lnTo>
                  <a:lnTo>
                    <a:pt x="8761" y="138"/>
                  </a:lnTo>
                  <a:lnTo>
                    <a:pt x="8721" y="117"/>
                  </a:lnTo>
                  <a:lnTo>
                    <a:pt x="8681" y="97"/>
                  </a:lnTo>
                  <a:lnTo>
                    <a:pt x="8639" y="78"/>
                  </a:lnTo>
                  <a:lnTo>
                    <a:pt x="8595" y="62"/>
                  </a:lnTo>
                  <a:lnTo>
                    <a:pt x="8552" y="48"/>
                  </a:lnTo>
                  <a:lnTo>
                    <a:pt x="8506" y="36"/>
                  </a:lnTo>
                  <a:lnTo>
                    <a:pt x="8460" y="24"/>
                  </a:lnTo>
                  <a:lnTo>
                    <a:pt x="8413" y="16"/>
                  </a:lnTo>
                  <a:lnTo>
                    <a:pt x="8364" y="9"/>
                  </a:lnTo>
                  <a:lnTo>
                    <a:pt x="8317" y="4"/>
                  </a:lnTo>
                  <a:lnTo>
                    <a:pt x="8267" y="1"/>
                  </a:lnTo>
                  <a:lnTo>
                    <a:pt x="8217" y="0"/>
                  </a:lnTo>
                  <a:lnTo>
                    <a:pt x="8173" y="1"/>
                  </a:lnTo>
                  <a:lnTo>
                    <a:pt x="8131" y="3"/>
                  </a:lnTo>
                  <a:lnTo>
                    <a:pt x="8088" y="7"/>
                  </a:lnTo>
                  <a:lnTo>
                    <a:pt x="8046" y="12"/>
                  </a:lnTo>
                  <a:lnTo>
                    <a:pt x="8004" y="18"/>
                  </a:lnTo>
                  <a:lnTo>
                    <a:pt x="7964" y="26"/>
                  </a:lnTo>
                  <a:lnTo>
                    <a:pt x="7924" y="36"/>
                  </a:lnTo>
                  <a:lnTo>
                    <a:pt x="7884" y="47"/>
                  </a:lnTo>
                  <a:lnTo>
                    <a:pt x="7846" y="59"/>
                  </a:lnTo>
                  <a:lnTo>
                    <a:pt x="7808" y="73"/>
                  </a:lnTo>
                  <a:lnTo>
                    <a:pt x="7772" y="88"/>
                  </a:lnTo>
                  <a:lnTo>
                    <a:pt x="7736" y="105"/>
                  </a:lnTo>
                  <a:lnTo>
                    <a:pt x="7700" y="122"/>
                  </a:lnTo>
                  <a:lnTo>
                    <a:pt x="7667" y="141"/>
                  </a:lnTo>
                  <a:lnTo>
                    <a:pt x="7633" y="162"/>
                  </a:lnTo>
                  <a:lnTo>
                    <a:pt x="7602" y="184"/>
                  </a:lnTo>
                  <a:lnTo>
                    <a:pt x="7571" y="207"/>
                  </a:lnTo>
                  <a:lnTo>
                    <a:pt x="7542" y="232"/>
                  </a:lnTo>
                  <a:lnTo>
                    <a:pt x="7512" y="257"/>
                  </a:lnTo>
                  <a:lnTo>
                    <a:pt x="7486" y="285"/>
                  </a:lnTo>
                  <a:lnTo>
                    <a:pt x="7459" y="313"/>
                  </a:lnTo>
                  <a:lnTo>
                    <a:pt x="7435" y="343"/>
                  </a:lnTo>
                  <a:lnTo>
                    <a:pt x="7412" y="374"/>
                  </a:lnTo>
                  <a:lnTo>
                    <a:pt x="7389" y="406"/>
                  </a:lnTo>
                  <a:lnTo>
                    <a:pt x="7369" y="439"/>
                  </a:lnTo>
                  <a:lnTo>
                    <a:pt x="7350" y="475"/>
                  </a:lnTo>
                  <a:lnTo>
                    <a:pt x="7331" y="510"/>
                  </a:lnTo>
                  <a:lnTo>
                    <a:pt x="7315" y="548"/>
                  </a:lnTo>
                  <a:lnTo>
                    <a:pt x="7301" y="586"/>
                  </a:lnTo>
                  <a:lnTo>
                    <a:pt x="7287" y="625"/>
                  </a:lnTo>
                  <a:lnTo>
                    <a:pt x="7276" y="666"/>
                  </a:lnTo>
                  <a:lnTo>
                    <a:pt x="7267" y="709"/>
                  </a:lnTo>
                  <a:lnTo>
                    <a:pt x="6980" y="709"/>
                  </a:lnTo>
                  <a:lnTo>
                    <a:pt x="6980" y="42"/>
                  </a:lnTo>
                  <a:lnTo>
                    <a:pt x="6585" y="42"/>
                  </a:lnTo>
                  <a:close/>
                  <a:moveTo>
                    <a:pt x="7643" y="933"/>
                  </a:moveTo>
                  <a:lnTo>
                    <a:pt x="7644" y="900"/>
                  </a:lnTo>
                  <a:lnTo>
                    <a:pt x="7645" y="866"/>
                  </a:lnTo>
                  <a:lnTo>
                    <a:pt x="7649" y="835"/>
                  </a:lnTo>
                  <a:lnTo>
                    <a:pt x="7653" y="803"/>
                  </a:lnTo>
                  <a:lnTo>
                    <a:pt x="7658" y="773"/>
                  </a:lnTo>
                  <a:lnTo>
                    <a:pt x="7664" y="743"/>
                  </a:lnTo>
                  <a:lnTo>
                    <a:pt x="7672" y="715"/>
                  </a:lnTo>
                  <a:lnTo>
                    <a:pt x="7680" y="686"/>
                  </a:lnTo>
                  <a:lnTo>
                    <a:pt x="7690" y="660"/>
                  </a:lnTo>
                  <a:lnTo>
                    <a:pt x="7700" y="634"/>
                  </a:lnTo>
                  <a:lnTo>
                    <a:pt x="7713" y="610"/>
                  </a:lnTo>
                  <a:lnTo>
                    <a:pt x="7726" y="586"/>
                  </a:lnTo>
                  <a:lnTo>
                    <a:pt x="7740" y="563"/>
                  </a:lnTo>
                  <a:lnTo>
                    <a:pt x="7755" y="542"/>
                  </a:lnTo>
                  <a:lnTo>
                    <a:pt x="7772" y="521"/>
                  </a:lnTo>
                  <a:lnTo>
                    <a:pt x="7789" y="501"/>
                  </a:lnTo>
                  <a:lnTo>
                    <a:pt x="7807" y="483"/>
                  </a:lnTo>
                  <a:lnTo>
                    <a:pt x="7828" y="466"/>
                  </a:lnTo>
                  <a:lnTo>
                    <a:pt x="7848" y="449"/>
                  </a:lnTo>
                  <a:lnTo>
                    <a:pt x="7870" y="434"/>
                  </a:lnTo>
                  <a:lnTo>
                    <a:pt x="7893" y="420"/>
                  </a:lnTo>
                  <a:lnTo>
                    <a:pt x="7917" y="408"/>
                  </a:lnTo>
                  <a:lnTo>
                    <a:pt x="7942" y="396"/>
                  </a:lnTo>
                  <a:lnTo>
                    <a:pt x="7968" y="385"/>
                  </a:lnTo>
                  <a:lnTo>
                    <a:pt x="7995" y="375"/>
                  </a:lnTo>
                  <a:lnTo>
                    <a:pt x="8024" y="367"/>
                  </a:lnTo>
                  <a:lnTo>
                    <a:pt x="8053" y="361"/>
                  </a:lnTo>
                  <a:lnTo>
                    <a:pt x="8084" y="355"/>
                  </a:lnTo>
                  <a:lnTo>
                    <a:pt x="8115" y="351"/>
                  </a:lnTo>
                  <a:lnTo>
                    <a:pt x="8148" y="347"/>
                  </a:lnTo>
                  <a:lnTo>
                    <a:pt x="8182" y="345"/>
                  </a:lnTo>
                  <a:lnTo>
                    <a:pt x="8217" y="345"/>
                  </a:lnTo>
                  <a:lnTo>
                    <a:pt x="8252" y="345"/>
                  </a:lnTo>
                  <a:lnTo>
                    <a:pt x="8285" y="347"/>
                  </a:lnTo>
                  <a:lnTo>
                    <a:pt x="8318" y="351"/>
                  </a:lnTo>
                  <a:lnTo>
                    <a:pt x="8349" y="355"/>
                  </a:lnTo>
                  <a:lnTo>
                    <a:pt x="8380" y="361"/>
                  </a:lnTo>
                  <a:lnTo>
                    <a:pt x="8409" y="367"/>
                  </a:lnTo>
                  <a:lnTo>
                    <a:pt x="8438" y="375"/>
                  </a:lnTo>
                  <a:lnTo>
                    <a:pt x="8465" y="385"/>
                  </a:lnTo>
                  <a:lnTo>
                    <a:pt x="8492" y="396"/>
                  </a:lnTo>
                  <a:lnTo>
                    <a:pt x="8517" y="408"/>
                  </a:lnTo>
                  <a:lnTo>
                    <a:pt x="8540" y="420"/>
                  </a:lnTo>
                  <a:lnTo>
                    <a:pt x="8564" y="434"/>
                  </a:lnTo>
                  <a:lnTo>
                    <a:pt x="8585" y="449"/>
                  </a:lnTo>
                  <a:lnTo>
                    <a:pt x="8607" y="466"/>
                  </a:lnTo>
                  <a:lnTo>
                    <a:pt x="8626" y="483"/>
                  </a:lnTo>
                  <a:lnTo>
                    <a:pt x="8644" y="501"/>
                  </a:lnTo>
                  <a:lnTo>
                    <a:pt x="8662" y="521"/>
                  </a:lnTo>
                  <a:lnTo>
                    <a:pt x="8679" y="542"/>
                  </a:lnTo>
                  <a:lnTo>
                    <a:pt x="8694" y="563"/>
                  </a:lnTo>
                  <a:lnTo>
                    <a:pt x="8708" y="586"/>
                  </a:lnTo>
                  <a:lnTo>
                    <a:pt x="8720" y="610"/>
                  </a:lnTo>
                  <a:lnTo>
                    <a:pt x="8733" y="634"/>
                  </a:lnTo>
                  <a:lnTo>
                    <a:pt x="8744" y="660"/>
                  </a:lnTo>
                  <a:lnTo>
                    <a:pt x="8753" y="686"/>
                  </a:lnTo>
                  <a:lnTo>
                    <a:pt x="8762" y="715"/>
                  </a:lnTo>
                  <a:lnTo>
                    <a:pt x="8769" y="743"/>
                  </a:lnTo>
                  <a:lnTo>
                    <a:pt x="8775" y="773"/>
                  </a:lnTo>
                  <a:lnTo>
                    <a:pt x="8780" y="803"/>
                  </a:lnTo>
                  <a:lnTo>
                    <a:pt x="8785" y="835"/>
                  </a:lnTo>
                  <a:lnTo>
                    <a:pt x="8788" y="866"/>
                  </a:lnTo>
                  <a:lnTo>
                    <a:pt x="8790" y="900"/>
                  </a:lnTo>
                  <a:lnTo>
                    <a:pt x="8790" y="933"/>
                  </a:lnTo>
                  <a:lnTo>
                    <a:pt x="8790" y="968"/>
                  </a:lnTo>
                  <a:lnTo>
                    <a:pt x="8788" y="1001"/>
                  </a:lnTo>
                  <a:lnTo>
                    <a:pt x="8785" y="1033"/>
                  </a:lnTo>
                  <a:lnTo>
                    <a:pt x="8780" y="1065"/>
                  </a:lnTo>
                  <a:lnTo>
                    <a:pt x="8775" y="1095"/>
                  </a:lnTo>
                  <a:lnTo>
                    <a:pt x="8769" y="1125"/>
                  </a:lnTo>
                  <a:lnTo>
                    <a:pt x="8762" y="1153"/>
                  </a:lnTo>
                  <a:lnTo>
                    <a:pt x="8753" y="1181"/>
                  </a:lnTo>
                  <a:lnTo>
                    <a:pt x="8744" y="1207"/>
                  </a:lnTo>
                  <a:lnTo>
                    <a:pt x="8733" y="1233"/>
                  </a:lnTo>
                  <a:lnTo>
                    <a:pt x="8720" y="1258"/>
                  </a:lnTo>
                  <a:lnTo>
                    <a:pt x="8708" y="1281"/>
                  </a:lnTo>
                  <a:lnTo>
                    <a:pt x="8694" y="1305"/>
                  </a:lnTo>
                  <a:lnTo>
                    <a:pt x="8679" y="1326"/>
                  </a:lnTo>
                  <a:lnTo>
                    <a:pt x="8662" y="1346"/>
                  </a:lnTo>
                  <a:lnTo>
                    <a:pt x="8644" y="1366"/>
                  </a:lnTo>
                  <a:lnTo>
                    <a:pt x="8626" y="1385"/>
                  </a:lnTo>
                  <a:lnTo>
                    <a:pt x="8607" y="1402"/>
                  </a:lnTo>
                  <a:lnTo>
                    <a:pt x="8585" y="1418"/>
                  </a:lnTo>
                  <a:lnTo>
                    <a:pt x="8564" y="1434"/>
                  </a:lnTo>
                  <a:lnTo>
                    <a:pt x="8540" y="1447"/>
                  </a:lnTo>
                  <a:lnTo>
                    <a:pt x="8517" y="1460"/>
                  </a:lnTo>
                  <a:lnTo>
                    <a:pt x="8492" y="1472"/>
                  </a:lnTo>
                  <a:lnTo>
                    <a:pt x="8465" y="1483"/>
                  </a:lnTo>
                  <a:lnTo>
                    <a:pt x="8438" y="1492"/>
                  </a:lnTo>
                  <a:lnTo>
                    <a:pt x="8409" y="1500"/>
                  </a:lnTo>
                  <a:lnTo>
                    <a:pt x="8380" y="1507"/>
                  </a:lnTo>
                  <a:lnTo>
                    <a:pt x="8349" y="1513"/>
                  </a:lnTo>
                  <a:lnTo>
                    <a:pt x="8318" y="1517"/>
                  </a:lnTo>
                  <a:lnTo>
                    <a:pt x="8285" y="1520"/>
                  </a:lnTo>
                  <a:lnTo>
                    <a:pt x="8252" y="1522"/>
                  </a:lnTo>
                  <a:lnTo>
                    <a:pt x="8217" y="1523"/>
                  </a:lnTo>
                  <a:lnTo>
                    <a:pt x="8182" y="1522"/>
                  </a:lnTo>
                  <a:lnTo>
                    <a:pt x="8148" y="1520"/>
                  </a:lnTo>
                  <a:lnTo>
                    <a:pt x="8115" y="1517"/>
                  </a:lnTo>
                  <a:lnTo>
                    <a:pt x="8084" y="1513"/>
                  </a:lnTo>
                  <a:lnTo>
                    <a:pt x="8053" y="1507"/>
                  </a:lnTo>
                  <a:lnTo>
                    <a:pt x="8024" y="1500"/>
                  </a:lnTo>
                  <a:lnTo>
                    <a:pt x="7995" y="1492"/>
                  </a:lnTo>
                  <a:lnTo>
                    <a:pt x="7968" y="1483"/>
                  </a:lnTo>
                  <a:lnTo>
                    <a:pt x="7942" y="1472"/>
                  </a:lnTo>
                  <a:lnTo>
                    <a:pt x="7917" y="1460"/>
                  </a:lnTo>
                  <a:lnTo>
                    <a:pt x="7893" y="1447"/>
                  </a:lnTo>
                  <a:lnTo>
                    <a:pt x="7870" y="1434"/>
                  </a:lnTo>
                  <a:lnTo>
                    <a:pt x="7848" y="1418"/>
                  </a:lnTo>
                  <a:lnTo>
                    <a:pt x="7828" y="1402"/>
                  </a:lnTo>
                  <a:lnTo>
                    <a:pt x="7807" y="1385"/>
                  </a:lnTo>
                  <a:lnTo>
                    <a:pt x="7789" y="1366"/>
                  </a:lnTo>
                  <a:lnTo>
                    <a:pt x="7772" y="1346"/>
                  </a:lnTo>
                  <a:lnTo>
                    <a:pt x="7755" y="1326"/>
                  </a:lnTo>
                  <a:lnTo>
                    <a:pt x="7740" y="1305"/>
                  </a:lnTo>
                  <a:lnTo>
                    <a:pt x="7726" y="1281"/>
                  </a:lnTo>
                  <a:lnTo>
                    <a:pt x="7713" y="1258"/>
                  </a:lnTo>
                  <a:lnTo>
                    <a:pt x="7700" y="1233"/>
                  </a:lnTo>
                  <a:lnTo>
                    <a:pt x="7690" y="1207"/>
                  </a:lnTo>
                  <a:lnTo>
                    <a:pt x="7680" y="1181"/>
                  </a:lnTo>
                  <a:lnTo>
                    <a:pt x="7672" y="1153"/>
                  </a:lnTo>
                  <a:lnTo>
                    <a:pt x="7664" y="1125"/>
                  </a:lnTo>
                  <a:lnTo>
                    <a:pt x="7658" y="1095"/>
                  </a:lnTo>
                  <a:lnTo>
                    <a:pt x="7653" y="1065"/>
                  </a:lnTo>
                  <a:lnTo>
                    <a:pt x="7649" y="1033"/>
                  </a:lnTo>
                  <a:lnTo>
                    <a:pt x="7645" y="1001"/>
                  </a:lnTo>
                  <a:lnTo>
                    <a:pt x="7644" y="968"/>
                  </a:lnTo>
                  <a:lnTo>
                    <a:pt x="7643" y="933"/>
                  </a:lnTo>
                  <a:close/>
                  <a:moveTo>
                    <a:pt x="11327" y="477"/>
                  </a:moveTo>
                  <a:lnTo>
                    <a:pt x="11310" y="447"/>
                  </a:lnTo>
                  <a:lnTo>
                    <a:pt x="11291" y="420"/>
                  </a:lnTo>
                  <a:lnTo>
                    <a:pt x="11272" y="392"/>
                  </a:lnTo>
                  <a:lnTo>
                    <a:pt x="11253" y="366"/>
                  </a:lnTo>
                  <a:lnTo>
                    <a:pt x="11232" y="341"/>
                  </a:lnTo>
                  <a:lnTo>
                    <a:pt x="11211" y="316"/>
                  </a:lnTo>
                  <a:lnTo>
                    <a:pt x="11190" y="293"/>
                  </a:lnTo>
                  <a:lnTo>
                    <a:pt x="11167" y="270"/>
                  </a:lnTo>
                  <a:lnTo>
                    <a:pt x="11144" y="248"/>
                  </a:lnTo>
                  <a:lnTo>
                    <a:pt x="11121" y="228"/>
                  </a:lnTo>
                  <a:lnTo>
                    <a:pt x="11096" y="207"/>
                  </a:lnTo>
                  <a:lnTo>
                    <a:pt x="11071" y="188"/>
                  </a:lnTo>
                  <a:lnTo>
                    <a:pt x="11045" y="171"/>
                  </a:lnTo>
                  <a:lnTo>
                    <a:pt x="11018" y="154"/>
                  </a:lnTo>
                  <a:lnTo>
                    <a:pt x="10991" y="136"/>
                  </a:lnTo>
                  <a:lnTo>
                    <a:pt x="10963" y="121"/>
                  </a:lnTo>
                  <a:lnTo>
                    <a:pt x="10934" y="107"/>
                  </a:lnTo>
                  <a:lnTo>
                    <a:pt x="10905" y="93"/>
                  </a:lnTo>
                  <a:lnTo>
                    <a:pt x="10875" y="80"/>
                  </a:lnTo>
                  <a:lnTo>
                    <a:pt x="10845" y="68"/>
                  </a:lnTo>
                  <a:lnTo>
                    <a:pt x="10813" y="58"/>
                  </a:lnTo>
                  <a:lnTo>
                    <a:pt x="10782" y="48"/>
                  </a:lnTo>
                  <a:lnTo>
                    <a:pt x="10749" y="39"/>
                  </a:lnTo>
                  <a:lnTo>
                    <a:pt x="10716" y="30"/>
                  </a:lnTo>
                  <a:lnTo>
                    <a:pt x="10682" y="23"/>
                  </a:lnTo>
                  <a:lnTo>
                    <a:pt x="10648" y="17"/>
                  </a:lnTo>
                  <a:lnTo>
                    <a:pt x="10612" y="12"/>
                  </a:lnTo>
                  <a:lnTo>
                    <a:pt x="10576" y="8"/>
                  </a:lnTo>
                  <a:lnTo>
                    <a:pt x="10540" y="4"/>
                  </a:lnTo>
                  <a:lnTo>
                    <a:pt x="10502" y="2"/>
                  </a:lnTo>
                  <a:lnTo>
                    <a:pt x="10465" y="1"/>
                  </a:lnTo>
                  <a:lnTo>
                    <a:pt x="10426" y="0"/>
                  </a:lnTo>
                  <a:lnTo>
                    <a:pt x="10373" y="1"/>
                  </a:lnTo>
                  <a:lnTo>
                    <a:pt x="10322" y="4"/>
                  </a:lnTo>
                  <a:lnTo>
                    <a:pt x="10271" y="9"/>
                  </a:lnTo>
                  <a:lnTo>
                    <a:pt x="10222" y="16"/>
                  </a:lnTo>
                  <a:lnTo>
                    <a:pt x="10174" y="25"/>
                  </a:lnTo>
                  <a:lnTo>
                    <a:pt x="10126" y="37"/>
                  </a:lnTo>
                  <a:lnTo>
                    <a:pt x="10079" y="50"/>
                  </a:lnTo>
                  <a:lnTo>
                    <a:pt x="10033" y="65"/>
                  </a:lnTo>
                  <a:lnTo>
                    <a:pt x="9990" y="81"/>
                  </a:lnTo>
                  <a:lnTo>
                    <a:pt x="9947" y="101"/>
                  </a:lnTo>
                  <a:lnTo>
                    <a:pt x="9905" y="121"/>
                  </a:lnTo>
                  <a:lnTo>
                    <a:pt x="9865" y="143"/>
                  </a:lnTo>
                  <a:lnTo>
                    <a:pt x="9826" y="168"/>
                  </a:lnTo>
                  <a:lnTo>
                    <a:pt x="9788" y="194"/>
                  </a:lnTo>
                  <a:lnTo>
                    <a:pt x="9753" y="222"/>
                  </a:lnTo>
                  <a:lnTo>
                    <a:pt x="9718" y="251"/>
                  </a:lnTo>
                  <a:lnTo>
                    <a:pt x="9686" y="282"/>
                  </a:lnTo>
                  <a:lnTo>
                    <a:pt x="9654" y="314"/>
                  </a:lnTo>
                  <a:lnTo>
                    <a:pt x="9626" y="349"/>
                  </a:lnTo>
                  <a:lnTo>
                    <a:pt x="9598" y="385"/>
                  </a:lnTo>
                  <a:lnTo>
                    <a:pt x="9572" y="423"/>
                  </a:lnTo>
                  <a:lnTo>
                    <a:pt x="9548" y="462"/>
                  </a:lnTo>
                  <a:lnTo>
                    <a:pt x="9527" y="502"/>
                  </a:lnTo>
                  <a:lnTo>
                    <a:pt x="9508" y="545"/>
                  </a:lnTo>
                  <a:lnTo>
                    <a:pt x="9489" y="589"/>
                  </a:lnTo>
                  <a:lnTo>
                    <a:pt x="9474" y="633"/>
                  </a:lnTo>
                  <a:lnTo>
                    <a:pt x="9461" y="680"/>
                  </a:lnTo>
                  <a:lnTo>
                    <a:pt x="9451" y="728"/>
                  </a:lnTo>
                  <a:lnTo>
                    <a:pt x="9441" y="778"/>
                  </a:lnTo>
                  <a:lnTo>
                    <a:pt x="9435" y="829"/>
                  </a:lnTo>
                  <a:lnTo>
                    <a:pt x="9432" y="881"/>
                  </a:lnTo>
                  <a:lnTo>
                    <a:pt x="9430" y="933"/>
                  </a:lnTo>
                  <a:lnTo>
                    <a:pt x="9431" y="987"/>
                  </a:lnTo>
                  <a:lnTo>
                    <a:pt x="9435" y="1039"/>
                  </a:lnTo>
                  <a:lnTo>
                    <a:pt x="9441" y="1090"/>
                  </a:lnTo>
                  <a:lnTo>
                    <a:pt x="9450" y="1139"/>
                  </a:lnTo>
                  <a:lnTo>
                    <a:pt x="9461" y="1188"/>
                  </a:lnTo>
                  <a:lnTo>
                    <a:pt x="9474" y="1234"/>
                  </a:lnTo>
                  <a:lnTo>
                    <a:pt x="9488" y="1279"/>
                  </a:lnTo>
                  <a:lnTo>
                    <a:pt x="9506" y="1323"/>
                  </a:lnTo>
                  <a:lnTo>
                    <a:pt x="9525" y="1365"/>
                  </a:lnTo>
                  <a:lnTo>
                    <a:pt x="9546" y="1405"/>
                  </a:lnTo>
                  <a:lnTo>
                    <a:pt x="9570" y="1445"/>
                  </a:lnTo>
                  <a:lnTo>
                    <a:pt x="9595" y="1483"/>
                  </a:lnTo>
                  <a:lnTo>
                    <a:pt x="9623" y="1518"/>
                  </a:lnTo>
                  <a:lnTo>
                    <a:pt x="9651" y="1553"/>
                  </a:lnTo>
                  <a:lnTo>
                    <a:pt x="9681" y="1585"/>
                  </a:lnTo>
                  <a:lnTo>
                    <a:pt x="9714" y="1617"/>
                  </a:lnTo>
                  <a:lnTo>
                    <a:pt x="9749" y="1646"/>
                  </a:lnTo>
                  <a:lnTo>
                    <a:pt x="9784" y="1674"/>
                  </a:lnTo>
                  <a:lnTo>
                    <a:pt x="9822" y="1700"/>
                  </a:lnTo>
                  <a:lnTo>
                    <a:pt x="9860" y="1724"/>
                  </a:lnTo>
                  <a:lnTo>
                    <a:pt x="9900" y="1746"/>
                  </a:lnTo>
                  <a:lnTo>
                    <a:pt x="9942" y="1767"/>
                  </a:lnTo>
                  <a:lnTo>
                    <a:pt x="9986" y="1786"/>
                  </a:lnTo>
                  <a:lnTo>
                    <a:pt x="10029" y="1803"/>
                  </a:lnTo>
                  <a:lnTo>
                    <a:pt x="10075" y="1818"/>
                  </a:lnTo>
                  <a:lnTo>
                    <a:pt x="10122" y="1830"/>
                  </a:lnTo>
                  <a:lnTo>
                    <a:pt x="10170" y="1841"/>
                  </a:lnTo>
                  <a:lnTo>
                    <a:pt x="10219" y="1851"/>
                  </a:lnTo>
                  <a:lnTo>
                    <a:pt x="10269" y="1858"/>
                  </a:lnTo>
                  <a:lnTo>
                    <a:pt x="10320" y="1863"/>
                  </a:lnTo>
                  <a:lnTo>
                    <a:pt x="10372" y="1867"/>
                  </a:lnTo>
                  <a:lnTo>
                    <a:pt x="10426" y="1868"/>
                  </a:lnTo>
                  <a:lnTo>
                    <a:pt x="10465" y="1867"/>
                  </a:lnTo>
                  <a:lnTo>
                    <a:pt x="10502" y="1866"/>
                  </a:lnTo>
                  <a:lnTo>
                    <a:pt x="10540" y="1863"/>
                  </a:lnTo>
                  <a:lnTo>
                    <a:pt x="10576" y="1860"/>
                  </a:lnTo>
                  <a:lnTo>
                    <a:pt x="10612" y="1856"/>
                  </a:lnTo>
                  <a:lnTo>
                    <a:pt x="10648" y="1851"/>
                  </a:lnTo>
                  <a:lnTo>
                    <a:pt x="10682" y="1845"/>
                  </a:lnTo>
                  <a:lnTo>
                    <a:pt x="10716" y="1837"/>
                  </a:lnTo>
                  <a:lnTo>
                    <a:pt x="10749" y="1829"/>
                  </a:lnTo>
                  <a:lnTo>
                    <a:pt x="10782" y="1820"/>
                  </a:lnTo>
                  <a:lnTo>
                    <a:pt x="10813" y="1810"/>
                  </a:lnTo>
                  <a:lnTo>
                    <a:pt x="10845" y="1799"/>
                  </a:lnTo>
                  <a:lnTo>
                    <a:pt x="10875" y="1788"/>
                  </a:lnTo>
                  <a:lnTo>
                    <a:pt x="10905" y="1774"/>
                  </a:lnTo>
                  <a:lnTo>
                    <a:pt x="10934" y="1761"/>
                  </a:lnTo>
                  <a:lnTo>
                    <a:pt x="10963" y="1746"/>
                  </a:lnTo>
                  <a:lnTo>
                    <a:pt x="10991" y="1731"/>
                  </a:lnTo>
                  <a:lnTo>
                    <a:pt x="11018" y="1714"/>
                  </a:lnTo>
                  <a:lnTo>
                    <a:pt x="11045" y="1697"/>
                  </a:lnTo>
                  <a:lnTo>
                    <a:pt x="11071" y="1679"/>
                  </a:lnTo>
                  <a:lnTo>
                    <a:pt x="11096" y="1659"/>
                  </a:lnTo>
                  <a:lnTo>
                    <a:pt x="11121" y="1640"/>
                  </a:lnTo>
                  <a:lnTo>
                    <a:pt x="11144" y="1619"/>
                  </a:lnTo>
                  <a:lnTo>
                    <a:pt x="11167" y="1597"/>
                  </a:lnTo>
                  <a:lnTo>
                    <a:pt x="11190" y="1574"/>
                  </a:lnTo>
                  <a:lnTo>
                    <a:pt x="11211" y="1551"/>
                  </a:lnTo>
                  <a:lnTo>
                    <a:pt x="11232" y="1526"/>
                  </a:lnTo>
                  <a:lnTo>
                    <a:pt x="11253" y="1501"/>
                  </a:lnTo>
                  <a:lnTo>
                    <a:pt x="11272" y="1474"/>
                  </a:lnTo>
                  <a:lnTo>
                    <a:pt x="11291" y="1448"/>
                  </a:lnTo>
                  <a:lnTo>
                    <a:pt x="11310" y="1419"/>
                  </a:lnTo>
                  <a:lnTo>
                    <a:pt x="11327" y="1391"/>
                  </a:lnTo>
                  <a:lnTo>
                    <a:pt x="11015" y="1211"/>
                  </a:lnTo>
                  <a:lnTo>
                    <a:pt x="11002" y="1228"/>
                  </a:lnTo>
                  <a:lnTo>
                    <a:pt x="10988" y="1246"/>
                  </a:lnTo>
                  <a:lnTo>
                    <a:pt x="10975" y="1263"/>
                  </a:lnTo>
                  <a:lnTo>
                    <a:pt x="10962" y="1279"/>
                  </a:lnTo>
                  <a:lnTo>
                    <a:pt x="10948" y="1294"/>
                  </a:lnTo>
                  <a:lnTo>
                    <a:pt x="10933" y="1310"/>
                  </a:lnTo>
                  <a:lnTo>
                    <a:pt x="10919" y="1325"/>
                  </a:lnTo>
                  <a:lnTo>
                    <a:pt x="10904" y="1339"/>
                  </a:lnTo>
                  <a:lnTo>
                    <a:pt x="10890" y="1352"/>
                  </a:lnTo>
                  <a:lnTo>
                    <a:pt x="10873" y="1366"/>
                  </a:lnTo>
                  <a:lnTo>
                    <a:pt x="10858" y="1378"/>
                  </a:lnTo>
                  <a:lnTo>
                    <a:pt x="10842" y="1390"/>
                  </a:lnTo>
                  <a:lnTo>
                    <a:pt x="10825" y="1402"/>
                  </a:lnTo>
                  <a:lnTo>
                    <a:pt x="10807" y="1412"/>
                  </a:lnTo>
                  <a:lnTo>
                    <a:pt x="10790" y="1423"/>
                  </a:lnTo>
                  <a:lnTo>
                    <a:pt x="10773" y="1433"/>
                  </a:lnTo>
                  <a:lnTo>
                    <a:pt x="10754" y="1442"/>
                  </a:lnTo>
                  <a:lnTo>
                    <a:pt x="10735" y="1451"/>
                  </a:lnTo>
                  <a:lnTo>
                    <a:pt x="10716" y="1459"/>
                  </a:lnTo>
                  <a:lnTo>
                    <a:pt x="10696" y="1466"/>
                  </a:lnTo>
                  <a:lnTo>
                    <a:pt x="10676" y="1473"/>
                  </a:lnTo>
                  <a:lnTo>
                    <a:pt x="10656" y="1479"/>
                  </a:lnTo>
                  <a:lnTo>
                    <a:pt x="10634" y="1486"/>
                  </a:lnTo>
                  <a:lnTo>
                    <a:pt x="10613" y="1491"/>
                  </a:lnTo>
                  <a:lnTo>
                    <a:pt x="10591" y="1495"/>
                  </a:lnTo>
                  <a:lnTo>
                    <a:pt x="10567" y="1499"/>
                  </a:lnTo>
                  <a:lnTo>
                    <a:pt x="10544" y="1502"/>
                  </a:lnTo>
                  <a:lnTo>
                    <a:pt x="10521" y="1505"/>
                  </a:lnTo>
                  <a:lnTo>
                    <a:pt x="10496" y="1507"/>
                  </a:lnTo>
                  <a:lnTo>
                    <a:pt x="10471" y="1509"/>
                  </a:lnTo>
                  <a:lnTo>
                    <a:pt x="10445" y="1510"/>
                  </a:lnTo>
                  <a:lnTo>
                    <a:pt x="10419" y="1510"/>
                  </a:lnTo>
                  <a:lnTo>
                    <a:pt x="10386" y="1509"/>
                  </a:lnTo>
                  <a:lnTo>
                    <a:pt x="10355" y="1507"/>
                  </a:lnTo>
                  <a:lnTo>
                    <a:pt x="10324" y="1504"/>
                  </a:lnTo>
                  <a:lnTo>
                    <a:pt x="10294" y="1500"/>
                  </a:lnTo>
                  <a:lnTo>
                    <a:pt x="10264" y="1494"/>
                  </a:lnTo>
                  <a:lnTo>
                    <a:pt x="10236" y="1487"/>
                  </a:lnTo>
                  <a:lnTo>
                    <a:pt x="10207" y="1478"/>
                  </a:lnTo>
                  <a:lnTo>
                    <a:pt x="10180" y="1468"/>
                  </a:lnTo>
                  <a:lnTo>
                    <a:pt x="10153" y="1458"/>
                  </a:lnTo>
                  <a:lnTo>
                    <a:pt x="10128" y="1446"/>
                  </a:lnTo>
                  <a:lnTo>
                    <a:pt x="10104" y="1433"/>
                  </a:lnTo>
                  <a:lnTo>
                    <a:pt x="10080" y="1418"/>
                  </a:lnTo>
                  <a:lnTo>
                    <a:pt x="10057" y="1403"/>
                  </a:lnTo>
                  <a:lnTo>
                    <a:pt x="10035" y="1387"/>
                  </a:lnTo>
                  <a:lnTo>
                    <a:pt x="10014" y="1370"/>
                  </a:lnTo>
                  <a:lnTo>
                    <a:pt x="9994" y="1351"/>
                  </a:lnTo>
                  <a:lnTo>
                    <a:pt x="9975" y="1332"/>
                  </a:lnTo>
                  <a:lnTo>
                    <a:pt x="9957" y="1312"/>
                  </a:lnTo>
                  <a:lnTo>
                    <a:pt x="9941" y="1289"/>
                  </a:lnTo>
                  <a:lnTo>
                    <a:pt x="9925" y="1268"/>
                  </a:lnTo>
                  <a:lnTo>
                    <a:pt x="9910" y="1245"/>
                  </a:lnTo>
                  <a:lnTo>
                    <a:pt x="9896" y="1220"/>
                  </a:lnTo>
                  <a:lnTo>
                    <a:pt x="9884" y="1195"/>
                  </a:lnTo>
                  <a:lnTo>
                    <a:pt x="9873" y="1169"/>
                  </a:lnTo>
                  <a:lnTo>
                    <a:pt x="9864" y="1143"/>
                  </a:lnTo>
                  <a:lnTo>
                    <a:pt x="9854" y="1114"/>
                  </a:lnTo>
                  <a:lnTo>
                    <a:pt x="9847" y="1087"/>
                  </a:lnTo>
                  <a:lnTo>
                    <a:pt x="9841" y="1057"/>
                  </a:lnTo>
                  <a:lnTo>
                    <a:pt x="9836" y="1028"/>
                  </a:lnTo>
                  <a:lnTo>
                    <a:pt x="9833" y="998"/>
                  </a:lnTo>
                  <a:lnTo>
                    <a:pt x="9831" y="966"/>
                  </a:lnTo>
                  <a:lnTo>
                    <a:pt x="9830" y="933"/>
                  </a:lnTo>
                  <a:lnTo>
                    <a:pt x="9831" y="901"/>
                  </a:lnTo>
                  <a:lnTo>
                    <a:pt x="9833" y="869"/>
                  </a:lnTo>
                  <a:lnTo>
                    <a:pt x="9836" y="839"/>
                  </a:lnTo>
                  <a:lnTo>
                    <a:pt x="9840" y="808"/>
                  </a:lnTo>
                  <a:lnTo>
                    <a:pt x="9846" y="779"/>
                  </a:lnTo>
                  <a:lnTo>
                    <a:pt x="9853" y="750"/>
                  </a:lnTo>
                  <a:lnTo>
                    <a:pt x="9863" y="723"/>
                  </a:lnTo>
                  <a:lnTo>
                    <a:pt x="9872" y="696"/>
                  </a:lnTo>
                  <a:lnTo>
                    <a:pt x="9883" y="670"/>
                  </a:lnTo>
                  <a:lnTo>
                    <a:pt x="9894" y="645"/>
                  </a:lnTo>
                  <a:lnTo>
                    <a:pt x="9907" y="620"/>
                  </a:lnTo>
                  <a:lnTo>
                    <a:pt x="9923" y="597"/>
                  </a:lnTo>
                  <a:lnTo>
                    <a:pt x="9938" y="575"/>
                  </a:lnTo>
                  <a:lnTo>
                    <a:pt x="9954" y="553"/>
                  </a:lnTo>
                  <a:lnTo>
                    <a:pt x="9971" y="533"/>
                  </a:lnTo>
                  <a:lnTo>
                    <a:pt x="9991" y="513"/>
                  </a:lnTo>
                  <a:lnTo>
                    <a:pt x="10010" y="496"/>
                  </a:lnTo>
                  <a:lnTo>
                    <a:pt x="10031" y="479"/>
                  </a:lnTo>
                  <a:lnTo>
                    <a:pt x="10053" y="463"/>
                  </a:lnTo>
                  <a:lnTo>
                    <a:pt x="10075" y="447"/>
                  </a:lnTo>
                  <a:lnTo>
                    <a:pt x="10099" y="433"/>
                  </a:lnTo>
                  <a:lnTo>
                    <a:pt x="10124" y="420"/>
                  </a:lnTo>
                  <a:lnTo>
                    <a:pt x="10149" y="409"/>
                  </a:lnTo>
                  <a:lnTo>
                    <a:pt x="10176" y="399"/>
                  </a:lnTo>
                  <a:lnTo>
                    <a:pt x="10203" y="388"/>
                  </a:lnTo>
                  <a:lnTo>
                    <a:pt x="10232" y="380"/>
                  </a:lnTo>
                  <a:lnTo>
                    <a:pt x="10261" y="373"/>
                  </a:lnTo>
                  <a:lnTo>
                    <a:pt x="10291" y="368"/>
                  </a:lnTo>
                  <a:lnTo>
                    <a:pt x="10322" y="363"/>
                  </a:lnTo>
                  <a:lnTo>
                    <a:pt x="10354" y="360"/>
                  </a:lnTo>
                  <a:lnTo>
                    <a:pt x="10386" y="358"/>
                  </a:lnTo>
                  <a:lnTo>
                    <a:pt x="10419" y="358"/>
                  </a:lnTo>
                  <a:lnTo>
                    <a:pt x="10445" y="358"/>
                  </a:lnTo>
                  <a:lnTo>
                    <a:pt x="10471" y="359"/>
                  </a:lnTo>
                  <a:lnTo>
                    <a:pt x="10496" y="360"/>
                  </a:lnTo>
                  <a:lnTo>
                    <a:pt x="10521" y="362"/>
                  </a:lnTo>
                  <a:lnTo>
                    <a:pt x="10544" y="365"/>
                  </a:lnTo>
                  <a:lnTo>
                    <a:pt x="10567" y="368"/>
                  </a:lnTo>
                  <a:lnTo>
                    <a:pt x="10591" y="372"/>
                  </a:lnTo>
                  <a:lnTo>
                    <a:pt x="10613" y="377"/>
                  </a:lnTo>
                  <a:lnTo>
                    <a:pt x="10634" y="382"/>
                  </a:lnTo>
                  <a:lnTo>
                    <a:pt x="10656" y="388"/>
                  </a:lnTo>
                  <a:lnTo>
                    <a:pt x="10676" y="395"/>
                  </a:lnTo>
                  <a:lnTo>
                    <a:pt x="10696" y="402"/>
                  </a:lnTo>
                  <a:lnTo>
                    <a:pt x="10716" y="409"/>
                  </a:lnTo>
                  <a:lnTo>
                    <a:pt x="10735" y="417"/>
                  </a:lnTo>
                  <a:lnTo>
                    <a:pt x="10754" y="425"/>
                  </a:lnTo>
                  <a:lnTo>
                    <a:pt x="10773" y="435"/>
                  </a:lnTo>
                  <a:lnTo>
                    <a:pt x="10790" y="444"/>
                  </a:lnTo>
                  <a:lnTo>
                    <a:pt x="10807" y="455"/>
                  </a:lnTo>
                  <a:lnTo>
                    <a:pt x="10825" y="466"/>
                  </a:lnTo>
                  <a:lnTo>
                    <a:pt x="10842" y="477"/>
                  </a:lnTo>
                  <a:lnTo>
                    <a:pt x="10858" y="489"/>
                  </a:lnTo>
                  <a:lnTo>
                    <a:pt x="10873" y="502"/>
                  </a:lnTo>
                  <a:lnTo>
                    <a:pt x="10890" y="515"/>
                  </a:lnTo>
                  <a:lnTo>
                    <a:pt x="10904" y="529"/>
                  </a:lnTo>
                  <a:lnTo>
                    <a:pt x="10919" y="543"/>
                  </a:lnTo>
                  <a:lnTo>
                    <a:pt x="10933" y="557"/>
                  </a:lnTo>
                  <a:lnTo>
                    <a:pt x="10948" y="572"/>
                  </a:lnTo>
                  <a:lnTo>
                    <a:pt x="10962" y="589"/>
                  </a:lnTo>
                  <a:lnTo>
                    <a:pt x="10975" y="605"/>
                  </a:lnTo>
                  <a:lnTo>
                    <a:pt x="10988" y="621"/>
                  </a:lnTo>
                  <a:lnTo>
                    <a:pt x="11002" y="639"/>
                  </a:lnTo>
                  <a:lnTo>
                    <a:pt x="11015" y="657"/>
                  </a:lnTo>
                  <a:lnTo>
                    <a:pt x="11327" y="4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490538" y="487363"/>
              <a:ext cx="466725" cy="455612"/>
            </a:xfrm>
            <a:custGeom>
              <a:avLst/>
              <a:gdLst>
                <a:gd name="T0" fmla="*/ 1853 w 3532"/>
                <a:gd name="T1" fmla="*/ 1336 h 3444"/>
                <a:gd name="T2" fmla="*/ 1828 w 3532"/>
                <a:gd name="T3" fmla="*/ 1351 h 3444"/>
                <a:gd name="T4" fmla="*/ 1795 w 3532"/>
                <a:gd name="T5" fmla="*/ 1349 h 3444"/>
                <a:gd name="T6" fmla="*/ 1104 w 3532"/>
                <a:gd name="T7" fmla="*/ 1069 h 3444"/>
                <a:gd name="T8" fmla="*/ 1071 w 3532"/>
                <a:gd name="T9" fmla="*/ 1010 h 3444"/>
                <a:gd name="T10" fmla="*/ 1204 w 3532"/>
                <a:gd name="T11" fmla="*/ 141 h 3444"/>
                <a:gd name="T12" fmla="*/ 1231 w 3532"/>
                <a:gd name="T13" fmla="*/ 77 h 3444"/>
                <a:gd name="T14" fmla="*/ 1287 w 3532"/>
                <a:gd name="T15" fmla="*/ 37 h 3444"/>
                <a:gd name="T16" fmla="*/ 2026 w 3532"/>
                <a:gd name="T17" fmla="*/ 0 h 3444"/>
                <a:gd name="T18" fmla="*/ 2055 w 3532"/>
                <a:gd name="T19" fmla="*/ 11 h 3444"/>
                <a:gd name="T20" fmla="*/ 2072 w 3532"/>
                <a:gd name="T21" fmla="*/ 37 h 3444"/>
                <a:gd name="T22" fmla="*/ 1399 w 3532"/>
                <a:gd name="T23" fmla="*/ 1554 h 3444"/>
                <a:gd name="T24" fmla="*/ 1417 w 3532"/>
                <a:gd name="T25" fmla="*/ 1578 h 3444"/>
                <a:gd name="T26" fmla="*/ 1414 w 3532"/>
                <a:gd name="T27" fmla="*/ 1610 h 3444"/>
                <a:gd name="T28" fmla="*/ 958 w 3532"/>
                <a:gd name="T29" fmla="*/ 2172 h 3444"/>
                <a:gd name="T30" fmla="*/ 893 w 3532"/>
                <a:gd name="T31" fmla="*/ 2208 h 3444"/>
                <a:gd name="T32" fmla="*/ 826 w 3532"/>
                <a:gd name="T33" fmla="*/ 2201 h 3444"/>
                <a:gd name="T34" fmla="*/ 45 w 3532"/>
                <a:gd name="T35" fmla="*/ 1796 h 3444"/>
                <a:gd name="T36" fmla="*/ 6 w 3532"/>
                <a:gd name="T37" fmla="*/ 1741 h 3444"/>
                <a:gd name="T38" fmla="*/ 4 w 3532"/>
                <a:gd name="T39" fmla="*/ 1664 h 3444"/>
                <a:gd name="T40" fmla="*/ 200 w 3532"/>
                <a:gd name="T41" fmla="*/ 976 h 3444"/>
                <a:gd name="T42" fmla="*/ 226 w 3532"/>
                <a:gd name="T43" fmla="*/ 959 h 3444"/>
                <a:gd name="T44" fmla="*/ 255 w 3532"/>
                <a:gd name="T45" fmla="*/ 963 h 3444"/>
                <a:gd name="T46" fmla="*/ 1491 w 3532"/>
                <a:gd name="T47" fmla="*/ 2055 h 3444"/>
                <a:gd name="T48" fmla="*/ 1521 w 3532"/>
                <a:gd name="T49" fmla="*/ 2057 h 3444"/>
                <a:gd name="T50" fmla="*/ 1546 w 3532"/>
                <a:gd name="T51" fmla="*/ 2077 h 3444"/>
                <a:gd name="T52" fmla="*/ 1940 w 3532"/>
                <a:gd name="T53" fmla="*/ 2711 h 3444"/>
                <a:gd name="T54" fmla="*/ 1933 w 3532"/>
                <a:gd name="T55" fmla="*/ 2779 h 3444"/>
                <a:gd name="T56" fmla="*/ 1315 w 3532"/>
                <a:gd name="T57" fmla="*/ 3402 h 3444"/>
                <a:gd name="T58" fmla="*/ 1256 w 3532"/>
                <a:gd name="T59" fmla="*/ 3439 h 3444"/>
                <a:gd name="T60" fmla="*/ 1187 w 3532"/>
                <a:gd name="T61" fmla="*/ 3439 h 3444"/>
                <a:gd name="T62" fmla="*/ 567 w 3532"/>
                <a:gd name="T63" fmla="*/ 3035 h 3444"/>
                <a:gd name="T64" fmla="*/ 549 w 3532"/>
                <a:gd name="T65" fmla="*/ 3009 h 3444"/>
                <a:gd name="T66" fmla="*/ 551 w 3532"/>
                <a:gd name="T67" fmla="*/ 2978 h 3444"/>
                <a:gd name="T68" fmla="*/ 1987 w 3532"/>
                <a:gd name="T69" fmla="*/ 2144 h 3444"/>
                <a:gd name="T70" fmla="*/ 1988 w 3532"/>
                <a:gd name="T71" fmla="*/ 2114 h 3444"/>
                <a:gd name="T72" fmla="*/ 2009 w 3532"/>
                <a:gd name="T73" fmla="*/ 2091 h 3444"/>
                <a:gd name="T74" fmla="*/ 2707 w 3532"/>
                <a:gd name="T75" fmla="*/ 1899 h 3444"/>
                <a:gd name="T76" fmla="*/ 2780 w 3532"/>
                <a:gd name="T77" fmla="*/ 1910 h 3444"/>
                <a:gd name="T78" fmla="*/ 2832 w 3532"/>
                <a:gd name="T79" fmla="*/ 1953 h 3444"/>
                <a:gd name="T80" fmla="*/ 3229 w 3532"/>
                <a:gd name="T81" fmla="*/ 2739 h 3444"/>
                <a:gd name="T82" fmla="*/ 3227 w 3532"/>
                <a:gd name="T83" fmla="*/ 2806 h 3444"/>
                <a:gd name="T84" fmla="*/ 3184 w 3532"/>
                <a:gd name="T85" fmla="*/ 2871 h 3444"/>
                <a:gd name="T86" fmla="*/ 2624 w 3532"/>
                <a:gd name="T87" fmla="*/ 3314 h 3444"/>
                <a:gd name="T88" fmla="*/ 2593 w 3532"/>
                <a:gd name="T89" fmla="*/ 3313 h 3444"/>
                <a:gd name="T90" fmla="*/ 2570 w 3532"/>
                <a:gd name="T91" fmla="*/ 3292 h 3444"/>
                <a:gd name="T92" fmla="*/ 2206 w 3532"/>
                <a:gd name="T93" fmla="*/ 1686 h 3444"/>
                <a:gd name="T94" fmla="*/ 2183 w 3532"/>
                <a:gd name="T95" fmla="*/ 1667 h 3444"/>
                <a:gd name="T96" fmla="*/ 2176 w 3532"/>
                <a:gd name="T97" fmla="*/ 1635 h 3444"/>
                <a:gd name="T98" fmla="*/ 2229 w 3532"/>
                <a:gd name="T99" fmla="*/ 892 h 3444"/>
                <a:gd name="T100" fmla="*/ 2275 w 3532"/>
                <a:gd name="T101" fmla="*/ 841 h 3444"/>
                <a:gd name="T102" fmla="*/ 3142 w 3532"/>
                <a:gd name="T103" fmla="*/ 700 h 3444"/>
                <a:gd name="T104" fmla="*/ 3211 w 3532"/>
                <a:gd name="T105" fmla="*/ 706 h 3444"/>
                <a:gd name="T106" fmla="*/ 3268 w 3532"/>
                <a:gd name="T107" fmla="*/ 746 h 3444"/>
                <a:gd name="T108" fmla="*/ 3530 w 3532"/>
                <a:gd name="T109" fmla="*/ 1438 h 3444"/>
                <a:gd name="T110" fmla="*/ 3529 w 3532"/>
                <a:gd name="T111" fmla="*/ 1469 h 3444"/>
                <a:gd name="T112" fmla="*/ 3510 w 3532"/>
                <a:gd name="T113" fmla="*/ 1493 h 3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32" h="3444">
                  <a:moveTo>
                    <a:pt x="2072" y="52"/>
                  </a:moveTo>
                  <a:lnTo>
                    <a:pt x="1861" y="1317"/>
                  </a:lnTo>
                  <a:lnTo>
                    <a:pt x="1860" y="1322"/>
                  </a:lnTo>
                  <a:lnTo>
                    <a:pt x="1858" y="1327"/>
                  </a:lnTo>
                  <a:lnTo>
                    <a:pt x="1856" y="1332"/>
                  </a:lnTo>
                  <a:lnTo>
                    <a:pt x="1853" y="1336"/>
                  </a:lnTo>
                  <a:lnTo>
                    <a:pt x="1849" y="1340"/>
                  </a:lnTo>
                  <a:lnTo>
                    <a:pt x="1846" y="1343"/>
                  </a:lnTo>
                  <a:lnTo>
                    <a:pt x="1842" y="1346"/>
                  </a:lnTo>
                  <a:lnTo>
                    <a:pt x="1837" y="1348"/>
                  </a:lnTo>
                  <a:lnTo>
                    <a:pt x="1833" y="1350"/>
                  </a:lnTo>
                  <a:lnTo>
                    <a:pt x="1828" y="1351"/>
                  </a:lnTo>
                  <a:lnTo>
                    <a:pt x="1822" y="1352"/>
                  </a:lnTo>
                  <a:lnTo>
                    <a:pt x="1817" y="1353"/>
                  </a:lnTo>
                  <a:lnTo>
                    <a:pt x="1811" y="1352"/>
                  </a:lnTo>
                  <a:lnTo>
                    <a:pt x="1806" y="1352"/>
                  </a:lnTo>
                  <a:lnTo>
                    <a:pt x="1801" y="1351"/>
                  </a:lnTo>
                  <a:lnTo>
                    <a:pt x="1795" y="1349"/>
                  </a:lnTo>
                  <a:lnTo>
                    <a:pt x="1163" y="1105"/>
                  </a:lnTo>
                  <a:lnTo>
                    <a:pt x="1149" y="1099"/>
                  </a:lnTo>
                  <a:lnTo>
                    <a:pt x="1136" y="1092"/>
                  </a:lnTo>
                  <a:lnTo>
                    <a:pt x="1125" y="1085"/>
                  </a:lnTo>
                  <a:lnTo>
                    <a:pt x="1114" y="1077"/>
                  </a:lnTo>
                  <a:lnTo>
                    <a:pt x="1104" y="1069"/>
                  </a:lnTo>
                  <a:lnTo>
                    <a:pt x="1096" y="1060"/>
                  </a:lnTo>
                  <a:lnTo>
                    <a:pt x="1089" y="1050"/>
                  </a:lnTo>
                  <a:lnTo>
                    <a:pt x="1083" y="1041"/>
                  </a:lnTo>
                  <a:lnTo>
                    <a:pt x="1078" y="1031"/>
                  </a:lnTo>
                  <a:lnTo>
                    <a:pt x="1074" y="1020"/>
                  </a:lnTo>
                  <a:lnTo>
                    <a:pt x="1071" y="1010"/>
                  </a:lnTo>
                  <a:lnTo>
                    <a:pt x="1068" y="999"/>
                  </a:lnTo>
                  <a:lnTo>
                    <a:pt x="1067" y="986"/>
                  </a:lnTo>
                  <a:lnTo>
                    <a:pt x="1067" y="975"/>
                  </a:lnTo>
                  <a:lnTo>
                    <a:pt x="1068" y="963"/>
                  </a:lnTo>
                  <a:lnTo>
                    <a:pt x="1069" y="951"/>
                  </a:lnTo>
                  <a:lnTo>
                    <a:pt x="1204" y="141"/>
                  </a:lnTo>
                  <a:lnTo>
                    <a:pt x="1206" y="130"/>
                  </a:lnTo>
                  <a:lnTo>
                    <a:pt x="1209" y="118"/>
                  </a:lnTo>
                  <a:lnTo>
                    <a:pt x="1213" y="107"/>
                  </a:lnTo>
                  <a:lnTo>
                    <a:pt x="1218" y="97"/>
                  </a:lnTo>
                  <a:lnTo>
                    <a:pt x="1224" y="86"/>
                  </a:lnTo>
                  <a:lnTo>
                    <a:pt x="1231" y="77"/>
                  </a:lnTo>
                  <a:lnTo>
                    <a:pt x="1238" y="69"/>
                  </a:lnTo>
                  <a:lnTo>
                    <a:pt x="1246" y="61"/>
                  </a:lnTo>
                  <a:lnTo>
                    <a:pt x="1255" y="54"/>
                  </a:lnTo>
                  <a:lnTo>
                    <a:pt x="1265" y="47"/>
                  </a:lnTo>
                  <a:lnTo>
                    <a:pt x="1275" y="42"/>
                  </a:lnTo>
                  <a:lnTo>
                    <a:pt x="1287" y="37"/>
                  </a:lnTo>
                  <a:lnTo>
                    <a:pt x="1300" y="33"/>
                  </a:lnTo>
                  <a:lnTo>
                    <a:pt x="1313" y="29"/>
                  </a:lnTo>
                  <a:lnTo>
                    <a:pt x="1327" y="27"/>
                  </a:lnTo>
                  <a:lnTo>
                    <a:pt x="1342" y="26"/>
                  </a:lnTo>
                  <a:lnTo>
                    <a:pt x="2020" y="0"/>
                  </a:lnTo>
                  <a:lnTo>
                    <a:pt x="2026" y="0"/>
                  </a:lnTo>
                  <a:lnTo>
                    <a:pt x="2031" y="1"/>
                  </a:lnTo>
                  <a:lnTo>
                    <a:pt x="2036" y="2"/>
                  </a:lnTo>
                  <a:lnTo>
                    <a:pt x="2042" y="3"/>
                  </a:lnTo>
                  <a:lnTo>
                    <a:pt x="2046" y="5"/>
                  </a:lnTo>
                  <a:lnTo>
                    <a:pt x="2051" y="8"/>
                  </a:lnTo>
                  <a:lnTo>
                    <a:pt x="2055" y="11"/>
                  </a:lnTo>
                  <a:lnTo>
                    <a:pt x="2059" y="14"/>
                  </a:lnTo>
                  <a:lnTo>
                    <a:pt x="2062" y="18"/>
                  </a:lnTo>
                  <a:lnTo>
                    <a:pt x="2066" y="22"/>
                  </a:lnTo>
                  <a:lnTo>
                    <a:pt x="2068" y="26"/>
                  </a:lnTo>
                  <a:lnTo>
                    <a:pt x="2070" y="32"/>
                  </a:lnTo>
                  <a:lnTo>
                    <a:pt x="2072" y="37"/>
                  </a:lnTo>
                  <a:lnTo>
                    <a:pt x="2072" y="42"/>
                  </a:lnTo>
                  <a:lnTo>
                    <a:pt x="2073" y="47"/>
                  </a:lnTo>
                  <a:lnTo>
                    <a:pt x="2072" y="52"/>
                  </a:lnTo>
                  <a:close/>
                  <a:moveTo>
                    <a:pt x="255" y="963"/>
                  </a:moveTo>
                  <a:lnTo>
                    <a:pt x="1394" y="1551"/>
                  </a:lnTo>
                  <a:lnTo>
                    <a:pt x="1399" y="1554"/>
                  </a:lnTo>
                  <a:lnTo>
                    <a:pt x="1403" y="1557"/>
                  </a:lnTo>
                  <a:lnTo>
                    <a:pt x="1408" y="1561"/>
                  </a:lnTo>
                  <a:lnTo>
                    <a:pt x="1411" y="1565"/>
                  </a:lnTo>
                  <a:lnTo>
                    <a:pt x="1413" y="1569"/>
                  </a:lnTo>
                  <a:lnTo>
                    <a:pt x="1415" y="1574"/>
                  </a:lnTo>
                  <a:lnTo>
                    <a:pt x="1417" y="1578"/>
                  </a:lnTo>
                  <a:lnTo>
                    <a:pt x="1418" y="1583"/>
                  </a:lnTo>
                  <a:lnTo>
                    <a:pt x="1418" y="1588"/>
                  </a:lnTo>
                  <a:lnTo>
                    <a:pt x="1418" y="1593"/>
                  </a:lnTo>
                  <a:lnTo>
                    <a:pt x="1417" y="1599"/>
                  </a:lnTo>
                  <a:lnTo>
                    <a:pt x="1416" y="1605"/>
                  </a:lnTo>
                  <a:lnTo>
                    <a:pt x="1414" y="1610"/>
                  </a:lnTo>
                  <a:lnTo>
                    <a:pt x="1412" y="1614"/>
                  </a:lnTo>
                  <a:lnTo>
                    <a:pt x="1409" y="1619"/>
                  </a:lnTo>
                  <a:lnTo>
                    <a:pt x="1405" y="1624"/>
                  </a:lnTo>
                  <a:lnTo>
                    <a:pt x="978" y="2151"/>
                  </a:lnTo>
                  <a:lnTo>
                    <a:pt x="969" y="2162"/>
                  </a:lnTo>
                  <a:lnTo>
                    <a:pt x="958" y="2172"/>
                  </a:lnTo>
                  <a:lnTo>
                    <a:pt x="948" y="2181"/>
                  </a:lnTo>
                  <a:lnTo>
                    <a:pt x="938" y="2188"/>
                  </a:lnTo>
                  <a:lnTo>
                    <a:pt x="926" y="2195"/>
                  </a:lnTo>
                  <a:lnTo>
                    <a:pt x="915" y="2200"/>
                  </a:lnTo>
                  <a:lnTo>
                    <a:pt x="904" y="2204"/>
                  </a:lnTo>
                  <a:lnTo>
                    <a:pt x="893" y="2208"/>
                  </a:lnTo>
                  <a:lnTo>
                    <a:pt x="882" y="2209"/>
                  </a:lnTo>
                  <a:lnTo>
                    <a:pt x="871" y="2210"/>
                  </a:lnTo>
                  <a:lnTo>
                    <a:pt x="859" y="2209"/>
                  </a:lnTo>
                  <a:lnTo>
                    <a:pt x="848" y="2208"/>
                  </a:lnTo>
                  <a:lnTo>
                    <a:pt x="837" y="2206"/>
                  </a:lnTo>
                  <a:lnTo>
                    <a:pt x="826" y="2201"/>
                  </a:lnTo>
                  <a:lnTo>
                    <a:pt x="815" y="2197"/>
                  </a:lnTo>
                  <a:lnTo>
                    <a:pt x="803" y="2192"/>
                  </a:lnTo>
                  <a:lnTo>
                    <a:pt x="74" y="1816"/>
                  </a:lnTo>
                  <a:lnTo>
                    <a:pt x="64" y="1810"/>
                  </a:lnTo>
                  <a:lnTo>
                    <a:pt x="54" y="1803"/>
                  </a:lnTo>
                  <a:lnTo>
                    <a:pt x="45" y="1796"/>
                  </a:lnTo>
                  <a:lnTo>
                    <a:pt x="37" y="1789"/>
                  </a:lnTo>
                  <a:lnTo>
                    <a:pt x="28" y="1779"/>
                  </a:lnTo>
                  <a:lnTo>
                    <a:pt x="21" y="1771"/>
                  </a:lnTo>
                  <a:lnTo>
                    <a:pt x="15" y="1761"/>
                  </a:lnTo>
                  <a:lnTo>
                    <a:pt x="10" y="1751"/>
                  </a:lnTo>
                  <a:lnTo>
                    <a:pt x="6" y="1741"/>
                  </a:lnTo>
                  <a:lnTo>
                    <a:pt x="3" y="1729"/>
                  </a:lnTo>
                  <a:lnTo>
                    <a:pt x="1" y="1717"/>
                  </a:lnTo>
                  <a:lnTo>
                    <a:pt x="0" y="1704"/>
                  </a:lnTo>
                  <a:lnTo>
                    <a:pt x="0" y="1691"/>
                  </a:lnTo>
                  <a:lnTo>
                    <a:pt x="1" y="1678"/>
                  </a:lnTo>
                  <a:lnTo>
                    <a:pt x="4" y="1664"/>
                  </a:lnTo>
                  <a:lnTo>
                    <a:pt x="7" y="1648"/>
                  </a:lnTo>
                  <a:lnTo>
                    <a:pt x="190" y="995"/>
                  </a:lnTo>
                  <a:lnTo>
                    <a:pt x="192" y="990"/>
                  </a:lnTo>
                  <a:lnTo>
                    <a:pt x="194" y="985"/>
                  </a:lnTo>
                  <a:lnTo>
                    <a:pt x="197" y="980"/>
                  </a:lnTo>
                  <a:lnTo>
                    <a:pt x="200" y="976"/>
                  </a:lnTo>
                  <a:lnTo>
                    <a:pt x="203" y="972"/>
                  </a:lnTo>
                  <a:lnTo>
                    <a:pt x="207" y="969"/>
                  </a:lnTo>
                  <a:lnTo>
                    <a:pt x="212" y="965"/>
                  </a:lnTo>
                  <a:lnTo>
                    <a:pt x="216" y="963"/>
                  </a:lnTo>
                  <a:lnTo>
                    <a:pt x="221" y="961"/>
                  </a:lnTo>
                  <a:lnTo>
                    <a:pt x="226" y="959"/>
                  </a:lnTo>
                  <a:lnTo>
                    <a:pt x="230" y="958"/>
                  </a:lnTo>
                  <a:lnTo>
                    <a:pt x="235" y="958"/>
                  </a:lnTo>
                  <a:lnTo>
                    <a:pt x="240" y="958"/>
                  </a:lnTo>
                  <a:lnTo>
                    <a:pt x="245" y="959"/>
                  </a:lnTo>
                  <a:lnTo>
                    <a:pt x="250" y="960"/>
                  </a:lnTo>
                  <a:lnTo>
                    <a:pt x="255" y="963"/>
                  </a:lnTo>
                  <a:close/>
                  <a:moveTo>
                    <a:pt x="560" y="2966"/>
                  </a:moveTo>
                  <a:lnTo>
                    <a:pt x="1474" y="2066"/>
                  </a:lnTo>
                  <a:lnTo>
                    <a:pt x="1478" y="2062"/>
                  </a:lnTo>
                  <a:lnTo>
                    <a:pt x="1482" y="2059"/>
                  </a:lnTo>
                  <a:lnTo>
                    <a:pt x="1487" y="2057"/>
                  </a:lnTo>
                  <a:lnTo>
                    <a:pt x="1491" y="2055"/>
                  </a:lnTo>
                  <a:lnTo>
                    <a:pt x="1496" y="2054"/>
                  </a:lnTo>
                  <a:lnTo>
                    <a:pt x="1501" y="2053"/>
                  </a:lnTo>
                  <a:lnTo>
                    <a:pt x="1506" y="2054"/>
                  </a:lnTo>
                  <a:lnTo>
                    <a:pt x="1511" y="2054"/>
                  </a:lnTo>
                  <a:lnTo>
                    <a:pt x="1516" y="2055"/>
                  </a:lnTo>
                  <a:lnTo>
                    <a:pt x="1521" y="2057"/>
                  </a:lnTo>
                  <a:lnTo>
                    <a:pt x="1526" y="2059"/>
                  </a:lnTo>
                  <a:lnTo>
                    <a:pt x="1531" y="2062"/>
                  </a:lnTo>
                  <a:lnTo>
                    <a:pt x="1535" y="2065"/>
                  </a:lnTo>
                  <a:lnTo>
                    <a:pt x="1539" y="2069"/>
                  </a:lnTo>
                  <a:lnTo>
                    <a:pt x="1543" y="2073"/>
                  </a:lnTo>
                  <a:lnTo>
                    <a:pt x="1546" y="2077"/>
                  </a:lnTo>
                  <a:lnTo>
                    <a:pt x="1914" y="2647"/>
                  </a:lnTo>
                  <a:lnTo>
                    <a:pt x="1922" y="2660"/>
                  </a:lnTo>
                  <a:lnTo>
                    <a:pt x="1928" y="2673"/>
                  </a:lnTo>
                  <a:lnTo>
                    <a:pt x="1933" y="2685"/>
                  </a:lnTo>
                  <a:lnTo>
                    <a:pt x="1937" y="2699"/>
                  </a:lnTo>
                  <a:lnTo>
                    <a:pt x="1940" y="2711"/>
                  </a:lnTo>
                  <a:lnTo>
                    <a:pt x="1941" y="2723"/>
                  </a:lnTo>
                  <a:lnTo>
                    <a:pt x="1942" y="2734"/>
                  </a:lnTo>
                  <a:lnTo>
                    <a:pt x="1941" y="2745"/>
                  </a:lnTo>
                  <a:lnTo>
                    <a:pt x="1939" y="2758"/>
                  </a:lnTo>
                  <a:lnTo>
                    <a:pt x="1936" y="2768"/>
                  </a:lnTo>
                  <a:lnTo>
                    <a:pt x="1933" y="2779"/>
                  </a:lnTo>
                  <a:lnTo>
                    <a:pt x="1928" y="2789"/>
                  </a:lnTo>
                  <a:lnTo>
                    <a:pt x="1922" y="2799"/>
                  </a:lnTo>
                  <a:lnTo>
                    <a:pt x="1915" y="2808"/>
                  </a:lnTo>
                  <a:lnTo>
                    <a:pt x="1908" y="2818"/>
                  </a:lnTo>
                  <a:lnTo>
                    <a:pt x="1900" y="2827"/>
                  </a:lnTo>
                  <a:lnTo>
                    <a:pt x="1315" y="3402"/>
                  </a:lnTo>
                  <a:lnTo>
                    <a:pt x="1307" y="3410"/>
                  </a:lnTo>
                  <a:lnTo>
                    <a:pt x="1297" y="3419"/>
                  </a:lnTo>
                  <a:lnTo>
                    <a:pt x="1288" y="3425"/>
                  </a:lnTo>
                  <a:lnTo>
                    <a:pt x="1277" y="3431"/>
                  </a:lnTo>
                  <a:lnTo>
                    <a:pt x="1267" y="3435"/>
                  </a:lnTo>
                  <a:lnTo>
                    <a:pt x="1256" y="3439"/>
                  </a:lnTo>
                  <a:lnTo>
                    <a:pt x="1245" y="3442"/>
                  </a:lnTo>
                  <a:lnTo>
                    <a:pt x="1234" y="3443"/>
                  </a:lnTo>
                  <a:lnTo>
                    <a:pt x="1222" y="3444"/>
                  </a:lnTo>
                  <a:lnTo>
                    <a:pt x="1211" y="3443"/>
                  </a:lnTo>
                  <a:lnTo>
                    <a:pt x="1199" y="3442"/>
                  </a:lnTo>
                  <a:lnTo>
                    <a:pt x="1187" y="3439"/>
                  </a:lnTo>
                  <a:lnTo>
                    <a:pt x="1174" y="3435"/>
                  </a:lnTo>
                  <a:lnTo>
                    <a:pt x="1161" y="3430"/>
                  </a:lnTo>
                  <a:lnTo>
                    <a:pt x="1148" y="3423"/>
                  </a:lnTo>
                  <a:lnTo>
                    <a:pt x="1136" y="3415"/>
                  </a:lnTo>
                  <a:lnTo>
                    <a:pt x="572" y="3038"/>
                  </a:lnTo>
                  <a:lnTo>
                    <a:pt x="567" y="3035"/>
                  </a:lnTo>
                  <a:lnTo>
                    <a:pt x="563" y="3031"/>
                  </a:lnTo>
                  <a:lnTo>
                    <a:pt x="559" y="3027"/>
                  </a:lnTo>
                  <a:lnTo>
                    <a:pt x="556" y="3023"/>
                  </a:lnTo>
                  <a:lnTo>
                    <a:pt x="553" y="3018"/>
                  </a:lnTo>
                  <a:lnTo>
                    <a:pt x="551" y="3014"/>
                  </a:lnTo>
                  <a:lnTo>
                    <a:pt x="549" y="3009"/>
                  </a:lnTo>
                  <a:lnTo>
                    <a:pt x="548" y="3004"/>
                  </a:lnTo>
                  <a:lnTo>
                    <a:pt x="548" y="2999"/>
                  </a:lnTo>
                  <a:lnTo>
                    <a:pt x="548" y="2994"/>
                  </a:lnTo>
                  <a:lnTo>
                    <a:pt x="548" y="2988"/>
                  </a:lnTo>
                  <a:lnTo>
                    <a:pt x="549" y="2983"/>
                  </a:lnTo>
                  <a:lnTo>
                    <a:pt x="551" y="2978"/>
                  </a:lnTo>
                  <a:lnTo>
                    <a:pt x="553" y="2974"/>
                  </a:lnTo>
                  <a:lnTo>
                    <a:pt x="556" y="2970"/>
                  </a:lnTo>
                  <a:lnTo>
                    <a:pt x="560" y="2966"/>
                  </a:lnTo>
                  <a:close/>
                  <a:moveTo>
                    <a:pt x="2570" y="3292"/>
                  </a:moveTo>
                  <a:lnTo>
                    <a:pt x="1990" y="2150"/>
                  </a:lnTo>
                  <a:lnTo>
                    <a:pt x="1987" y="2144"/>
                  </a:lnTo>
                  <a:lnTo>
                    <a:pt x="1986" y="2139"/>
                  </a:lnTo>
                  <a:lnTo>
                    <a:pt x="1985" y="2134"/>
                  </a:lnTo>
                  <a:lnTo>
                    <a:pt x="1985" y="2128"/>
                  </a:lnTo>
                  <a:lnTo>
                    <a:pt x="1986" y="2124"/>
                  </a:lnTo>
                  <a:lnTo>
                    <a:pt x="1987" y="2119"/>
                  </a:lnTo>
                  <a:lnTo>
                    <a:pt x="1988" y="2114"/>
                  </a:lnTo>
                  <a:lnTo>
                    <a:pt x="1990" y="2110"/>
                  </a:lnTo>
                  <a:lnTo>
                    <a:pt x="1993" y="2105"/>
                  </a:lnTo>
                  <a:lnTo>
                    <a:pt x="1996" y="2101"/>
                  </a:lnTo>
                  <a:lnTo>
                    <a:pt x="2000" y="2098"/>
                  </a:lnTo>
                  <a:lnTo>
                    <a:pt x="2003" y="2094"/>
                  </a:lnTo>
                  <a:lnTo>
                    <a:pt x="2009" y="2091"/>
                  </a:lnTo>
                  <a:lnTo>
                    <a:pt x="2013" y="2088"/>
                  </a:lnTo>
                  <a:lnTo>
                    <a:pt x="2018" y="2086"/>
                  </a:lnTo>
                  <a:lnTo>
                    <a:pt x="2024" y="2084"/>
                  </a:lnTo>
                  <a:lnTo>
                    <a:pt x="2678" y="1906"/>
                  </a:lnTo>
                  <a:lnTo>
                    <a:pt x="2693" y="1902"/>
                  </a:lnTo>
                  <a:lnTo>
                    <a:pt x="2707" y="1899"/>
                  </a:lnTo>
                  <a:lnTo>
                    <a:pt x="2720" y="1898"/>
                  </a:lnTo>
                  <a:lnTo>
                    <a:pt x="2734" y="1898"/>
                  </a:lnTo>
                  <a:lnTo>
                    <a:pt x="2746" y="1900"/>
                  </a:lnTo>
                  <a:lnTo>
                    <a:pt x="2758" y="1902"/>
                  </a:lnTo>
                  <a:lnTo>
                    <a:pt x="2769" y="1906"/>
                  </a:lnTo>
                  <a:lnTo>
                    <a:pt x="2780" y="1910"/>
                  </a:lnTo>
                  <a:lnTo>
                    <a:pt x="2791" y="1915"/>
                  </a:lnTo>
                  <a:lnTo>
                    <a:pt x="2800" y="1921"/>
                  </a:lnTo>
                  <a:lnTo>
                    <a:pt x="2809" y="1928"/>
                  </a:lnTo>
                  <a:lnTo>
                    <a:pt x="2817" y="1936"/>
                  </a:lnTo>
                  <a:lnTo>
                    <a:pt x="2825" y="1944"/>
                  </a:lnTo>
                  <a:lnTo>
                    <a:pt x="2832" y="1953"/>
                  </a:lnTo>
                  <a:lnTo>
                    <a:pt x="2838" y="1963"/>
                  </a:lnTo>
                  <a:lnTo>
                    <a:pt x="2845" y="1974"/>
                  </a:lnTo>
                  <a:lnTo>
                    <a:pt x="3216" y="2706"/>
                  </a:lnTo>
                  <a:lnTo>
                    <a:pt x="3221" y="2717"/>
                  </a:lnTo>
                  <a:lnTo>
                    <a:pt x="3225" y="2727"/>
                  </a:lnTo>
                  <a:lnTo>
                    <a:pt x="3229" y="2739"/>
                  </a:lnTo>
                  <a:lnTo>
                    <a:pt x="3231" y="2751"/>
                  </a:lnTo>
                  <a:lnTo>
                    <a:pt x="3232" y="2762"/>
                  </a:lnTo>
                  <a:lnTo>
                    <a:pt x="3233" y="2773"/>
                  </a:lnTo>
                  <a:lnTo>
                    <a:pt x="3232" y="2784"/>
                  </a:lnTo>
                  <a:lnTo>
                    <a:pt x="3230" y="2795"/>
                  </a:lnTo>
                  <a:lnTo>
                    <a:pt x="3227" y="2806"/>
                  </a:lnTo>
                  <a:lnTo>
                    <a:pt x="3223" y="2818"/>
                  </a:lnTo>
                  <a:lnTo>
                    <a:pt x="3218" y="2829"/>
                  </a:lnTo>
                  <a:lnTo>
                    <a:pt x="3212" y="2839"/>
                  </a:lnTo>
                  <a:lnTo>
                    <a:pt x="3204" y="2850"/>
                  </a:lnTo>
                  <a:lnTo>
                    <a:pt x="3194" y="2860"/>
                  </a:lnTo>
                  <a:lnTo>
                    <a:pt x="3184" y="2871"/>
                  </a:lnTo>
                  <a:lnTo>
                    <a:pt x="3173" y="2881"/>
                  </a:lnTo>
                  <a:lnTo>
                    <a:pt x="2643" y="3304"/>
                  </a:lnTo>
                  <a:lnTo>
                    <a:pt x="2638" y="3307"/>
                  </a:lnTo>
                  <a:lnTo>
                    <a:pt x="2633" y="3310"/>
                  </a:lnTo>
                  <a:lnTo>
                    <a:pt x="2629" y="3312"/>
                  </a:lnTo>
                  <a:lnTo>
                    <a:pt x="2624" y="3314"/>
                  </a:lnTo>
                  <a:lnTo>
                    <a:pt x="2619" y="3315"/>
                  </a:lnTo>
                  <a:lnTo>
                    <a:pt x="2613" y="3316"/>
                  </a:lnTo>
                  <a:lnTo>
                    <a:pt x="2608" y="3316"/>
                  </a:lnTo>
                  <a:lnTo>
                    <a:pt x="2603" y="3315"/>
                  </a:lnTo>
                  <a:lnTo>
                    <a:pt x="2598" y="3314"/>
                  </a:lnTo>
                  <a:lnTo>
                    <a:pt x="2593" y="3313"/>
                  </a:lnTo>
                  <a:lnTo>
                    <a:pt x="2588" y="3311"/>
                  </a:lnTo>
                  <a:lnTo>
                    <a:pt x="2584" y="3308"/>
                  </a:lnTo>
                  <a:lnTo>
                    <a:pt x="2580" y="3305"/>
                  </a:lnTo>
                  <a:lnTo>
                    <a:pt x="2576" y="3302"/>
                  </a:lnTo>
                  <a:lnTo>
                    <a:pt x="2573" y="3297"/>
                  </a:lnTo>
                  <a:lnTo>
                    <a:pt x="2570" y="3292"/>
                  </a:lnTo>
                  <a:close/>
                  <a:moveTo>
                    <a:pt x="3494" y="1498"/>
                  </a:moveTo>
                  <a:lnTo>
                    <a:pt x="2227" y="1688"/>
                  </a:lnTo>
                  <a:lnTo>
                    <a:pt x="2222" y="1688"/>
                  </a:lnTo>
                  <a:lnTo>
                    <a:pt x="2216" y="1688"/>
                  </a:lnTo>
                  <a:lnTo>
                    <a:pt x="2211" y="1687"/>
                  </a:lnTo>
                  <a:lnTo>
                    <a:pt x="2206" y="1686"/>
                  </a:lnTo>
                  <a:lnTo>
                    <a:pt x="2202" y="1684"/>
                  </a:lnTo>
                  <a:lnTo>
                    <a:pt x="2198" y="1681"/>
                  </a:lnTo>
                  <a:lnTo>
                    <a:pt x="2194" y="1678"/>
                  </a:lnTo>
                  <a:lnTo>
                    <a:pt x="2190" y="1675"/>
                  </a:lnTo>
                  <a:lnTo>
                    <a:pt x="2187" y="1671"/>
                  </a:lnTo>
                  <a:lnTo>
                    <a:pt x="2183" y="1667"/>
                  </a:lnTo>
                  <a:lnTo>
                    <a:pt x="2181" y="1661"/>
                  </a:lnTo>
                  <a:lnTo>
                    <a:pt x="2179" y="1657"/>
                  </a:lnTo>
                  <a:lnTo>
                    <a:pt x="2177" y="1652"/>
                  </a:lnTo>
                  <a:lnTo>
                    <a:pt x="2176" y="1646"/>
                  </a:lnTo>
                  <a:lnTo>
                    <a:pt x="2176" y="1641"/>
                  </a:lnTo>
                  <a:lnTo>
                    <a:pt x="2176" y="1635"/>
                  </a:lnTo>
                  <a:lnTo>
                    <a:pt x="2213" y="959"/>
                  </a:lnTo>
                  <a:lnTo>
                    <a:pt x="2214" y="944"/>
                  </a:lnTo>
                  <a:lnTo>
                    <a:pt x="2217" y="929"/>
                  </a:lnTo>
                  <a:lnTo>
                    <a:pt x="2220" y="915"/>
                  </a:lnTo>
                  <a:lnTo>
                    <a:pt x="2224" y="903"/>
                  </a:lnTo>
                  <a:lnTo>
                    <a:pt x="2229" y="892"/>
                  </a:lnTo>
                  <a:lnTo>
                    <a:pt x="2235" y="881"/>
                  </a:lnTo>
                  <a:lnTo>
                    <a:pt x="2241" y="871"/>
                  </a:lnTo>
                  <a:lnTo>
                    <a:pt x="2250" y="862"/>
                  </a:lnTo>
                  <a:lnTo>
                    <a:pt x="2257" y="854"/>
                  </a:lnTo>
                  <a:lnTo>
                    <a:pt x="2266" y="847"/>
                  </a:lnTo>
                  <a:lnTo>
                    <a:pt x="2275" y="841"/>
                  </a:lnTo>
                  <a:lnTo>
                    <a:pt x="2285" y="836"/>
                  </a:lnTo>
                  <a:lnTo>
                    <a:pt x="2296" y="831"/>
                  </a:lnTo>
                  <a:lnTo>
                    <a:pt x="2307" y="827"/>
                  </a:lnTo>
                  <a:lnTo>
                    <a:pt x="2319" y="824"/>
                  </a:lnTo>
                  <a:lnTo>
                    <a:pt x="2331" y="822"/>
                  </a:lnTo>
                  <a:lnTo>
                    <a:pt x="3142" y="700"/>
                  </a:lnTo>
                  <a:lnTo>
                    <a:pt x="3154" y="699"/>
                  </a:lnTo>
                  <a:lnTo>
                    <a:pt x="3166" y="699"/>
                  </a:lnTo>
                  <a:lnTo>
                    <a:pt x="3177" y="699"/>
                  </a:lnTo>
                  <a:lnTo>
                    <a:pt x="3189" y="700"/>
                  </a:lnTo>
                  <a:lnTo>
                    <a:pt x="3200" y="702"/>
                  </a:lnTo>
                  <a:lnTo>
                    <a:pt x="3211" y="706"/>
                  </a:lnTo>
                  <a:lnTo>
                    <a:pt x="3222" y="710"/>
                  </a:lnTo>
                  <a:lnTo>
                    <a:pt x="3232" y="715"/>
                  </a:lnTo>
                  <a:lnTo>
                    <a:pt x="3241" y="721"/>
                  </a:lnTo>
                  <a:lnTo>
                    <a:pt x="3250" y="728"/>
                  </a:lnTo>
                  <a:lnTo>
                    <a:pt x="3259" y="737"/>
                  </a:lnTo>
                  <a:lnTo>
                    <a:pt x="3268" y="746"/>
                  </a:lnTo>
                  <a:lnTo>
                    <a:pt x="3275" y="758"/>
                  </a:lnTo>
                  <a:lnTo>
                    <a:pt x="3282" y="769"/>
                  </a:lnTo>
                  <a:lnTo>
                    <a:pt x="3289" y="782"/>
                  </a:lnTo>
                  <a:lnTo>
                    <a:pt x="3294" y="796"/>
                  </a:lnTo>
                  <a:lnTo>
                    <a:pt x="3529" y="1433"/>
                  </a:lnTo>
                  <a:lnTo>
                    <a:pt x="3530" y="1438"/>
                  </a:lnTo>
                  <a:lnTo>
                    <a:pt x="3531" y="1443"/>
                  </a:lnTo>
                  <a:lnTo>
                    <a:pt x="3532" y="1449"/>
                  </a:lnTo>
                  <a:lnTo>
                    <a:pt x="3532" y="1454"/>
                  </a:lnTo>
                  <a:lnTo>
                    <a:pt x="3531" y="1459"/>
                  </a:lnTo>
                  <a:lnTo>
                    <a:pt x="3530" y="1464"/>
                  </a:lnTo>
                  <a:lnTo>
                    <a:pt x="3529" y="1469"/>
                  </a:lnTo>
                  <a:lnTo>
                    <a:pt x="3527" y="1474"/>
                  </a:lnTo>
                  <a:lnTo>
                    <a:pt x="3525" y="1478"/>
                  </a:lnTo>
                  <a:lnTo>
                    <a:pt x="3522" y="1483"/>
                  </a:lnTo>
                  <a:lnTo>
                    <a:pt x="3518" y="1487"/>
                  </a:lnTo>
                  <a:lnTo>
                    <a:pt x="3515" y="1490"/>
                  </a:lnTo>
                  <a:lnTo>
                    <a:pt x="3510" y="1493"/>
                  </a:lnTo>
                  <a:lnTo>
                    <a:pt x="3506" y="1495"/>
                  </a:lnTo>
                  <a:lnTo>
                    <a:pt x="3501" y="1497"/>
                  </a:lnTo>
                  <a:lnTo>
                    <a:pt x="3494" y="1498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780064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Вертикальный заголовок и текст">
    <p:bg>
      <p:bgPr>
        <a:solidFill>
          <a:srgbClr val="53575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3"/>
          <p:cNvSpPr>
            <a:spLocks noChangeAspect="1" noChangeArrowheads="1" noTextEdit="1"/>
          </p:cNvSpPr>
          <p:nvPr userDrawn="1"/>
        </p:nvSpPr>
        <p:spPr bwMode="auto">
          <a:xfrm>
            <a:off x="15" y="393700"/>
            <a:ext cx="9906000" cy="646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Freeform 6"/>
          <p:cNvSpPr>
            <a:spLocks/>
          </p:cNvSpPr>
          <p:nvPr userDrawn="1"/>
        </p:nvSpPr>
        <p:spPr bwMode="auto">
          <a:xfrm>
            <a:off x="6719242" y="2214732"/>
            <a:ext cx="990600" cy="2163763"/>
          </a:xfrm>
          <a:custGeom>
            <a:avLst/>
            <a:gdLst>
              <a:gd name="T0" fmla="*/ 1727 w 1727"/>
              <a:gd name="T1" fmla="*/ 4091 h 4091"/>
              <a:gd name="T2" fmla="*/ 356 w 1727"/>
              <a:gd name="T3" fmla="*/ 3560 h 4091"/>
              <a:gd name="T4" fmla="*/ 329 w 1727"/>
              <a:gd name="T5" fmla="*/ 3550 h 4091"/>
              <a:gd name="T6" fmla="*/ 304 w 1727"/>
              <a:gd name="T7" fmla="*/ 3538 h 4091"/>
              <a:gd name="T8" fmla="*/ 279 w 1727"/>
              <a:gd name="T9" fmla="*/ 3526 h 4091"/>
              <a:gd name="T10" fmla="*/ 256 w 1727"/>
              <a:gd name="T11" fmla="*/ 3514 h 4091"/>
              <a:gd name="T12" fmla="*/ 234 w 1727"/>
              <a:gd name="T13" fmla="*/ 3501 h 4091"/>
              <a:gd name="T14" fmla="*/ 213 w 1727"/>
              <a:gd name="T15" fmla="*/ 3487 h 4091"/>
              <a:gd name="T16" fmla="*/ 193 w 1727"/>
              <a:gd name="T17" fmla="*/ 3473 h 4091"/>
              <a:gd name="T18" fmla="*/ 174 w 1727"/>
              <a:gd name="T19" fmla="*/ 3458 h 4091"/>
              <a:gd name="T20" fmla="*/ 156 w 1727"/>
              <a:gd name="T21" fmla="*/ 3443 h 4091"/>
              <a:gd name="T22" fmla="*/ 140 w 1727"/>
              <a:gd name="T23" fmla="*/ 3428 h 4091"/>
              <a:gd name="T24" fmla="*/ 123 w 1727"/>
              <a:gd name="T25" fmla="*/ 3411 h 4091"/>
              <a:gd name="T26" fmla="*/ 108 w 1727"/>
              <a:gd name="T27" fmla="*/ 3394 h 4091"/>
              <a:gd name="T28" fmla="*/ 94 w 1727"/>
              <a:gd name="T29" fmla="*/ 3378 h 4091"/>
              <a:gd name="T30" fmla="*/ 81 w 1727"/>
              <a:gd name="T31" fmla="*/ 3360 h 4091"/>
              <a:gd name="T32" fmla="*/ 69 w 1727"/>
              <a:gd name="T33" fmla="*/ 3342 h 4091"/>
              <a:gd name="T34" fmla="*/ 59 w 1727"/>
              <a:gd name="T35" fmla="*/ 3324 h 4091"/>
              <a:gd name="T36" fmla="*/ 49 w 1727"/>
              <a:gd name="T37" fmla="*/ 3306 h 4091"/>
              <a:gd name="T38" fmla="*/ 40 w 1727"/>
              <a:gd name="T39" fmla="*/ 3286 h 4091"/>
              <a:gd name="T40" fmla="*/ 32 w 1727"/>
              <a:gd name="T41" fmla="*/ 3267 h 4091"/>
              <a:gd name="T42" fmla="*/ 25 w 1727"/>
              <a:gd name="T43" fmla="*/ 3247 h 4091"/>
              <a:gd name="T44" fmla="*/ 19 w 1727"/>
              <a:gd name="T45" fmla="*/ 3227 h 4091"/>
              <a:gd name="T46" fmla="*/ 13 w 1727"/>
              <a:gd name="T47" fmla="*/ 3207 h 4091"/>
              <a:gd name="T48" fmla="*/ 9 w 1727"/>
              <a:gd name="T49" fmla="*/ 3187 h 4091"/>
              <a:gd name="T50" fmla="*/ 6 w 1727"/>
              <a:gd name="T51" fmla="*/ 3165 h 4091"/>
              <a:gd name="T52" fmla="*/ 4 w 1727"/>
              <a:gd name="T53" fmla="*/ 3145 h 4091"/>
              <a:gd name="T54" fmla="*/ 1 w 1727"/>
              <a:gd name="T55" fmla="*/ 3123 h 4091"/>
              <a:gd name="T56" fmla="*/ 0 w 1727"/>
              <a:gd name="T57" fmla="*/ 3102 h 4091"/>
              <a:gd name="T58" fmla="*/ 0 w 1727"/>
              <a:gd name="T59" fmla="*/ 3080 h 4091"/>
              <a:gd name="T60" fmla="*/ 1 w 1727"/>
              <a:gd name="T61" fmla="*/ 3058 h 4091"/>
              <a:gd name="T62" fmla="*/ 4 w 1727"/>
              <a:gd name="T63" fmla="*/ 3036 h 4091"/>
              <a:gd name="T64" fmla="*/ 6 w 1727"/>
              <a:gd name="T65" fmla="*/ 3014 h 4091"/>
              <a:gd name="T66" fmla="*/ 9 w 1727"/>
              <a:gd name="T67" fmla="*/ 2991 h 4091"/>
              <a:gd name="T68" fmla="*/ 508 w 1727"/>
              <a:gd name="T69" fmla="*/ 0 h 4091"/>
              <a:gd name="T70" fmla="*/ 482 w 1727"/>
              <a:gd name="T71" fmla="*/ 2806 h 4091"/>
              <a:gd name="T72" fmla="*/ 483 w 1727"/>
              <a:gd name="T73" fmla="*/ 2832 h 4091"/>
              <a:gd name="T74" fmla="*/ 484 w 1727"/>
              <a:gd name="T75" fmla="*/ 2859 h 4091"/>
              <a:gd name="T76" fmla="*/ 487 w 1727"/>
              <a:gd name="T77" fmla="*/ 2885 h 4091"/>
              <a:gd name="T78" fmla="*/ 492 w 1727"/>
              <a:gd name="T79" fmla="*/ 2910 h 4091"/>
              <a:gd name="T80" fmla="*/ 497 w 1727"/>
              <a:gd name="T81" fmla="*/ 2937 h 4091"/>
              <a:gd name="T82" fmla="*/ 504 w 1727"/>
              <a:gd name="T83" fmla="*/ 2963 h 4091"/>
              <a:gd name="T84" fmla="*/ 511 w 1727"/>
              <a:gd name="T85" fmla="*/ 2989 h 4091"/>
              <a:gd name="T86" fmla="*/ 521 w 1727"/>
              <a:gd name="T87" fmla="*/ 3015 h 4091"/>
              <a:gd name="T88" fmla="*/ 531 w 1727"/>
              <a:gd name="T89" fmla="*/ 3039 h 4091"/>
              <a:gd name="T90" fmla="*/ 542 w 1727"/>
              <a:gd name="T91" fmla="*/ 3064 h 4091"/>
              <a:gd name="T92" fmla="*/ 555 w 1727"/>
              <a:gd name="T93" fmla="*/ 3086 h 4091"/>
              <a:gd name="T94" fmla="*/ 569 w 1727"/>
              <a:gd name="T95" fmla="*/ 3109 h 4091"/>
              <a:gd name="T96" fmla="*/ 585 w 1727"/>
              <a:gd name="T97" fmla="*/ 3131 h 4091"/>
              <a:gd name="T98" fmla="*/ 602 w 1727"/>
              <a:gd name="T99" fmla="*/ 3150 h 4091"/>
              <a:gd name="T100" fmla="*/ 619 w 1727"/>
              <a:gd name="T101" fmla="*/ 3168 h 4091"/>
              <a:gd name="T102" fmla="*/ 639 w 1727"/>
              <a:gd name="T103" fmla="*/ 3186 h 4091"/>
              <a:gd name="T104" fmla="*/ 1727 w 1727"/>
              <a:gd name="T105" fmla="*/ 4091 h 40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727" h="4091">
                <a:moveTo>
                  <a:pt x="1727" y="4091"/>
                </a:moveTo>
                <a:lnTo>
                  <a:pt x="356" y="3560"/>
                </a:lnTo>
                <a:lnTo>
                  <a:pt x="329" y="3550"/>
                </a:lnTo>
                <a:lnTo>
                  <a:pt x="304" y="3538"/>
                </a:lnTo>
                <a:lnTo>
                  <a:pt x="279" y="3526"/>
                </a:lnTo>
                <a:lnTo>
                  <a:pt x="256" y="3514"/>
                </a:lnTo>
                <a:lnTo>
                  <a:pt x="234" y="3501"/>
                </a:lnTo>
                <a:lnTo>
                  <a:pt x="213" y="3487"/>
                </a:lnTo>
                <a:lnTo>
                  <a:pt x="193" y="3473"/>
                </a:lnTo>
                <a:lnTo>
                  <a:pt x="174" y="3458"/>
                </a:lnTo>
                <a:lnTo>
                  <a:pt x="156" y="3443"/>
                </a:lnTo>
                <a:lnTo>
                  <a:pt x="140" y="3428"/>
                </a:lnTo>
                <a:lnTo>
                  <a:pt x="123" y="3411"/>
                </a:lnTo>
                <a:lnTo>
                  <a:pt x="108" y="3394"/>
                </a:lnTo>
                <a:lnTo>
                  <a:pt x="94" y="3378"/>
                </a:lnTo>
                <a:lnTo>
                  <a:pt x="81" y="3360"/>
                </a:lnTo>
                <a:lnTo>
                  <a:pt x="69" y="3342"/>
                </a:lnTo>
                <a:lnTo>
                  <a:pt x="59" y="3324"/>
                </a:lnTo>
                <a:lnTo>
                  <a:pt x="49" y="3306"/>
                </a:lnTo>
                <a:lnTo>
                  <a:pt x="40" y="3286"/>
                </a:lnTo>
                <a:lnTo>
                  <a:pt x="32" y="3267"/>
                </a:lnTo>
                <a:lnTo>
                  <a:pt x="25" y="3247"/>
                </a:lnTo>
                <a:lnTo>
                  <a:pt x="19" y="3227"/>
                </a:lnTo>
                <a:lnTo>
                  <a:pt x="13" y="3207"/>
                </a:lnTo>
                <a:lnTo>
                  <a:pt x="9" y="3187"/>
                </a:lnTo>
                <a:lnTo>
                  <a:pt x="6" y="3165"/>
                </a:lnTo>
                <a:lnTo>
                  <a:pt x="4" y="3145"/>
                </a:lnTo>
                <a:lnTo>
                  <a:pt x="1" y="3123"/>
                </a:lnTo>
                <a:lnTo>
                  <a:pt x="0" y="3102"/>
                </a:lnTo>
                <a:lnTo>
                  <a:pt x="0" y="3080"/>
                </a:lnTo>
                <a:lnTo>
                  <a:pt x="1" y="3058"/>
                </a:lnTo>
                <a:lnTo>
                  <a:pt x="4" y="3036"/>
                </a:lnTo>
                <a:lnTo>
                  <a:pt x="6" y="3014"/>
                </a:lnTo>
                <a:lnTo>
                  <a:pt x="9" y="2991"/>
                </a:lnTo>
                <a:lnTo>
                  <a:pt x="508" y="0"/>
                </a:lnTo>
                <a:lnTo>
                  <a:pt x="482" y="2806"/>
                </a:lnTo>
                <a:lnTo>
                  <a:pt x="483" y="2832"/>
                </a:lnTo>
                <a:lnTo>
                  <a:pt x="484" y="2859"/>
                </a:lnTo>
                <a:lnTo>
                  <a:pt x="487" y="2885"/>
                </a:lnTo>
                <a:lnTo>
                  <a:pt x="492" y="2910"/>
                </a:lnTo>
                <a:lnTo>
                  <a:pt x="497" y="2937"/>
                </a:lnTo>
                <a:lnTo>
                  <a:pt x="504" y="2963"/>
                </a:lnTo>
                <a:lnTo>
                  <a:pt x="511" y="2989"/>
                </a:lnTo>
                <a:lnTo>
                  <a:pt x="521" y="3015"/>
                </a:lnTo>
                <a:lnTo>
                  <a:pt x="531" y="3039"/>
                </a:lnTo>
                <a:lnTo>
                  <a:pt x="542" y="3064"/>
                </a:lnTo>
                <a:lnTo>
                  <a:pt x="555" y="3086"/>
                </a:lnTo>
                <a:lnTo>
                  <a:pt x="569" y="3109"/>
                </a:lnTo>
                <a:lnTo>
                  <a:pt x="585" y="3131"/>
                </a:lnTo>
                <a:lnTo>
                  <a:pt x="602" y="3150"/>
                </a:lnTo>
                <a:lnTo>
                  <a:pt x="619" y="3168"/>
                </a:lnTo>
                <a:lnTo>
                  <a:pt x="639" y="3186"/>
                </a:lnTo>
                <a:lnTo>
                  <a:pt x="1727" y="4091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Freeform 8"/>
          <p:cNvSpPr>
            <a:spLocks/>
          </p:cNvSpPr>
          <p:nvPr userDrawn="1"/>
        </p:nvSpPr>
        <p:spPr bwMode="auto">
          <a:xfrm>
            <a:off x="9102933" y="3473452"/>
            <a:ext cx="803143" cy="1114425"/>
          </a:xfrm>
          <a:custGeom>
            <a:avLst/>
            <a:gdLst>
              <a:gd name="T0" fmla="*/ 0 w 1401"/>
              <a:gd name="T1" fmla="*/ 2106 h 2106"/>
              <a:gd name="T2" fmla="*/ 81 w 1401"/>
              <a:gd name="T3" fmla="*/ 638 h 2106"/>
              <a:gd name="T4" fmla="*/ 82 w 1401"/>
              <a:gd name="T5" fmla="*/ 609 h 2106"/>
              <a:gd name="T6" fmla="*/ 86 w 1401"/>
              <a:gd name="T7" fmla="*/ 581 h 2106"/>
              <a:gd name="T8" fmla="*/ 90 w 1401"/>
              <a:gd name="T9" fmla="*/ 555 h 2106"/>
              <a:gd name="T10" fmla="*/ 94 w 1401"/>
              <a:gd name="T11" fmla="*/ 529 h 2106"/>
              <a:gd name="T12" fmla="*/ 100 w 1401"/>
              <a:gd name="T13" fmla="*/ 504 h 2106"/>
              <a:gd name="T14" fmla="*/ 106 w 1401"/>
              <a:gd name="T15" fmla="*/ 480 h 2106"/>
              <a:gd name="T16" fmla="*/ 114 w 1401"/>
              <a:gd name="T17" fmla="*/ 456 h 2106"/>
              <a:gd name="T18" fmla="*/ 122 w 1401"/>
              <a:gd name="T19" fmla="*/ 433 h 2106"/>
              <a:gd name="T20" fmla="*/ 131 w 1401"/>
              <a:gd name="T21" fmla="*/ 412 h 2106"/>
              <a:gd name="T22" fmla="*/ 141 w 1401"/>
              <a:gd name="T23" fmla="*/ 391 h 2106"/>
              <a:gd name="T24" fmla="*/ 151 w 1401"/>
              <a:gd name="T25" fmla="*/ 371 h 2106"/>
              <a:gd name="T26" fmla="*/ 162 w 1401"/>
              <a:gd name="T27" fmla="*/ 351 h 2106"/>
              <a:gd name="T28" fmla="*/ 174 w 1401"/>
              <a:gd name="T29" fmla="*/ 333 h 2106"/>
              <a:gd name="T30" fmla="*/ 187 w 1401"/>
              <a:gd name="T31" fmla="*/ 316 h 2106"/>
              <a:gd name="T32" fmla="*/ 200 w 1401"/>
              <a:gd name="T33" fmla="*/ 299 h 2106"/>
              <a:gd name="T34" fmla="*/ 214 w 1401"/>
              <a:gd name="T35" fmla="*/ 283 h 2106"/>
              <a:gd name="T36" fmla="*/ 229 w 1401"/>
              <a:gd name="T37" fmla="*/ 268 h 2106"/>
              <a:gd name="T38" fmla="*/ 244 w 1401"/>
              <a:gd name="T39" fmla="*/ 253 h 2106"/>
              <a:gd name="T40" fmla="*/ 259 w 1401"/>
              <a:gd name="T41" fmla="*/ 240 h 2106"/>
              <a:gd name="T42" fmla="*/ 277 w 1401"/>
              <a:gd name="T43" fmla="*/ 227 h 2106"/>
              <a:gd name="T44" fmla="*/ 294 w 1401"/>
              <a:gd name="T45" fmla="*/ 215 h 2106"/>
              <a:gd name="T46" fmla="*/ 311 w 1401"/>
              <a:gd name="T47" fmla="*/ 203 h 2106"/>
              <a:gd name="T48" fmla="*/ 330 w 1401"/>
              <a:gd name="T49" fmla="*/ 194 h 2106"/>
              <a:gd name="T50" fmla="*/ 348 w 1401"/>
              <a:gd name="T51" fmla="*/ 184 h 2106"/>
              <a:gd name="T52" fmla="*/ 367 w 1401"/>
              <a:gd name="T53" fmla="*/ 174 h 2106"/>
              <a:gd name="T54" fmla="*/ 387 w 1401"/>
              <a:gd name="T55" fmla="*/ 167 h 2106"/>
              <a:gd name="T56" fmla="*/ 407 w 1401"/>
              <a:gd name="T57" fmla="*/ 159 h 2106"/>
              <a:gd name="T58" fmla="*/ 428 w 1401"/>
              <a:gd name="T59" fmla="*/ 153 h 2106"/>
              <a:gd name="T60" fmla="*/ 450 w 1401"/>
              <a:gd name="T61" fmla="*/ 146 h 2106"/>
              <a:gd name="T62" fmla="*/ 471 w 1401"/>
              <a:gd name="T63" fmla="*/ 141 h 2106"/>
              <a:gd name="T64" fmla="*/ 493 w 1401"/>
              <a:gd name="T65" fmla="*/ 136 h 2106"/>
              <a:gd name="T66" fmla="*/ 515 w 1401"/>
              <a:gd name="T67" fmla="*/ 133 h 2106"/>
              <a:gd name="T68" fmla="*/ 1401 w 1401"/>
              <a:gd name="T69" fmla="*/ 0 h 2106"/>
              <a:gd name="T70" fmla="*/ 1401 w 1401"/>
              <a:gd name="T71" fmla="*/ 348 h 2106"/>
              <a:gd name="T72" fmla="*/ 837 w 1401"/>
              <a:gd name="T73" fmla="*/ 525 h 2106"/>
              <a:gd name="T74" fmla="*/ 813 w 1401"/>
              <a:gd name="T75" fmla="*/ 534 h 2106"/>
              <a:gd name="T76" fmla="*/ 789 w 1401"/>
              <a:gd name="T77" fmla="*/ 543 h 2106"/>
              <a:gd name="T78" fmla="*/ 765 w 1401"/>
              <a:gd name="T79" fmla="*/ 554 h 2106"/>
              <a:gd name="T80" fmla="*/ 740 w 1401"/>
              <a:gd name="T81" fmla="*/ 566 h 2106"/>
              <a:gd name="T82" fmla="*/ 717 w 1401"/>
              <a:gd name="T83" fmla="*/ 580 h 2106"/>
              <a:gd name="T84" fmla="*/ 695 w 1401"/>
              <a:gd name="T85" fmla="*/ 594 h 2106"/>
              <a:gd name="T86" fmla="*/ 672 w 1401"/>
              <a:gd name="T87" fmla="*/ 609 h 2106"/>
              <a:gd name="T88" fmla="*/ 650 w 1401"/>
              <a:gd name="T89" fmla="*/ 627 h 2106"/>
              <a:gd name="T90" fmla="*/ 631 w 1401"/>
              <a:gd name="T91" fmla="*/ 644 h 2106"/>
              <a:gd name="T92" fmla="*/ 612 w 1401"/>
              <a:gd name="T93" fmla="*/ 662 h 2106"/>
              <a:gd name="T94" fmla="*/ 593 w 1401"/>
              <a:gd name="T95" fmla="*/ 682 h 2106"/>
              <a:gd name="T96" fmla="*/ 576 w 1401"/>
              <a:gd name="T97" fmla="*/ 702 h 2106"/>
              <a:gd name="T98" fmla="*/ 561 w 1401"/>
              <a:gd name="T99" fmla="*/ 724 h 2106"/>
              <a:gd name="T100" fmla="*/ 547 w 1401"/>
              <a:gd name="T101" fmla="*/ 745 h 2106"/>
              <a:gd name="T102" fmla="*/ 535 w 1401"/>
              <a:gd name="T103" fmla="*/ 768 h 2106"/>
              <a:gd name="T104" fmla="*/ 524 w 1401"/>
              <a:gd name="T105" fmla="*/ 792 h 2106"/>
              <a:gd name="T106" fmla="*/ 0 w 1401"/>
              <a:gd name="T107" fmla="*/ 2106 h 2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401" h="2106">
                <a:moveTo>
                  <a:pt x="0" y="2106"/>
                </a:moveTo>
                <a:lnTo>
                  <a:pt x="81" y="638"/>
                </a:lnTo>
                <a:lnTo>
                  <a:pt x="82" y="609"/>
                </a:lnTo>
                <a:lnTo>
                  <a:pt x="86" y="581"/>
                </a:lnTo>
                <a:lnTo>
                  <a:pt x="90" y="555"/>
                </a:lnTo>
                <a:lnTo>
                  <a:pt x="94" y="529"/>
                </a:lnTo>
                <a:lnTo>
                  <a:pt x="100" y="504"/>
                </a:lnTo>
                <a:lnTo>
                  <a:pt x="106" y="480"/>
                </a:lnTo>
                <a:lnTo>
                  <a:pt x="114" y="456"/>
                </a:lnTo>
                <a:lnTo>
                  <a:pt x="122" y="433"/>
                </a:lnTo>
                <a:lnTo>
                  <a:pt x="131" y="412"/>
                </a:lnTo>
                <a:lnTo>
                  <a:pt x="141" y="391"/>
                </a:lnTo>
                <a:lnTo>
                  <a:pt x="151" y="371"/>
                </a:lnTo>
                <a:lnTo>
                  <a:pt x="162" y="351"/>
                </a:lnTo>
                <a:lnTo>
                  <a:pt x="174" y="333"/>
                </a:lnTo>
                <a:lnTo>
                  <a:pt x="187" y="316"/>
                </a:lnTo>
                <a:lnTo>
                  <a:pt x="200" y="299"/>
                </a:lnTo>
                <a:lnTo>
                  <a:pt x="214" y="283"/>
                </a:lnTo>
                <a:lnTo>
                  <a:pt x="229" y="268"/>
                </a:lnTo>
                <a:lnTo>
                  <a:pt x="244" y="253"/>
                </a:lnTo>
                <a:lnTo>
                  <a:pt x="259" y="240"/>
                </a:lnTo>
                <a:lnTo>
                  <a:pt x="277" y="227"/>
                </a:lnTo>
                <a:lnTo>
                  <a:pt x="294" y="215"/>
                </a:lnTo>
                <a:lnTo>
                  <a:pt x="311" y="203"/>
                </a:lnTo>
                <a:lnTo>
                  <a:pt x="330" y="194"/>
                </a:lnTo>
                <a:lnTo>
                  <a:pt x="348" y="184"/>
                </a:lnTo>
                <a:lnTo>
                  <a:pt x="367" y="174"/>
                </a:lnTo>
                <a:lnTo>
                  <a:pt x="387" y="167"/>
                </a:lnTo>
                <a:lnTo>
                  <a:pt x="407" y="159"/>
                </a:lnTo>
                <a:lnTo>
                  <a:pt x="428" y="153"/>
                </a:lnTo>
                <a:lnTo>
                  <a:pt x="450" y="146"/>
                </a:lnTo>
                <a:lnTo>
                  <a:pt x="471" y="141"/>
                </a:lnTo>
                <a:lnTo>
                  <a:pt x="493" y="136"/>
                </a:lnTo>
                <a:lnTo>
                  <a:pt x="515" y="133"/>
                </a:lnTo>
                <a:lnTo>
                  <a:pt x="1401" y="0"/>
                </a:lnTo>
                <a:lnTo>
                  <a:pt x="1401" y="348"/>
                </a:lnTo>
                <a:lnTo>
                  <a:pt x="837" y="525"/>
                </a:lnTo>
                <a:lnTo>
                  <a:pt x="813" y="534"/>
                </a:lnTo>
                <a:lnTo>
                  <a:pt x="789" y="543"/>
                </a:lnTo>
                <a:lnTo>
                  <a:pt x="765" y="554"/>
                </a:lnTo>
                <a:lnTo>
                  <a:pt x="740" y="566"/>
                </a:lnTo>
                <a:lnTo>
                  <a:pt x="717" y="580"/>
                </a:lnTo>
                <a:lnTo>
                  <a:pt x="695" y="594"/>
                </a:lnTo>
                <a:lnTo>
                  <a:pt x="672" y="609"/>
                </a:lnTo>
                <a:lnTo>
                  <a:pt x="650" y="627"/>
                </a:lnTo>
                <a:lnTo>
                  <a:pt x="631" y="644"/>
                </a:lnTo>
                <a:lnTo>
                  <a:pt x="612" y="662"/>
                </a:lnTo>
                <a:lnTo>
                  <a:pt x="593" y="682"/>
                </a:lnTo>
                <a:lnTo>
                  <a:pt x="576" y="702"/>
                </a:lnTo>
                <a:lnTo>
                  <a:pt x="561" y="724"/>
                </a:lnTo>
                <a:lnTo>
                  <a:pt x="547" y="745"/>
                </a:lnTo>
                <a:lnTo>
                  <a:pt x="535" y="768"/>
                </a:lnTo>
                <a:lnTo>
                  <a:pt x="524" y="792"/>
                </a:lnTo>
                <a:lnTo>
                  <a:pt x="0" y="2106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0" name="Freeform 10"/>
          <p:cNvSpPr>
            <a:spLocks/>
          </p:cNvSpPr>
          <p:nvPr userDrawn="1"/>
        </p:nvSpPr>
        <p:spPr bwMode="auto">
          <a:xfrm>
            <a:off x="9321287" y="5721350"/>
            <a:ext cx="584729" cy="179388"/>
          </a:xfrm>
          <a:custGeom>
            <a:avLst/>
            <a:gdLst>
              <a:gd name="T0" fmla="*/ 0 w 1021"/>
              <a:gd name="T1" fmla="*/ 278 h 338"/>
              <a:gd name="T2" fmla="*/ 1021 w 1021"/>
              <a:gd name="T3" fmla="*/ 0 h 338"/>
              <a:gd name="T4" fmla="*/ 1021 w 1021"/>
              <a:gd name="T5" fmla="*/ 338 h 338"/>
              <a:gd name="T6" fmla="*/ 0 w 1021"/>
              <a:gd name="T7" fmla="*/ 278 h 3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21" h="338">
                <a:moveTo>
                  <a:pt x="0" y="278"/>
                </a:moveTo>
                <a:lnTo>
                  <a:pt x="1021" y="0"/>
                </a:lnTo>
                <a:lnTo>
                  <a:pt x="1021" y="338"/>
                </a:lnTo>
                <a:lnTo>
                  <a:pt x="0" y="278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2" name="Freeform 12"/>
          <p:cNvSpPr>
            <a:spLocks/>
          </p:cNvSpPr>
          <p:nvPr userDrawn="1"/>
        </p:nvSpPr>
        <p:spPr bwMode="auto">
          <a:xfrm>
            <a:off x="8057225" y="6461294"/>
            <a:ext cx="278606" cy="396875"/>
          </a:xfrm>
          <a:custGeom>
            <a:avLst/>
            <a:gdLst>
              <a:gd name="T0" fmla="*/ 0 w 484"/>
              <a:gd name="T1" fmla="*/ 0 h 749"/>
              <a:gd name="T2" fmla="*/ 484 w 484"/>
              <a:gd name="T3" fmla="*/ 749 h 749"/>
              <a:gd name="T4" fmla="*/ 191 w 484"/>
              <a:gd name="T5" fmla="*/ 749 h 749"/>
              <a:gd name="T6" fmla="*/ 0 w 484"/>
              <a:gd name="T7" fmla="*/ 0 h 7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4" h="749">
                <a:moveTo>
                  <a:pt x="0" y="0"/>
                </a:moveTo>
                <a:lnTo>
                  <a:pt x="484" y="749"/>
                </a:lnTo>
                <a:lnTo>
                  <a:pt x="191" y="749"/>
                </a:lnTo>
                <a:lnTo>
                  <a:pt x="0" y="0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4" name="Freeform 14"/>
          <p:cNvSpPr>
            <a:spLocks/>
          </p:cNvSpPr>
          <p:nvPr userDrawn="1"/>
        </p:nvSpPr>
        <p:spPr bwMode="auto">
          <a:xfrm>
            <a:off x="4617648" y="5487988"/>
            <a:ext cx="2445544" cy="769938"/>
          </a:xfrm>
          <a:custGeom>
            <a:avLst/>
            <a:gdLst>
              <a:gd name="T0" fmla="*/ 4268 w 4268"/>
              <a:gd name="T1" fmla="*/ 95 h 1455"/>
              <a:gd name="T2" fmla="*/ 3342 w 4268"/>
              <a:gd name="T3" fmla="*/ 1237 h 1455"/>
              <a:gd name="T4" fmla="*/ 3324 w 4268"/>
              <a:gd name="T5" fmla="*/ 1259 h 1455"/>
              <a:gd name="T6" fmla="*/ 3305 w 4268"/>
              <a:gd name="T7" fmla="*/ 1280 h 1455"/>
              <a:gd name="T8" fmla="*/ 3287 w 4268"/>
              <a:gd name="T9" fmla="*/ 1300 h 1455"/>
              <a:gd name="T10" fmla="*/ 3268 w 4268"/>
              <a:gd name="T11" fmla="*/ 1317 h 1455"/>
              <a:gd name="T12" fmla="*/ 3248 w 4268"/>
              <a:gd name="T13" fmla="*/ 1334 h 1455"/>
              <a:gd name="T14" fmla="*/ 3229 w 4268"/>
              <a:gd name="T15" fmla="*/ 1351 h 1455"/>
              <a:gd name="T16" fmla="*/ 3209 w 4268"/>
              <a:gd name="T17" fmla="*/ 1366 h 1455"/>
              <a:gd name="T18" fmla="*/ 3190 w 4268"/>
              <a:gd name="T19" fmla="*/ 1379 h 1455"/>
              <a:gd name="T20" fmla="*/ 3169 w 4268"/>
              <a:gd name="T21" fmla="*/ 1392 h 1455"/>
              <a:gd name="T22" fmla="*/ 3150 w 4268"/>
              <a:gd name="T23" fmla="*/ 1402 h 1455"/>
              <a:gd name="T24" fmla="*/ 3129 w 4268"/>
              <a:gd name="T25" fmla="*/ 1412 h 1455"/>
              <a:gd name="T26" fmla="*/ 3109 w 4268"/>
              <a:gd name="T27" fmla="*/ 1422 h 1455"/>
              <a:gd name="T28" fmla="*/ 3088 w 4268"/>
              <a:gd name="T29" fmla="*/ 1429 h 1455"/>
              <a:gd name="T30" fmla="*/ 3068 w 4268"/>
              <a:gd name="T31" fmla="*/ 1436 h 1455"/>
              <a:gd name="T32" fmla="*/ 3047 w 4268"/>
              <a:gd name="T33" fmla="*/ 1442 h 1455"/>
              <a:gd name="T34" fmla="*/ 3027 w 4268"/>
              <a:gd name="T35" fmla="*/ 1447 h 1455"/>
              <a:gd name="T36" fmla="*/ 3006 w 4268"/>
              <a:gd name="T37" fmla="*/ 1451 h 1455"/>
              <a:gd name="T38" fmla="*/ 2985 w 4268"/>
              <a:gd name="T39" fmla="*/ 1453 h 1455"/>
              <a:gd name="T40" fmla="*/ 2964 w 4268"/>
              <a:gd name="T41" fmla="*/ 1455 h 1455"/>
              <a:gd name="T42" fmla="*/ 2944 w 4268"/>
              <a:gd name="T43" fmla="*/ 1455 h 1455"/>
              <a:gd name="T44" fmla="*/ 2922 w 4268"/>
              <a:gd name="T45" fmla="*/ 1455 h 1455"/>
              <a:gd name="T46" fmla="*/ 2902 w 4268"/>
              <a:gd name="T47" fmla="*/ 1454 h 1455"/>
              <a:gd name="T48" fmla="*/ 2881 w 4268"/>
              <a:gd name="T49" fmla="*/ 1452 h 1455"/>
              <a:gd name="T50" fmla="*/ 2859 w 4268"/>
              <a:gd name="T51" fmla="*/ 1449 h 1455"/>
              <a:gd name="T52" fmla="*/ 2839 w 4268"/>
              <a:gd name="T53" fmla="*/ 1444 h 1455"/>
              <a:gd name="T54" fmla="*/ 2818 w 4268"/>
              <a:gd name="T55" fmla="*/ 1440 h 1455"/>
              <a:gd name="T56" fmla="*/ 2797 w 4268"/>
              <a:gd name="T57" fmla="*/ 1434 h 1455"/>
              <a:gd name="T58" fmla="*/ 2776 w 4268"/>
              <a:gd name="T59" fmla="*/ 1427 h 1455"/>
              <a:gd name="T60" fmla="*/ 2756 w 4268"/>
              <a:gd name="T61" fmla="*/ 1420 h 1455"/>
              <a:gd name="T62" fmla="*/ 2735 w 4268"/>
              <a:gd name="T63" fmla="*/ 1411 h 1455"/>
              <a:gd name="T64" fmla="*/ 2715 w 4268"/>
              <a:gd name="T65" fmla="*/ 1402 h 1455"/>
              <a:gd name="T66" fmla="*/ 2694 w 4268"/>
              <a:gd name="T67" fmla="*/ 1393 h 1455"/>
              <a:gd name="T68" fmla="*/ 0 w 4268"/>
              <a:gd name="T69" fmla="*/ 0 h 1455"/>
              <a:gd name="T70" fmla="*/ 2664 w 4268"/>
              <a:gd name="T71" fmla="*/ 885 h 1455"/>
              <a:gd name="T72" fmla="*/ 2688 w 4268"/>
              <a:gd name="T73" fmla="*/ 893 h 1455"/>
              <a:gd name="T74" fmla="*/ 2714 w 4268"/>
              <a:gd name="T75" fmla="*/ 899 h 1455"/>
              <a:gd name="T76" fmla="*/ 2740 w 4268"/>
              <a:gd name="T77" fmla="*/ 905 h 1455"/>
              <a:gd name="T78" fmla="*/ 2767 w 4268"/>
              <a:gd name="T79" fmla="*/ 909 h 1455"/>
              <a:gd name="T80" fmla="*/ 2792 w 4268"/>
              <a:gd name="T81" fmla="*/ 911 h 1455"/>
              <a:gd name="T82" fmla="*/ 2819 w 4268"/>
              <a:gd name="T83" fmla="*/ 913 h 1455"/>
              <a:gd name="T84" fmla="*/ 2846 w 4268"/>
              <a:gd name="T85" fmla="*/ 913 h 1455"/>
              <a:gd name="T86" fmla="*/ 2873 w 4268"/>
              <a:gd name="T87" fmla="*/ 913 h 1455"/>
              <a:gd name="T88" fmla="*/ 2900 w 4268"/>
              <a:gd name="T89" fmla="*/ 910 h 1455"/>
              <a:gd name="T90" fmla="*/ 2927 w 4268"/>
              <a:gd name="T91" fmla="*/ 907 h 1455"/>
              <a:gd name="T92" fmla="*/ 2953 w 4268"/>
              <a:gd name="T93" fmla="*/ 901 h 1455"/>
              <a:gd name="T94" fmla="*/ 2979 w 4268"/>
              <a:gd name="T95" fmla="*/ 895 h 1455"/>
              <a:gd name="T96" fmla="*/ 3004 w 4268"/>
              <a:gd name="T97" fmla="*/ 887 h 1455"/>
              <a:gd name="T98" fmla="*/ 3028 w 4268"/>
              <a:gd name="T99" fmla="*/ 878 h 1455"/>
              <a:gd name="T100" fmla="*/ 3051 w 4268"/>
              <a:gd name="T101" fmla="*/ 866 h 1455"/>
              <a:gd name="T102" fmla="*/ 3073 w 4268"/>
              <a:gd name="T103" fmla="*/ 853 h 1455"/>
              <a:gd name="T104" fmla="*/ 4268 w 4268"/>
              <a:gd name="T105" fmla="*/ 95 h 14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268" h="1455">
                <a:moveTo>
                  <a:pt x="4268" y="95"/>
                </a:moveTo>
                <a:lnTo>
                  <a:pt x="3342" y="1237"/>
                </a:lnTo>
                <a:lnTo>
                  <a:pt x="3324" y="1259"/>
                </a:lnTo>
                <a:lnTo>
                  <a:pt x="3305" y="1280"/>
                </a:lnTo>
                <a:lnTo>
                  <a:pt x="3287" y="1300"/>
                </a:lnTo>
                <a:lnTo>
                  <a:pt x="3268" y="1317"/>
                </a:lnTo>
                <a:lnTo>
                  <a:pt x="3248" y="1334"/>
                </a:lnTo>
                <a:lnTo>
                  <a:pt x="3229" y="1351"/>
                </a:lnTo>
                <a:lnTo>
                  <a:pt x="3209" y="1366"/>
                </a:lnTo>
                <a:lnTo>
                  <a:pt x="3190" y="1379"/>
                </a:lnTo>
                <a:lnTo>
                  <a:pt x="3169" y="1392"/>
                </a:lnTo>
                <a:lnTo>
                  <a:pt x="3150" y="1402"/>
                </a:lnTo>
                <a:lnTo>
                  <a:pt x="3129" y="1412"/>
                </a:lnTo>
                <a:lnTo>
                  <a:pt x="3109" y="1422"/>
                </a:lnTo>
                <a:lnTo>
                  <a:pt x="3088" y="1429"/>
                </a:lnTo>
                <a:lnTo>
                  <a:pt x="3068" y="1436"/>
                </a:lnTo>
                <a:lnTo>
                  <a:pt x="3047" y="1442"/>
                </a:lnTo>
                <a:lnTo>
                  <a:pt x="3027" y="1447"/>
                </a:lnTo>
                <a:lnTo>
                  <a:pt x="3006" y="1451"/>
                </a:lnTo>
                <a:lnTo>
                  <a:pt x="2985" y="1453"/>
                </a:lnTo>
                <a:lnTo>
                  <a:pt x="2964" y="1455"/>
                </a:lnTo>
                <a:lnTo>
                  <a:pt x="2944" y="1455"/>
                </a:lnTo>
                <a:lnTo>
                  <a:pt x="2922" y="1455"/>
                </a:lnTo>
                <a:lnTo>
                  <a:pt x="2902" y="1454"/>
                </a:lnTo>
                <a:lnTo>
                  <a:pt x="2881" y="1452"/>
                </a:lnTo>
                <a:lnTo>
                  <a:pt x="2859" y="1449"/>
                </a:lnTo>
                <a:lnTo>
                  <a:pt x="2839" y="1444"/>
                </a:lnTo>
                <a:lnTo>
                  <a:pt x="2818" y="1440"/>
                </a:lnTo>
                <a:lnTo>
                  <a:pt x="2797" y="1434"/>
                </a:lnTo>
                <a:lnTo>
                  <a:pt x="2776" y="1427"/>
                </a:lnTo>
                <a:lnTo>
                  <a:pt x="2756" y="1420"/>
                </a:lnTo>
                <a:lnTo>
                  <a:pt x="2735" y="1411"/>
                </a:lnTo>
                <a:lnTo>
                  <a:pt x="2715" y="1402"/>
                </a:lnTo>
                <a:lnTo>
                  <a:pt x="2694" y="1393"/>
                </a:lnTo>
                <a:lnTo>
                  <a:pt x="0" y="0"/>
                </a:lnTo>
                <a:lnTo>
                  <a:pt x="2664" y="885"/>
                </a:lnTo>
                <a:lnTo>
                  <a:pt x="2688" y="893"/>
                </a:lnTo>
                <a:lnTo>
                  <a:pt x="2714" y="899"/>
                </a:lnTo>
                <a:lnTo>
                  <a:pt x="2740" y="905"/>
                </a:lnTo>
                <a:lnTo>
                  <a:pt x="2767" y="909"/>
                </a:lnTo>
                <a:lnTo>
                  <a:pt x="2792" y="911"/>
                </a:lnTo>
                <a:lnTo>
                  <a:pt x="2819" y="913"/>
                </a:lnTo>
                <a:lnTo>
                  <a:pt x="2846" y="913"/>
                </a:lnTo>
                <a:lnTo>
                  <a:pt x="2873" y="913"/>
                </a:lnTo>
                <a:lnTo>
                  <a:pt x="2900" y="910"/>
                </a:lnTo>
                <a:lnTo>
                  <a:pt x="2927" y="907"/>
                </a:lnTo>
                <a:lnTo>
                  <a:pt x="2953" y="901"/>
                </a:lnTo>
                <a:lnTo>
                  <a:pt x="2979" y="895"/>
                </a:lnTo>
                <a:lnTo>
                  <a:pt x="3004" y="887"/>
                </a:lnTo>
                <a:lnTo>
                  <a:pt x="3028" y="878"/>
                </a:lnTo>
                <a:lnTo>
                  <a:pt x="3051" y="866"/>
                </a:lnTo>
                <a:lnTo>
                  <a:pt x="3073" y="853"/>
                </a:lnTo>
                <a:lnTo>
                  <a:pt x="4268" y="95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" name="Группа 14"/>
          <p:cNvGrpSpPr/>
          <p:nvPr userDrawn="1"/>
        </p:nvGrpSpPr>
        <p:grpSpPr>
          <a:xfrm>
            <a:off x="4459430" y="1936750"/>
            <a:ext cx="5446581" cy="4921250"/>
            <a:chOff x="4116388" y="1936750"/>
            <a:chExt cx="5027613" cy="4921250"/>
          </a:xfrm>
        </p:grpSpPr>
        <p:sp>
          <p:nvSpPr>
            <p:cNvPr id="5" name="Freeform 5"/>
            <p:cNvSpPr>
              <a:spLocks/>
            </p:cNvSpPr>
            <p:nvPr userDrawn="1"/>
          </p:nvSpPr>
          <p:spPr bwMode="auto">
            <a:xfrm>
              <a:off x="6203950" y="1936750"/>
              <a:ext cx="1966913" cy="2646363"/>
            </a:xfrm>
            <a:custGeom>
              <a:avLst/>
              <a:gdLst>
                <a:gd name="T0" fmla="*/ 2936 w 3717"/>
                <a:gd name="T1" fmla="*/ 4866 h 5000"/>
                <a:gd name="T2" fmla="*/ 2932 w 3717"/>
                <a:gd name="T3" fmla="*/ 4886 h 5000"/>
                <a:gd name="T4" fmla="*/ 2924 w 3717"/>
                <a:gd name="T5" fmla="*/ 4905 h 5000"/>
                <a:gd name="T6" fmla="*/ 2915 w 3717"/>
                <a:gd name="T7" fmla="*/ 4922 h 5000"/>
                <a:gd name="T8" fmla="*/ 2905 w 3717"/>
                <a:gd name="T9" fmla="*/ 4938 h 5000"/>
                <a:gd name="T10" fmla="*/ 2893 w 3717"/>
                <a:gd name="T11" fmla="*/ 4952 h 5000"/>
                <a:gd name="T12" fmla="*/ 2879 w 3717"/>
                <a:gd name="T13" fmla="*/ 4964 h 5000"/>
                <a:gd name="T14" fmla="*/ 2847 w 3717"/>
                <a:gd name="T15" fmla="*/ 4983 h 5000"/>
                <a:gd name="T16" fmla="*/ 2811 w 3717"/>
                <a:gd name="T17" fmla="*/ 4996 h 5000"/>
                <a:gd name="T18" fmla="*/ 2773 w 3717"/>
                <a:gd name="T19" fmla="*/ 5000 h 5000"/>
                <a:gd name="T20" fmla="*/ 2733 w 3717"/>
                <a:gd name="T21" fmla="*/ 4998 h 5000"/>
                <a:gd name="T22" fmla="*/ 2693 w 3717"/>
                <a:gd name="T23" fmla="*/ 4987 h 5000"/>
                <a:gd name="T24" fmla="*/ 329 w 3717"/>
                <a:gd name="T25" fmla="*/ 4073 h 5000"/>
                <a:gd name="T26" fmla="*/ 279 w 3717"/>
                <a:gd name="T27" fmla="*/ 4049 h 5000"/>
                <a:gd name="T28" fmla="*/ 233 w 3717"/>
                <a:gd name="T29" fmla="*/ 4024 h 5000"/>
                <a:gd name="T30" fmla="*/ 192 w 3717"/>
                <a:gd name="T31" fmla="*/ 3996 h 5000"/>
                <a:gd name="T32" fmla="*/ 155 w 3717"/>
                <a:gd name="T33" fmla="*/ 3966 h 5000"/>
                <a:gd name="T34" fmla="*/ 122 w 3717"/>
                <a:gd name="T35" fmla="*/ 3934 h 5000"/>
                <a:gd name="T36" fmla="*/ 93 w 3717"/>
                <a:gd name="T37" fmla="*/ 3900 h 5000"/>
                <a:gd name="T38" fmla="*/ 70 w 3717"/>
                <a:gd name="T39" fmla="*/ 3865 h 5000"/>
                <a:gd name="T40" fmla="*/ 48 w 3717"/>
                <a:gd name="T41" fmla="*/ 3829 h 5000"/>
                <a:gd name="T42" fmla="*/ 32 w 3717"/>
                <a:gd name="T43" fmla="*/ 3790 h 5000"/>
                <a:gd name="T44" fmla="*/ 18 w 3717"/>
                <a:gd name="T45" fmla="*/ 3750 h 5000"/>
                <a:gd name="T46" fmla="*/ 8 w 3717"/>
                <a:gd name="T47" fmla="*/ 3710 h 5000"/>
                <a:gd name="T48" fmla="*/ 3 w 3717"/>
                <a:gd name="T49" fmla="*/ 3668 h 5000"/>
                <a:gd name="T50" fmla="*/ 0 w 3717"/>
                <a:gd name="T51" fmla="*/ 3625 h 5000"/>
                <a:gd name="T52" fmla="*/ 0 w 3717"/>
                <a:gd name="T53" fmla="*/ 3581 h 5000"/>
                <a:gd name="T54" fmla="*/ 5 w 3717"/>
                <a:gd name="T55" fmla="*/ 3537 h 5000"/>
                <a:gd name="T56" fmla="*/ 507 w 3717"/>
                <a:gd name="T57" fmla="*/ 523 h 5000"/>
                <a:gd name="T58" fmla="*/ 516 w 3717"/>
                <a:gd name="T59" fmla="*/ 479 h 5000"/>
                <a:gd name="T60" fmla="*/ 527 w 3717"/>
                <a:gd name="T61" fmla="*/ 437 h 5000"/>
                <a:gd name="T62" fmla="*/ 541 w 3717"/>
                <a:gd name="T63" fmla="*/ 396 h 5000"/>
                <a:gd name="T64" fmla="*/ 560 w 3717"/>
                <a:gd name="T65" fmla="*/ 357 h 5000"/>
                <a:gd name="T66" fmla="*/ 580 w 3717"/>
                <a:gd name="T67" fmla="*/ 320 h 5000"/>
                <a:gd name="T68" fmla="*/ 604 w 3717"/>
                <a:gd name="T69" fmla="*/ 286 h 5000"/>
                <a:gd name="T70" fmla="*/ 631 w 3717"/>
                <a:gd name="T71" fmla="*/ 254 h 5000"/>
                <a:gd name="T72" fmla="*/ 661 w 3717"/>
                <a:gd name="T73" fmla="*/ 224 h 5000"/>
                <a:gd name="T74" fmla="*/ 694 w 3717"/>
                <a:gd name="T75" fmla="*/ 198 h 5000"/>
                <a:gd name="T76" fmla="*/ 730 w 3717"/>
                <a:gd name="T77" fmla="*/ 173 h 5000"/>
                <a:gd name="T78" fmla="*/ 770 w 3717"/>
                <a:gd name="T79" fmla="*/ 153 h 5000"/>
                <a:gd name="T80" fmla="*/ 814 w 3717"/>
                <a:gd name="T81" fmla="*/ 135 h 5000"/>
                <a:gd name="T82" fmla="*/ 859 w 3717"/>
                <a:gd name="T83" fmla="*/ 121 h 5000"/>
                <a:gd name="T84" fmla="*/ 909 w 3717"/>
                <a:gd name="T85" fmla="*/ 109 h 5000"/>
                <a:gd name="T86" fmla="*/ 962 w 3717"/>
                <a:gd name="T87" fmla="*/ 101 h 5000"/>
                <a:gd name="T88" fmla="*/ 1019 w 3717"/>
                <a:gd name="T89" fmla="*/ 97 h 5000"/>
                <a:gd name="T90" fmla="*/ 3544 w 3717"/>
                <a:gd name="T91" fmla="*/ 0 h 5000"/>
                <a:gd name="T92" fmla="*/ 3584 w 3717"/>
                <a:gd name="T93" fmla="*/ 6 h 5000"/>
                <a:gd name="T94" fmla="*/ 3622 w 3717"/>
                <a:gd name="T95" fmla="*/ 20 h 5000"/>
                <a:gd name="T96" fmla="*/ 3654 w 3717"/>
                <a:gd name="T97" fmla="*/ 41 h 5000"/>
                <a:gd name="T98" fmla="*/ 3680 w 3717"/>
                <a:gd name="T99" fmla="*/ 67 h 5000"/>
                <a:gd name="T100" fmla="*/ 3696 w 3717"/>
                <a:gd name="T101" fmla="*/ 89 h 5000"/>
                <a:gd name="T102" fmla="*/ 3705 w 3717"/>
                <a:gd name="T103" fmla="*/ 106 h 5000"/>
                <a:gd name="T104" fmla="*/ 3710 w 3717"/>
                <a:gd name="T105" fmla="*/ 124 h 5000"/>
                <a:gd name="T106" fmla="*/ 3715 w 3717"/>
                <a:gd name="T107" fmla="*/ 142 h 5000"/>
                <a:gd name="T108" fmla="*/ 3717 w 3717"/>
                <a:gd name="T109" fmla="*/ 162 h 5000"/>
                <a:gd name="T110" fmla="*/ 3716 w 3717"/>
                <a:gd name="T111" fmla="*/ 182 h 5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717" h="5000">
                  <a:moveTo>
                    <a:pt x="3715" y="192"/>
                  </a:moveTo>
                  <a:lnTo>
                    <a:pt x="2936" y="4866"/>
                  </a:lnTo>
                  <a:lnTo>
                    <a:pt x="2934" y="4876"/>
                  </a:lnTo>
                  <a:lnTo>
                    <a:pt x="2932" y="4886"/>
                  </a:lnTo>
                  <a:lnTo>
                    <a:pt x="2928" y="4895"/>
                  </a:lnTo>
                  <a:lnTo>
                    <a:pt x="2924" y="4905"/>
                  </a:lnTo>
                  <a:lnTo>
                    <a:pt x="2921" y="4914"/>
                  </a:lnTo>
                  <a:lnTo>
                    <a:pt x="2915" y="4922"/>
                  </a:lnTo>
                  <a:lnTo>
                    <a:pt x="2911" y="4930"/>
                  </a:lnTo>
                  <a:lnTo>
                    <a:pt x="2905" y="4938"/>
                  </a:lnTo>
                  <a:lnTo>
                    <a:pt x="2899" y="4945"/>
                  </a:lnTo>
                  <a:lnTo>
                    <a:pt x="2893" y="4952"/>
                  </a:lnTo>
                  <a:lnTo>
                    <a:pt x="2886" y="4958"/>
                  </a:lnTo>
                  <a:lnTo>
                    <a:pt x="2879" y="4964"/>
                  </a:lnTo>
                  <a:lnTo>
                    <a:pt x="2863" y="4974"/>
                  </a:lnTo>
                  <a:lnTo>
                    <a:pt x="2847" y="4983"/>
                  </a:lnTo>
                  <a:lnTo>
                    <a:pt x="2829" y="4991"/>
                  </a:lnTo>
                  <a:lnTo>
                    <a:pt x="2811" y="4996"/>
                  </a:lnTo>
                  <a:lnTo>
                    <a:pt x="2792" y="4999"/>
                  </a:lnTo>
                  <a:lnTo>
                    <a:pt x="2773" y="5000"/>
                  </a:lnTo>
                  <a:lnTo>
                    <a:pt x="2752" y="5000"/>
                  </a:lnTo>
                  <a:lnTo>
                    <a:pt x="2733" y="4998"/>
                  </a:lnTo>
                  <a:lnTo>
                    <a:pt x="2713" y="4994"/>
                  </a:lnTo>
                  <a:lnTo>
                    <a:pt x="2693" y="4987"/>
                  </a:lnTo>
                  <a:lnTo>
                    <a:pt x="355" y="4083"/>
                  </a:lnTo>
                  <a:lnTo>
                    <a:pt x="329" y="4073"/>
                  </a:lnTo>
                  <a:lnTo>
                    <a:pt x="303" y="4061"/>
                  </a:lnTo>
                  <a:lnTo>
                    <a:pt x="279" y="4049"/>
                  </a:lnTo>
                  <a:lnTo>
                    <a:pt x="255" y="4037"/>
                  </a:lnTo>
                  <a:lnTo>
                    <a:pt x="233" y="4024"/>
                  </a:lnTo>
                  <a:lnTo>
                    <a:pt x="212" y="4010"/>
                  </a:lnTo>
                  <a:lnTo>
                    <a:pt x="192" y="3996"/>
                  </a:lnTo>
                  <a:lnTo>
                    <a:pt x="173" y="3981"/>
                  </a:lnTo>
                  <a:lnTo>
                    <a:pt x="155" y="3966"/>
                  </a:lnTo>
                  <a:lnTo>
                    <a:pt x="139" y="3951"/>
                  </a:lnTo>
                  <a:lnTo>
                    <a:pt x="122" y="3934"/>
                  </a:lnTo>
                  <a:lnTo>
                    <a:pt x="107" y="3917"/>
                  </a:lnTo>
                  <a:lnTo>
                    <a:pt x="93" y="3900"/>
                  </a:lnTo>
                  <a:lnTo>
                    <a:pt x="81" y="3883"/>
                  </a:lnTo>
                  <a:lnTo>
                    <a:pt x="70" y="3865"/>
                  </a:lnTo>
                  <a:lnTo>
                    <a:pt x="58" y="3847"/>
                  </a:lnTo>
                  <a:lnTo>
                    <a:pt x="48" y="3829"/>
                  </a:lnTo>
                  <a:lnTo>
                    <a:pt x="39" y="3809"/>
                  </a:lnTo>
                  <a:lnTo>
                    <a:pt x="32" y="3790"/>
                  </a:lnTo>
                  <a:lnTo>
                    <a:pt x="24" y="3770"/>
                  </a:lnTo>
                  <a:lnTo>
                    <a:pt x="18" y="3750"/>
                  </a:lnTo>
                  <a:lnTo>
                    <a:pt x="12" y="3730"/>
                  </a:lnTo>
                  <a:lnTo>
                    <a:pt x="8" y="3710"/>
                  </a:lnTo>
                  <a:lnTo>
                    <a:pt x="5" y="3688"/>
                  </a:lnTo>
                  <a:lnTo>
                    <a:pt x="3" y="3668"/>
                  </a:lnTo>
                  <a:lnTo>
                    <a:pt x="0" y="3646"/>
                  </a:lnTo>
                  <a:lnTo>
                    <a:pt x="0" y="3625"/>
                  </a:lnTo>
                  <a:lnTo>
                    <a:pt x="0" y="3603"/>
                  </a:lnTo>
                  <a:lnTo>
                    <a:pt x="0" y="3581"/>
                  </a:lnTo>
                  <a:lnTo>
                    <a:pt x="3" y="3559"/>
                  </a:lnTo>
                  <a:lnTo>
                    <a:pt x="5" y="3537"/>
                  </a:lnTo>
                  <a:lnTo>
                    <a:pt x="8" y="3514"/>
                  </a:lnTo>
                  <a:lnTo>
                    <a:pt x="507" y="523"/>
                  </a:lnTo>
                  <a:lnTo>
                    <a:pt x="510" y="501"/>
                  </a:lnTo>
                  <a:lnTo>
                    <a:pt x="516" y="479"/>
                  </a:lnTo>
                  <a:lnTo>
                    <a:pt x="521" y="457"/>
                  </a:lnTo>
                  <a:lnTo>
                    <a:pt x="527" y="437"/>
                  </a:lnTo>
                  <a:lnTo>
                    <a:pt x="534" y="416"/>
                  </a:lnTo>
                  <a:lnTo>
                    <a:pt x="541" y="396"/>
                  </a:lnTo>
                  <a:lnTo>
                    <a:pt x="550" y="376"/>
                  </a:lnTo>
                  <a:lnTo>
                    <a:pt x="560" y="357"/>
                  </a:lnTo>
                  <a:lnTo>
                    <a:pt x="570" y="339"/>
                  </a:lnTo>
                  <a:lnTo>
                    <a:pt x="580" y="320"/>
                  </a:lnTo>
                  <a:lnTo>
                    <a:pt x="592" y="303"/>
                  </a:lnTo>
                  <a:lnTo>
                    <a:pt x="604" y="286"/>
                  </a:lnTo>
                  <a:lnTo>
                    <a:pt x="617" y="270"/>
                  </a:lnTo>
                  <a:lnTo>
                    <a:pt x="631" y="254"/>
                  </a:lnTo>
                  <a:lnTo>
                    <a:pt x="646" y="239"/>
                  </a:lnTo>
                  <a:lnTo>
                    <a:pt x="661" y="224"/>
                  </a:lnTo>
                  <a:lnTo>
                    <a:pt x="678" y="211"/>
                  </a:lnTo>
                  <a:lnTo>
                    <a:pt x="694" y="198"/>
                  </a:lnTo>
                  <a:lnTo>
                    <a:pt x="712" y="185"/>
                  </a:lnTo>
                  <a:lnTo>
                    <a:pt x="730" y="173"/>
                  </a:lnTo>
                  <a:lnTo>
                    <a:pt x="750" y="163"/>
                  </a:lnTo>
                  <a:lnTo>
                    <a:pt x="770" y="153"/>
                  </a:lnTo>
                  <a:lnTo>
                    <a:pt x="791" y="143"/>
                  </a:lnTo>
                  <a:lnTo>
                    <a:pt x="814" y="135"/>
                  </a:lnTo>
                  <a:lnTo>
                    <a:pt x="836" y="127"/>
                  </a:lnTo>
                  <a:lnTo>
                    <a:pt x="859" y="121"/>
                  </a:lnTo>
                  <a:lnTo>
                    <a:pt x="884" y="114"/>
                  </a:lnTo>
                  <a:lnTo>
                    <a:pt x="909" y="109"/>
                  </a:lnTo>
                  <a:lnTo>
                    <a:pt x="936" y="104"/>
                  </a:lnTo>
                  <a:lnTo>
                    <a:pt x="962" y="101"/>
                  </a:lnTo>
                  <a:lnTo>
                    <a:pt x="990" y="99"/>
                  </a:lnTo>
                  <a:lnTo>
                    <a:pt x="1019" y="97"/>
                  </a:lnTo>
                  <a:lnTo>
                    <a:pt x="3523" y="0"/>
                  </a:lnTo>
                  <a:lnTo>
                    <a:pt x="3544" y="0"/>
                  </a:lnTo>
                  <a:lnTo>
                    <a:pt x="3564" y="2"/>
                  </a:lnTo>
                  <a:lnTo>
                    <a:pt x="3584" y="6"/>
                  </a:lnTo>
                  <a:lnTo>
                    <a:pt x="3603" y="13"/>
                  </a:lnTo>
                  <a:lnTo>
                    <a:pt x="3622" y="20"/>
                  </a:lnTo>
                  <a:lnTo>
                    <a:pt x="3638" y="30"/>
                  </a:lnTo>
                  <a:lnTo>
                    <a:pt x="3654" y="41"/>
                  </a:lnTo>
                  <a:lnTo>
                    <a:pt x="3668" y="53"/>
                  </a:lnTo>
                  <a:lnTo>
                    <a:pt x="3680" y="67"/>
                  </a:lnTo>
                  <a:lnTo>
                    <a:pt x="3692" y="82"/>
                  </a:lnTo>
                  <a:lnTo>
                    <a:pt x="3696" y="89"/>
                  </a:lnTo>
                  <a:lnTo>
                    <a:pt x="3700" y="98"/>
                  </a:lnTo>
                  <a:lnTo>
                    <a:pt x="3705" y="106"/>
                  </a:lnTo>
                  <a:lnTo>
                    <a:pt x="3708" y="115"/>
                  </a:lnTo>
                  <a:lnTo>
                    <a:pt x="3710" y="124"/>
                  </a:lnTo>
                  <a:lnTo>
                    <a:pt x="3713" y="132"/>
                  </a:lnTo>
                  <a:lnTo>
                    <a:pt x="3715" y="142"/>
                  </a:lnTo>
                  <a:lnTo>
                    <a:pt x="3716" y="152"/>
                  </a:lnTo>
                  <a:lnTo>
                    <a:pt x="3717" y="162"/>
                  </a:lnTo>
                  <a:lnTo>
                    <a:pt x="3717" y="171"/>
                  </a:lnTo>
                  <a:lnTo>
                    <a:pt x="3716" y="182"/>
                  </a:lnTo>
                  <a:lnTo>
                    <a:pt x="3715" y="192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7" name="Freeform 7"/>
            <p:cNvSpPr>
              <a:spLocks/>
            </p:cNvSpPr>
            <p:nvPr userDrawn="1"/>
          </p:nvSpPr>
          <p:spPr bwMode="auto">
            <a:xfrm>
              <a:off x="8372475" y="3473450"/>
              <a:ext cx="771525" cy="1765300"/>
            </a:xfrm>
            <a:custGeom>
              <a:avLst/>
              <a:gdLst>
                <a:gd name="T0" fmla="*/ 1458 w 1458"/>
                <a:gd name="T1" fmla="*/ 3144 h 3336"/>
                <a:gd name="T2" fmla="*/ 190 w 1458"/>
                <a:gd name="T3" fmla="*/ 3335 h 3336"/>
                <a:gd name="T4" fmla="*/ 180 w 1458"/>
                <a:gd name="T5" fmla="*/ 3336 h 3336"/>
                <a:gd name="T6" fmla="*/ 170 w 1458"/>
                <a:gd name="T7" fmla="*/ 3336 h 3336"/>
                <a:gd name="T8" fmla="*/ 160 w 1458"/>
                <a:gd name="T9" fmla="*/ 3336 h 3336"/>
                <a:gd name="T10" fmla="*/ 150 w 1458"/>
                <a:gd name="T11" fmla="*/ 3336 h 3336"/>
                <a:gd name="T12" fmla="*/ 140 w 1458"/>
                <a:gd name="T13" fmla="*/ 3334 h 3336"/>
                <a:gd name="T14" fmla="*/ 131 w 1458"/>
                <a:gd name="T15" fmla="*/ 3333 h 3336"/>
                <a:gd name="T16" fmla="*/ 122 w 1458"/>
                <a:gd name="T17" fmla="*/ 3329 h 3336"/>
                <a:gd name="T18" fmla="*/ 112 w 1458"/>
                <a:gd name="T19" fmla="*/ 3327 h 3336"/>
                <a:gd name="T20" fmla="*/ 104 w 1458"/>
                <a:gd name="T21" fmla="*/ 3323 h 3336"/>
                <a:gd name="T22" fmla="*/ 96 w 1458"/>
                <a:gd name="T23" fmla="*/ 3320 h 3336"/>
                <a:gd name="T24" fmla="*/ 87 w 1458"/>
                <a:gd name="T25" fmla="*/ 3315 h 3336"/>
                <a:gd name="T26" fmla="*/ 80 w 1458"/>
                <a:gd name="T27" fmla="*/ 3310 h 3336"/>
                <a:gd name="T28" fmla="*/ 65 w 1458"/>
                <a:gd name="T29" fmla="*/ 3299 h 3336"/>
                <a:gd name="T30" fmla="*/ 52 w 1458"/>
                <a:gd name="T31" fmla="*/ 3286 h 3336"/>
                <a:gd name="T32" fmla="*/ 39 w 1458"/>
                <a:gd name="T33" fmla="*/ 3271 h 3336"/>
                <a:gd name="T34" fmla="*/ 28 w 1458"/>
                <a:gd name="T35" fmla="*/ 3256 h 3336"/>
                <a:gd name="T36" fmla="*/ 19 w 1458"/>
                <a:gd name="T37" fmla="*/ 3239 h 3336"/>
                <a:gd name="T38" fmla="*/ 12 w 1458"/>
                <a:gd name="T39" fmla="*/ 3220 h 3336"/>
                <a:gd name="T40" fmla="*/ 6 w 1458"/>
                <a:gd name="T41" fmla="*/ 3202 h 3336"/>
                <a:gd name="T42" fmla="*/ 2 w 1458"/>
                <a:gd name="T43" fmla="*/ 3181 h 3336"/>
                <a:gd name="T44" fmla="*/ 0 w 1458"/>
                <a:gd name="T45" fmla="*/ 3162 h 3336"/>
                <a:gd name="T46" fmla="*/ 0 w 1458"/>
                <a:gd name="T47" fmla="*/ 3140 h 3336"/>
                <a:gd name="T48" fmla="*/ 138 w 1458"/>
                <a:gd name="T49" fmla="*/ 638 h 3336"/>
                <a:gd name="T50" fmla="*/ 139 w 1458"/>
                <a:gd name="T51" fmla="*/ 609 h 3336"/>
                <a:gd name="T52" fmla="*/ 143 w 1458"/>
                <a:gd name="T53" fmla="*/ 582 h 3336"/>
                <a:gd name="T54" fmla="*/ 147 w 1458"/>
                <a:gd name="T55" fmla="*/ 555 h 3336"/>
                <a:gd name="T56" fmla="*/ 151 w 1458"/>
                <a:gd name="T57" fmla="*/ 529 h 3336"/>
                <a:gd name="T58" fmla="*/ 157 w 1458"/>
                <a:gd name="T59" fmla="*/ 504 h 3336"/>
                <a:gd name="T60" fmla="*/ 163 w 1458"/>
                <a:gd name="T61" fmla="*/ 480 h 3336"/>
                <a:gd name="T62" fmla="*/ 171 w 1458"/>
                <a:gd name="T63" fmla="*/ 456 h 3336"/>
                <a:gd name="T64" fmla="*/ 179 w 1458"/>
                <a:gd name="T65" fmla="*/ 433 h 3336"/>
                <a:gd name="T66" fmla="*/ 188 w 1458"/>
                <a:gd name="T67" fmla="*/ 412 h 3336"/>
                <a:gd name="T68" fmla="*/ 198 w 1458"/>
                <a:gd name="T69" fmla="*/ 391 h 3336"/>
                <a:gd name="T70" fmla="*/ 208 w 1458"/>
                <a:gd name="T71" fmla="*/ 371 h 3336"/>
                <a:gd name="T72" fmla="*/ 219 w 1458"/>
                <a:gd name="T73" fmla="*/ 351 h 3336"/>
                <a:gd name="T74" fmla="*/ 231 w 1458"/>
                <a:gd name="T75" fmla="*/ 333 h 3336"/>
                <a:gd name="T76" fmla="*/ 244 w 1458"/>
                <a:gd name="T77" fmla="*/ 316 h 3336"/>
                <a:gd name="T78" fmla="*/ 257 w 1458"/>
                <a:gd name="T79" fmla="*/ 299 h 3336"/>
                <a:gd name="T80" fmla="*/ 271 w 1458"/>
                <a:gd name="T81" fmla="*/ 283 h 3336"/>
                <a:gd name="T82" fmla="*/ 286 w 1458"/>
                <a:gd name="T83" fmla="*/ 268 h 3336"/>
                <a:gd name="T84" fmla="*/ 301 w 1458"/>
                <a:gd name="T85" fmla="*/ 253 h 3336"/>
                <a:gd name="T86" fmla="*/ 318 w 1458"/>
                <a:gd name="T87" fmla="*/ 240 h 3336"/>
                <a:gd name="T88" fmla="*/ 334 w 1458"/>
                <a:gd name="T89" fmla="*/ 227 h 3336"/>
                <a:gd name="T90" fmla="*/ 351 w 1458"/>
                <a:gd name="T91" fmla="*/ 215 h 3336"/>
                <a:gd name="T92" fmla="*/ 368 w 1458"/>
                <a:gd name="T93" fmla="*/ 203 h 3336"/>
                <a:gd name="T94" fmla="*/ 387 w 1458"/>
                <a:gd name="T95" fmla="*/ 194 h 3336"/>
                <a:gd name="T96" fmla="*/ 405 w 1458"/>
                <a:gd name="T97" fmla="*/ 184 h 3336"/>
                <a:gd name="T98" fmla="*/ 424 w 1458"/>
                <a:gd name="T99" fmla="*/ 174 h 3336"/>
                <a:gd name="T100" fmla="*/ 444 w 1458"/>
                <a:gd name="T101" fmla="*/ 167 h 3336"/>
                <a:gd name="T102" fmla="*/ 464 w 1458"/>
                <a:gd name="T103" fmla="*/ 159 h 3336"/>
                <a:gd name="T104" fmla="*/ 485 w 1458"/>
                <a:gd name="T105" fmla="*/ 153 h 3336"/>
                <a:gd name="T106" fmla="*/ 507 w 1458"/>
                <a:gd name="T107" fmla="*/ 146 h 3336"/>
                <a:gd name="T108" fmla="*/ 528 w 1458"/>
                <a:gd name="T109" fmla="*/ 141 h 3336"/>
                <a:gd name="T110" fmla="*/ 550 w 1458"/>
                <a:gd name="T111" fmla="*/ 136 h 3336"/>
                <a:gd name="T112" fmla="*/ 572 w 1458"/>
                <a:gd name="T113" fmla="*/ 133 h 3336"/>
                <a:gd name="T114" fmla="*/ 1458 w 1458"/>
                <a:gd name="T115" fmla="*/ 0 h 3336"/>
                <a:gd name="T116" fmla="*/ 1458 w 1458"/>
                <a:gd name="T117" fmla="*/ 3144 h 3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58" h="3336">
                  <a:moveTo>
                    <a:pt x="1458" y="3144"/>
                  </a:moveTo>
                  <a:lnTo>
                    <a:pt x="190" y="3335"/>
                  </a:lnTo>
                  <a:lnTo>
                    <a:pt x="180" y="3336"/>
                  </a:lnTo>
                  <a:lnTo>
                    <a:pt x="170" y="3336"/>
                  </a:lnTo>
                  <a:lnTo>
                    <a:pt x="160" y="3336"/>
                  </a:lnTo>
                  <a:lnTo>
                    <a:pt x="150" y="3336"/>
                  </a:lnTo>
                  <a:lnTo>
                    <a:pt x="140" y="3334"/>
                  </a:lnTo>
                  <a:lnTo>
                    <a:pt x="131" y="3333"/>
                  </a:lnTo>
                  <a:lnTo>
                    <a:pt x="122" y="3329"/>
                  </a:lnTo>
                  <a:lnTo>
                    <a:pt x="112" y="3327"/>
                  </a:lnTo>
                  <a:lnTo>
                    <a:pt x="104" y="3323"/>
                  </a:lnTo>
                  <a:lnTo>
                    <a:pt x="96" y="3320"/>
                  </a:lnTo>
                  <a:lnTo>
                    <a:pt x="87" y="3315"/>
                  </a:lnTo>
                  <a:lnTo>
                    <a:pt x="80" y="3310"/>
                  </a:lnTo>
                  <a:lnTo>
                    <a:pt x="65" y="3299"/>
                  </a:lnTo>
                  <a:lnTo>
                    <a:pt x="52" y="3286"/>
                  </a:lnTo>
                  <a:lnTo>
                    <a:pt x="39" y="3271"/>
                  </a:lnTo>
                  <a:lnTo>
                    <a:pt x="28" y="3256"/>
                  </a:lnTo>
                  <a:lnTo>
                    <a:pt x="19" y="3239"/>
                  </a:lnTo>
                  <a:lnTo>
                    <a:pt x="12" y="3220"/>
                  </a:lnTo>
                  <a:lnTo>
                    <a:pt x="6" y="3202"/>
                  </a:lnTo>
                  <a:lnTo>
                    <a:pt x="2" y="3181"/>
                  </a:lnTo>
                  <a:lnTo>
                    <a:pt x="0" y="3162"/>
                  </a:lnTo>
                  <a:lnTo>
                    <a:pt x="0" y="3140"/>
                  </a:lnTo>
                  <a:lnTo>
                    <a:pt x="138" y="638"/>
                  </a:lnTo>
                  <a:lnTo>
                    <a:pt x="139" y="609"/>
                  </a:lnTo>
                  <a:lnTo>
                    <a:pt x="143" y="582"/>
                  </a:lnTo>
                  <a:lnTo>
                    <a:pt x="147" y="555"/>
                  </a:lnTo>
                  <a:lnTo>
                    <a:pt x="151" y="529"/>
                  </a:lnTo>
                  <a:lnTo>
                    <a:pt x="157" y="504"/>
                  </a:lnTo>
                  <a:lnTo>
                    <a:pt x="163" y="480"/>
                  </a:lnTo>
                  <a:lnTo>
                    <a:pt x="171" y="456"/>
                  </a:lnTo>
                  <a:lnTo>
                    <a:pt x="179" y="433"/>
                  </a:lnTo>
                  <a:lnTo>
                    <a:pt x="188" y="412"/>
                  </a:lnTo>
                  <a:lnTo>
                    <a:pt x="198" y="391"/>
                  </a:lnTo>
                  <a:lnTo>
                    <a:pt x="208" y="371"/>
                  </a:lnTo>
                  <a:lnTo>
                    <a:pt x="219" y="351"/>
                  </a:lnTo>
                  <a:lnTo>
                    <a:pt x="231" y="333"/>
                  </a:lnTo>
                  <a:lnTo>
                    <a:pt x="244" y="316"/>
                  </a:lnTo>
                  <a:lnTo>
                    <a:pt x="257" y="299"/>
                  </a:lnTo>
                  <a:lnTo>
                    <a:pt x="271" y="283"/>
                  </a:lnTo>
                  <a:lnTo>
                    <a:pt x="286" y="268"/>
                  </a:lnTo>
                  <a:lnTo>
                    <a:pt x="301" y="253"/>
                  </a:lnTo>
                  <a:lnTo>
                    <a:pt x="318" y="240"/>
                  </a:lnTo>
                  <a:lnTo>
                    <a:pt x="334" y="227"/>
                  </a:lnTo>
                  <a:lnTo>
                    <a:pt x="351" y="215"/>
                  </a:lnTo>
                  <a:lnTo>
                    <a:pt x="368" y="203"/>
                  </a:lnTo>
                  <a:lnTo>
                    <a:pt x="387" y="194"/>
                  </a:lnTo>
                  <a:lnTo>
                    <a:pt x="405" y="184"/>
                  </a:lnTo>
                  <a:lnTo>
                    <a:pt x="424" y="174"/>
                  </a:lnTo>
                  <a:lnTo>
                    <a:pt x="444" y="167"/>
                  </a:lnTo>
                  <a:lnTo>
                    <a:pt x="464" y="159"/>
                  </a:lnTo>
                  <a:lnTo>
                    <a:pt x="485" y="153"/>
                  </a:lnTo>
                  <a:lnTo>
                    <a:pt x="507" y="146"/>
                  </a:lnTo>
                  <a:lnTo>
                    <a:pt x="528" y="141"/>
                  </a:lnTo>
                  <a:lnTo>
                    <a:pt x="550" y="136"/>
                  </a:lnTo>
                  <a:lnTo>
                    <a:pt x="572" y="133"/>
                  </a:lnTo>
                  <a:lnTo>
                    <a:pt x="1458" y="0"/>
                  </a:lnTo>
                  <a:lnTo>
                    <a:pt x="1458" y="3144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9" name="Freeform 9"/>
            <p:cNvSpPr>
              <a:spLocks/>
            </p:cNvSpPr>
            <p:nvPr userDrawn="1"/>
          </p:nvSpPr>
          <p:spPr bwMode="auto">
            <a:xfrm>
              <a:off x="7999413" y="5721350"/>
              <a:ext cx="1144588" cy="1136650"/>
            </a:xfrm>
            <a:custGeom>
              <a:avLst/>
              <a:gdLst>
                <a:gd name="T0" fmla="*/ 705 w 2162"/>
                <a:gd name="T1" fmla="*/ 2147 h 2147"/>
                <a:gd name="T2" fmla="*/ 17 w 2162"/>
                <a:gd name="T3" fmla="*/ 792 h 2147"/>
                <a:gd name="T4" fmla="*/ 13 w 2162"/>
                <a:gd name="T5" fmla="*/ 782 h 2147"/>
                <a:gd name="T6" fmla="*/ 8 w 2162"/>
                <a:gd name="T7" fmla="*/ 773 h 2147"/>
                <a:gd name="T8" fmla="*/ 5 w 2162"/>
                <a:gd name="T9" fmla="*/ 764 h 2147"/>
                <a:gd name="T10" fmla="*/ 3 w 2162"/>
                <a:gd name="T11" fmla="*/ 754 h 2147"/>
                <a:gd name="T12" fmla="*/ 1 w 2162"/>
                <a:gd name="T13" fmla="*/ 744 h 2147"/>
                <a:gd name="T14" fmla="*/ 0 w 2162"/>
                <a:gd name="T15" fmla="*/ 735 h 2147"/>
                <a:gd name="T16" fmla="*/ 0 w 2162"/>
                <a:gd name="T17" fmla="*/ 726 h 2147"/>
                <a:gd name="T18" fmla="*/ 0 w 2162"/>
                <a:gd name="T19" fmla="*/ 716 h 2147"/>
                <a:gd name="T20" fmla="*/ 0 w 2162"/>
                <a:gd name="T21" fmla="*/ 707 h 2147"/>
                <a:gd name="T22" fmla="*/ 1 w 2162"/>
                <a:gd name="T23" fmla="*/ 698 h 2147"/>
                <a:gd name="T24" fmla="*/ 3 w 2162"/>
                <a:gd name="T25" fmla="*/ 688 h 2147"/>
                <a:gd name="T26" fmla="*/ 5 w 2162"/>
                <a:gd name="T27" fmla="*/ 680 h 2147"/>
                <a:gd name="T28" fmla="*/ 12 w 2162"/>
                <a:gd name="T29" fmla="*/ 662 h 2147"/>
                <a:gd name="T30" fmla="*/ 19 w 2162"/>
                <a:gd name="T31" fmla="*/ 645 h 2147"/>
                <a:gd name="T32" fmla="*/ 29 w 2162"/>
                <a:gd name="T33" fmla="*/ 629 h 2147"/>
                <a:gd name="T34" fmla="*/ 41 w 2162"/>
                <a:gd name="T35" fmla="*/ 614 h 2147"/>
                <a:gd name="T36" fmla="*/ 54 w 2162"/>
                <a:gd name="T37" fmla="*/ 600 h 2147"/>
                <a:gd name="T38" fmla="*/ 69 w 2162"/>
                <a:gd name="T39" fmla="*/ 587 h 2147"/>
                <a:gd name="T40" fmla="*/ 85 w 2162"/>
                <a:gd name="T41" fmla="*/ 576 h 2147"/>
                <a:gd name="T42" fmla="*/ 102 w 2162"/>
                <a:gd name="T43" fmla="*/ 565 h 2147"/>
                <a:gd name="T44" fmla="*/ 121 w 2162"/>
                <a:gd name="T45" fmla="*/ 558 h 2147"/>
                <a:gd name="T46" fmla="*/ 141 w 2162"/>
                <a:gd name="T47" fmla="*/ 551 h 2147"/>
                <a:gd name="T48" fmla="*/ 2162 w 2162"/>
                <a:gd name="T49" fmla="*/ 0 h 2147"/>
                <a:gd name="T50" fmla="*/ 2162 w 2162"/>
                <a:gd name="T51" fmla="*/ 2147 h 2147"/>
                <a:gd name="T52" fmla="*/ 705 w 2162"/>
                <a:gd name="T53" fmla="*/ 2147 h 2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162" h="2147">
                  <a:moveTo>
                    <a:pt x="705" y="2147"/>
                  </a:moveTo>
                  <a:lnTo>
                    <a:pt x="17" y="792"/>
                  </a:lnTo>
                  <a:lnTo>
                    <a:pt x="13" y="782"/>
                  </a:lnTo>
                  <a:lnTo>
                    <a:pt x="8" y="773"/>
                  </a:lnTo>
                  <a:lnTo>
                    <a:pt x="5" y="764"/>
                  </a:lnTo>
                  <a:lnTo>
                    <a:pt x="3" y="754"/>
                  </a:lnTo>
                  <a:lnTo>
                    <a:pt x="1" y="744"/>
                  </a:lnTo>
                  <a:lnTo>
                    <a:pt x="0" y="735"/>
                  </a:lnTo>
                  <a:lnTo>
                    <a:pt x="0" y="726"/>
                  </a:lnTo>
                  <a:lnTo>
                    <a:pt x="0" y="716"/>
                  </a:lnTo>
                  <a:lnTo>
                    <a:pt x="0" y="707"/>
                  </a:lnTo>
                  <a:lnTo>
                    <a:pt x="1" y="698"/>
                  </a:lnTo>
                  <a:lnTo>
                    <a:pt x="3" y="688"/>
                  </a:lnTo>
                  <a:lnTo>
                    <a:pt x="5" y="680"/>
                  </a:lnTo>
                  <a:lnTo>
                    <a:pt x="12" y="662"/>
                  </a:lnTo>
                  <a:lnTo>
                    <a:pt x="19" y="645"/>
                  </a:lnTo>
                  <a:lnTo>
                    <a:pt x="29" y="629"/>
                  </a:lnTo>
                  <a:lnTo>
                    <a:pt x="41" y="614"/>
                  </a:lnTo>
                  <a:lnTo>
                    <a:pt x="54" y="600"/>
                  </a:lnTo>
                  <a:lnTo>
                    <a:pt x="69" y="587"/>
                  </a:lnTo>
                  <a:lnTo>
                    <a:pt x="85" y="576"/>
                  </a:lnTo>
                  <a:lnTo>
                    <a:pt x="102" y="565"/>
                  </a:lnTo>
                  <a:lnTo>
                    <a:pt x="121" y="558"/>
                  </a:lnTo>
                  <a:lnTo>
                    <a:pt x="141" y="551"/>
                  </a:lnTo>
                  <a:lnTo>
                    <a:pt x="2162" y="0"/>
                  </a:lnTo>
                  <a:lnTo>
                    <a:pt x="2162" y="2147"/>
                  </a:lnTo>
                  <a:lnTo>
                    <a:pt x="705" y="2147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1" name="Freeform 11"/>
            <p:cNvSpPr>
              <a:spLocks/>
            </p:cNvSpPr>
            <p:nvPr userDrawn="1"/>
          </p:nvSpPr>
          <p:spPr bwMode="auto">
            <a:xfrm>
              <a:off x="6105525" y="5953125"/>
              <a:ext cx="1589088" cy="904875"/>
            </a:xfrm>
            <a:custGeom>
              <a:avLst/>
              <a:gdLst>
                <a:gd name="T0" fmla="*/ 0 w 3003"/>
                <a:gd name="T1" fmla="*/ 1709 h 1709"/>
                <a:gd name="T2" fmla="*/ 1688 w 3003"/>
                <a:gd name="T3" fmla="*/ 45 h 1709"/>
                <a:gd name="T4" fmla="*/ 1695 w 3003"/>
                <a:gd name="T5" fmla="*/ 39 h 1709"/>
                <a:gd name="T6" fmla="*/ 1704 w 3003"/>
                <a:gd name="T7" fmla="*/ 32 h 1709"/>
                <a:gd name="T8" fmla="*/ 1711 w 3003"/>
                <a:gd name="T9" fmla="*/ 26 h 1709"/>
                <a:gd name="T10" fmla="*/ 1720 w 3003"/>
                <a:gd name="T11" fmla="*/ 20 h 1709"/>
                <a:gd name="T12" fmla="*/ 1729 w 3003"/>
                <a:gd name="T13" fmla="*/ 16 h 1709"/>
                <a:gd name="T14" fmla="*/ 1737 w 3003"/>
                <a:gd name="T15" fmla="*/ 12 h 1709"/>
                <a:gd name="T16" fmla="*/ 1746 w 3003"/>
                <a:gd name="T17" fmla="*/ 8 h 1709"/>
                <a:gd name="T18" fmla="*/ 1755 w 3003"/>
                <a:gd name="T19" fmla="*/ 6 h 1709"/>
                <a:gd name="T20" fmla="*/ 1764 w 3003"/>
                <a:gd name="T21" fmla="*/ 3 h 1709"/>
                <a:gd name="T22" fmla="*/ 1773 w 3003"/>
                <a:gd name="T23" fmla="*/ 2 h 1709"/>
                <a:gd name="T24" fmla="*/ 1783 w 3003"/>
                <a:gd name="T25" fmla="*/ 1 h 1709"/>
                <a:gd name="T26" fmla="*/ 1791 w 3003"/>
                <a:gd name="T27" fmla="*/ 0 h 1709"/>
                <a:gd name="T28" fmla="*/ 1811 w 3003"/>
                <a:gd name="T29" fmla="*/ 0 h 1709"/>
                <a:gd name="T30" fmla="*/ 1829 w 3003"/>
                <a:gd name="T31" fmla="*/ 3 h 1709"/>
                <a:gd name="T32" fmla="*/ 1847 w 3003"/>
                <a:gd name="T33" fmla="*/ 7 h 1709"/>
                <a:gd name="T34" fmla="*/ 1865 w 3003"/>
                <a:gd name="T35" fmla="*/ 14 h 1709"/>
                <a:gd name="T36" fmla="*/ 1882 w 3003"/>
                <a:gd name="T37" fmla="*/ 22 h 1709"/>
                <a:gd name="T38" fmla="*/ 1899 w 3003"/>
                <a:gd name="T39" fmla="*/ 32 h 1709"/>
                <a:gd name="T40" fmla="*/ 1914 w 3003"/>
                <a:gd name="T41" fmla="*/ 44 h 1709"/>
                <a:gd name="T42" fmla="*/ 1930 w 3003"/>
                <a:gd name="T43" fmla="*/ 58 h 1709"/>
                <a:gd name="T44" fmla="*/ 1944 w 3003"/>
                <a:gd name="T45" fmla="*/ 73 h 1709"/>
                <a:gd name="T46" fmla="*/ 1955 w 3003"/>
                <a:gd name="T47" fmla="*/ 90 h 1709"/>
                <a:gd name="T48" fmla="*/ 3003 w 3003"/>
                <a:gd name="T49" fmla="*/ 1709 h 1709"/>
                <a:gd name="T50" fmla="*/ 0 w 3003"/>
                <a:gd name="T51" fmla="*/ 1709 h 1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03" h="1709">
                  <a:moveTo>
                    <a:pt x="0" y="1709"/>
                  </a:moveTo>
                  <a:lnTo>
                    <a:pt x="1688" y="45"/>
                  </a:lnTo>
                  <a:lnTo>
                    <a:pt x="1695" y="39"/>
                  </a:lnTo>
                  <a:lnTo>
                    <a:pt x="1704" y="32"/>
                  </a:lnTo>
                  <a:lnTo>
                    <a:pt x="1711" y="26"/>
                  </a:lnTo>
                  <a:lnTo>
                    <a:pt x="1720" y="20"/>
                  </a:lnTo>
                  <a:lnTo>
                    <a:pt x="1729" y="16"/>
                  </a:lnTo>
                  <a:lnTo>
                    <a:pt x="1737" y="12"/>
                  </a:lnTo>
                  <a:lnTo>
                    <a:pt x="1746" y="8"/>
                  </a:lnTo>
                  <a:lnTo>
                    <a:pt x="1755" y="6"/>
                  </a:lnTo>
                  <a:lnTo>
                    <a:pt x="1764" y="3"/>
                  </a:lnTo>
                  <a:lnTo>
                    <a:pt x="1773" y="2"/>
                  </a:lnTo>
                  <a:lnTo>
                    <a:pt x="1783" y="1"/>
                  </a:lnTo>
                  <a:lnTo>
                    <a:pt x="1791" y="0"/>
                  </a:lnTo>
                  <a:lnTo>
                    <a:pt x="1811" y="0"/>
                  </a:lnTo>
                  <a:lnTo>
                    <a:pt x="1829" y="3"/>
                  </a:lnTo>
                  <a:lnTo>
                    <a:pt x="1847" y="7"/>
                  </a:lnTo>
                  <a:lnTo>
                    <a:pt x="1865" y="14"/>
                  </a:lnTo>
                  <a:lnTo>
                    <a:pt x="1882" y="22"/>
                  </a:lnTo>
                  <a:lnTo>
                    <a:pt x="1899" y="32"/>
                  </a:lnTo>
                  <a:lnTo>
                    <a:pt x="1914" y="44"/>
                  </a:lnTo>
                  <a:lnTo>
                    <a:pt x="1930" y="58"/>
                  </a:lnTo>
                  <a:lnTo>
                    <a:pt x="1944" y="73"/>
                  </a:lnTo>
                  <a:lnTo>
                    <a:pt x="1955" y="90"/>
                  </a:lnTo>
                  <a:lnTo>
                    <a:pt x="3003" y="1709"/>
                  </a:lnTo>
                  <a:lnTo>
                    <a:pt x="0" y="1709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3" name="Freeform 13"/>
            <p:cNvSpPr>
              <a:spLocks/>
            </p:cNvSpPr>
            <p:nvPr userDrawn="1"/>
          </p:nvSpPr>
          <p:spPr bwMode="auto">
            <a:xfrm>
              <a:off x="4116388" y="3810000"/>
              <a:ext cx="2773363" cy="2447925"/>
            </a:xfrm>
            <a:custGeom>
              <a:avLst/>
              <a:gdLst>
                <a:gd name="T0" fmla="*/ 5156 w 5241"/>
                <a:gd name="T1" fmla="*/ 2193 h 4627"/>
                <a:gd name="T2" fmla="*/ 5173 w 5241"/>
                <a:gd name="T3" fmla="*/ 2204 h 4627"/>
                <a:gd name="T4" fmla="*/ 5190 w 5241"/>
                <a:gd name="T5" fmla="*/ 2216 h 4627"/>
                <a:gd name="T6" fmla="*/ 5203 w 5241"/>
                <a:gd name="T7" fmla="*/ 2230 h 4627"/>
                <a:gd name="T8" fmla="*/ 5214 w 5241"/>
                <a:gd name="T9" fmla="*/ 2244 h 4627"/>
                <a:gd name="T10" fmla="*/ 5224 w 5241"/>
                <a:gd name="T11" fmla="*/ 2260 h 4627"/>
                <a:gd name="T12" fmla="*/ 5232 w 5241"/>
                <a:gd name="T13" fmla="*/ 2278 h 4627"/>
                <a:gd name="T14" fmla="*/ 5240 w 5241"/>
                <a:gd name="T15" fmla="*/ 2314 h 4627"/>
                <a:gd name="T16" fmla="*/ 5241 w 5241"/>
                <a:gd name="T17" fmla="*/ 2352 h 4627"/>
                <a:gd name="T18" fmla="*/ 5234 w 5241"/>
                <a:gd name="T19" fmla="*/ 2390 h 4627"/>
                <a:gd name="T20" fmla="*/ 5219 w 5241"/>
                <a:gd name="T21" fmla="*/ 2427 h 4627"/>
                <a:gd name="T22" fmla="*/ 5196 w 5241"/>
                <a:gd name="T23" fmla="*/ 2461 h 4627"/>
                <a:gd name="T24" fmla="*/ 3600 w 5241"/>
                <a:gd name="T25" fmla="*/ 4431 h 4627"/>
                <a:gd name="T26" fmla="*/ 3563 w 5241"/>
                <a:gd name="T27" fmla="*/ 4471 h 4627"/>
                <a:gd name="T28" fmla="*/ 3524 w 5241"/>
                <a:gd name="T29" fmla="*/ 4506 h 4627"/>
                <a:gd name="T30" fmla="*/ 3485 w 5241"/>
                <a:gd name="T31" fmla="*/ 4537 h 4627"/>
                <a:gd name="T32" fmla="*/ 3445 w 5241"/>
                <a:gd name="T33" fmla="*/ 4562 h 4627"/>
                <a:gd name="T34" fmla="*/ 3405 w 5241"/>
                <a:gd name="T35" fmla="*/ 4584 h 4627"/>
                <a:gd name="T36" fmla="*/ 3364 w 5241"/>
                <a:gd name="T37" fmla="*/ 4601 h 4627"/>
                <a:gd name="T38" fmla="*/ 3323 w 5241"/>
                <a:gd name="T39" fmla="*/ 4614 h 4627"/>
                <a:gd name="T40" fmla="*/ 3281 w 5241"/>
                <a:gd name="T41" fmla="*/ 4623 h 4627"/>
                <a:gd name="T42" fmla="*/ 3240 w 5241"/>
                <a:gd name="T43" fmla="*/ 4627 h 4627"/>
                <a:gd name="T44" fmla="*/ 3198 w 5241"/>
                <a:gd name="T45" fmla="*/ 4627 h 4627"/>
                <a:gd name="T46" fmla="*/ 3157 w 5241"/>
                <a:gd name="T47" fmla="*/ 4624 h 4627"/>
                <a:gd name="T48" fmla="*/ 3115 w 5241"/>
                <a:gd name="T49" fmla="*/ 4616 h 4627"/>
                <a:gd name="T50" fmla="*/ 3073 w 5241"/>
                <a:gd name="T51" fmla="*/ 4606 h 4627"/>
                <a:gd name="T52" fmla="*/ 3032 w 5241"/>
                <a:gd name="T53" fmla="*/ 4592 h 4627"/>
                <a:gd name="T54" fmla="*/ 2991 w 5241"/>
                <a:gd name="T55" fmla="*/ 4574 h 4627"/>
                <a:gd name="T56" fmla="*/ 277 w 5241"/>
                <a:gd name="T57" fmla="*/ 3172 h 4627"/>
                <a:gd name="T58" fmla="*/ 237 w 5241"/>
                <a:gd name="T59" fmla="*/ 3150 h 4627"/>
                <a:gd name="T60" fmla="*/ 200 w 5241"/>
                <a:gd name="T61" fmla="*/ 3125 h 4627"/>
                <a:gd name="T62" fmla="*/ 166 w 5241"/>
                <a:gd name="T63" fmla="*/ 3099 h 4627"/>
                <a:gd name="T64" fmla="*/ 134 w 5241"/>
                <a:gd name="T65" fmla="*/ 3070 h 4627"/>
                <a:gd name="T66" fmla="*/ 106 w 5241"/>
                <a:gd name="T67" fmla="*/ 3039 h 4627"/>
                <a:gd name="T68" fmla="*/ 81 w 5241"/>
                <a:gd name="T69" fmla="*/ 3006 h 4627"/>
                <a:gd name="T70" fmla="*/ 58 w 5241"/>
                <a:gd name="T71" fmla="*/ 2971 h 4627"/>
                <a:gd name="T72" fmla="*/ 40 w 5241"/>
                <a:gd name="T73" fmla="*/ 2933 h 4627"/>
                <a:gd name="T74" fmla="*/ 24 w 5241"/>
                <a:gd name="T75" fmla="*/ 2893 h 4627"/>
                <a:gd name="T76" fmla="*/ 13 w 5241"/>
                <a:gd name="T77" fmla="*/ 2851 h 4627"/>
                <a:gd name="T78" fmla="*/ 4 w 5241"/>
                <a:gd name="T79" fmla="*/ 2807 h 4627"/>
                <a:gd name="T80" fmla="*/ 1 w 5241"/>
                <a:gd name="T81" fmla="*/ 2761 h 4627"/>
                <a:gd name="T82" fmla="*/ 1 w 5241"/>
                <a:gd name="T83" fmla="*/ 2713 h 4627"/>
                <a:gd name="T84" fmla="*/ 6 w 5241"/>
                <a:gd name="T85" fmla="*/ 2662 h 4627"/>
                <a:gd name="T86" fmla="*/ 14 w 5241"/>
                <a:gd name="T87" fmla="*/ 2609 h 4627"/>
                <a:gd name="T88" fmla="*/ 28 w 5241"/>
                <a:gd name="T89" fmla="*/ 2554 h 4627"/>
                <a:gd name="T90" fmla="*/ 711 w 5241"/>
                <a:gd name="T91" fmla="*/ 121 h 4627"/>
                <a:gd name="T92" fmla="*/ 729 w 5241"/>
                <a:gd name="T93" fmla="*/ 84 h 4627"/>
                <a:gd name="T94" fmla="*/ 753 w 5241"/>
                <a:gd name="T95" fmla="*/ 54 h 4627"/>
                <a:gd name="T96" fmla="*/ 782 w 5241"/>
                <a:gd name="T97" fmla="*/ 29 h 4627"/>
                <a:gd name="T98" fmla="*/ 816 w 5241"/>
                <a:gd name="T99" fmla="*/ 11 h 4627"/>
                <a:gd name="T100" fmla="*/ 843 w 5241"/>
                <a:gd name="T101" fmla="*/ 3 h 4627"/>
                <a:gd name="T102" fmla="*/ 861 w 5241"/>
                <a:gd name="T103" fmla="*/ 1 h 4627"/>
                <a:gd name="T104" fmla="*/ 879 w 5241"/>
                <a:gd name="T105" fmla="*/ 0 h 4627"/>
                <a:gd name="T106" fmla="*/ 899 w 5241"/>
                <a:gd name="T107" fmla="*/ 2 h 4627"/>
                <a:gd name="T108" fmla="*/ 917 w 5241"/>
                <a:gd name="T109" fmla="*/ 7 h 4627"/>
                <a:gd name="T110" fmla="*/ 937 w 5241"/>
                <a:gd name="T111" fmla="*/ 13 h 4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241" h="4627">
                  <a:moveTo>
                    <a:pt x="946" y="19"/>
                  </a:moveTo>
                  <a:lnTo>
                    <a:pt x="5156" y="2193"/>
                  </a:lnTo>
                  <a:lnTo>
                    <a:pt x="5165" y="2199"/>
                  </a:lnTo>
                  <a:lnTo>
                    <a:pt x="5173" y="2204"/>
                  </a:lnTo>
                  <a:lnTo>
                    <a:pt x="5182" y="2210"/>
                  </a:lnTo>
                  <a:lnTo>
                    <a:pt x="5190" y="2216"/>
                  </a:lnTo>
                  <a:lnTo>
                    <a:pt x="5196" y="2223"/>
                  </a:lnTo>
                  <a:lnTo>
                    <a:pt x="5203" y="2230"/>
                  </a:lnTo>
                  <a:lnTo>
                    <a:pt x="5209" y="2237"/>
                  </a:lnTo>
                  <a:lnTo>
                    <a:pt x="5214" y="2244"/>
                  </a:lnTo>
                  <a:lnTo>
                    <a:pt x="5220" y="2253"/>
                  </a:lnTo>
                  <a:lnTo>
                    <a:pt x="5224" y="2260"/>
                  </a:lnTo>
                  <a:lnTo>
                    <a:pt x="5228" y="2269"/>
                  </a:lnTo>
                  <a:lnTo>
                    <a:pt x="5232" y="2278"/>
                  </a:lnTo>
                  <a:lnTo>
                    <a:pt x="5237" y="2296"/>
                  </a:lnTo>
                  <a:lnTo>
                    <a:pt x="5240" y="2314"/>
                  </a:lnTo>
                  <a:lnTo>
                    <a:pt x="5241" y="2333"/>
                  </a:lnTo>
                  <a:lnTo>
                    <a:pt x="5241" y="2352"/>
                  </a:lnTo>
                  <a:lnTo>
                    <a:pt x="5238" y="2370"/>
                  </a:lnTo>
                  <a:lnTo>
                    <a:pt x="5234" y="2390"/>
                  </a:lnTo>
                  <a:lnTo>
                    <a:pt x="5227" y="2408"/>
                  </a:lnTo>
                  <a:lnTo>
                    <a:pt x="5219" y="2427"/>
                  </a:lnTo>
                  <a:lnTo>
                    <a:pt x="5209" y="2445"/>
                  </a:lnTo>
                  <a:lnTo>
                    <a:pt x="5196" y="2461"/>
                  </a:lnTo>
                  <a:lnTo>
                    <a:pt x="3619" y="4409"/>
                  </a:lnTo>
                  <a:lnTo>
                    <a:pt x="3600" y="4431"/>
                  </a:lnTo>
                  <a:lnTo>
                    <a:pt x="3581" y="4451"/>
                  </a:lnTo>
                  <a:lnTo>
                    <a:pt x="3563" y="4471"/>
                  </a:lnTo>
                  <a:lnTo>
                    <a:pt x="3544" y="4489"/>
                  </a:lnTo>
                  <a:lnTo>
                    <a:pt x="3524" y="4506"/>
                  </a:lnTo>
                  <a:lnTo>
                    <a:pt x="3505" y="4523"/>
                  </a:lnTo>
                  <a:lnTo>
                    <a:pt x="3485" y="4537"/>
                  </a:lnTo>
                  <a:lnTo>
                    <a:pt x="3466" y="4551"/>
                  </a:lnTo>
                  <a:lnTo>
                    <a:pt x="3445" y="4562"/>
                  </a:lnTo>
                  <a:lnTo>
                    <a:pt x="3426" y="4574"/>
                  </a:lnTo>
                  <a:lnTo>
                    <a:pt x="3405" y="4584"/>
                  </a:lnTo>
                  <a:lnTo>
                    <a:pt x="3385" y="4594"/>
                  </a:lnTo>
                  <a:lnTo>
                    <a:pt x="3364" y="4601"/>
                  </a:lnTo>
                  <a:lnTo>
                    <a:pt x="3344" y="4608"/>
                  </a:lnTo>
                  <a:lnTo>
                    <a:pt x="3323" y="4614"/>
                  </a:lnTo>
                  <a:lnTo>
                    <a:pt x="3303" y="4619"/>
                  </a:lnTo>
                  <a:lnTo>
                    <a:pt x="3281" y="4623"/>
                  </a:lnTo>
                  <a:lnTo>
                    <a:pt x="3261" y="4625"/>
                  </a:lnTo>
                  <a:lnTo>
                    <a:pt x="3240" y="4627"/>
                  </a:lnTo>
                  <a:lnTo>
                    <a:pt x="3220" y="4627"/>
                  </a:lnTo>
                  <a:lnTo>
                    <a:pt x="3198" y="4627"/>
                  </a:lnTo>
                  <a:lnTo>
                    <a:pt x="3178" y="4626"/>
                  </a:lnTo>
                  <a:lnTo>
                    <a:pt x="3157" y="4624"/>
                  </a:lnTo>
                  <a:lnTo>
                    <a:pt x="3135" y="4621"/>
                  </a:lnTo>
                  <a:lnTo>
                    <a:pt x="3115" y="4616"/>
                  </a:lnTo>
                  <a:lnTo>
                    <a:pt x="3094" y="4612"/>
                  </a:lnTo>
                  <a:lnTo>
                    <a:pt x="3073" y="4606"/>
                  </a:lnTo>
                  <a:lnTo>
                    <a:pt x="3052" y="4599"/>
                  </a:lnTo>
                  <a:lnTo>
                    <a:pt x="3032" y="4592"/>
                  </a:lnTo>
                  <a:lnTo>
                    <a:pt x="3011" y="4583"/>
                  </a:lnTo>
                  <a:lnTo>
                    <a:pt x="2991" y="4574"/>
                  </a:lnTo>
                  <a:lnTo>
                    <a:pt x="2970" y="4564"/>
                  </a:lnTo>
                  <a:lnTo>
                    <a:pt x="277" y="3172"/>
                  </a:lnTo>
                  <a:lnTo>
                    <a:pt x="256" y="3161"/>
                  </a:lnTo>
                  <a:lnTo>
                    <a:pt x="237" y="3150"/>
                  </a:lnTo>
                  <a:lnTo>
                    <a:pt x="218" y="3138"/>
                  </a:lnTo>
                  <a:lnTo>
                    <a:pt x="200" y="3125"/>
                  </a:lnTo>
                  <a:lnTo>
                    <a:pt x="183" y="3112"/>
                  </a:lnTo>
                  <a:lnTo>
                    <a:pt x="166" y="3099"/>
                  </a:lnTo>
                  <a:lnTo>
                    <a:pt x="150" y="3085"/>
                  </a:lnTo>
                  <a:lnTo>
                    <a:pt x="134" y="3070"/>
                  </a:lnTo>
                  <a:lnTo>
                    <a:pt x="120" y="3055"/>
                  </a:lnTo>
                  <a:lnTo>
                    <a:pt x="106" y="3039"/>
                  </a:lnTo>
                  <a:lnTo>
                    <a:pt x="93" y="3023"/>
                  </a:lnTo>
                  <a:lnTo>
                    <a:pt x="81" y="3006"/>
                  </a:lnTo>
                  <a:lnTo>
                    <a:pt x="69" y="2989"/>
                  </a:lnTo>
                  <a:lnTo>
                    <a:pt x="58" y="2971"/>
                  </a:lnTo>
                  <a:lnTo>
                    <a:pt x="49" y="2952"/>
                  </a:lnTo>
                  <a:lnTo>
                    <a:pt x="40" y="2933"/>
                  </a:lnTo>
                  <a:lnTo>
                    <a:pt x="31" y="2914"/>
                  </a:lnTo>
                  <a:lnTo>
                    <a:pt x="24" y="2893"/>
                  </a:lnTo>
                  <a:lnTo>
                    <a:pt x="17" y="2873"/>
                  </a:lnTo>
                  <a:lnTo>
                    <a:pt x="13" y="2851"/>
                  </a:lnTo>
                  <a:lnTo>
                    <a:pt x="8" y="2829"/>
                  </a:lnTo>
                  <a:lnTo>
                    <a:pt x="4" y="2807"/>
                  </a:lnTo>
                  <a:lnTo>
                    <a:pt x="2" y="2784"/>
                  </a:lnTo>
                  <a:lnTo>
                    <a:pt x="1" y="2761"/>
                  </a:lnTo>
                  <a:lnTo>
                    <a:pt x="0" y="2737"/>
                  </a:lnTo>
                  <a:lnTo>
                    <a:pt x="1" y="2713"/>
                  </a:lnTo>
                  <a:lnTo>
                    <a:pt x="2" y="2687"/>
                  </a:lnTo>
                  <a:lnTo>
                    <a:pt x="6" y="2662"/>
                  </a:lnTo>
                  <a:lnTo>
                    <a:pt x="10" y="2635"/>
                  </a:lnTo>
                  <a:lnTo>
                    <a:pt x="14" y="2609"/>
                  </a:lnTo>
                  <a:lnTo>
                    <a:pt x="21" y="2582"/>
                  </a:lnTo>
                  <a:lnTo>
                    <a:pt x="28" y="2554"/>
                  </a:lnTo>
                  <a:lnTo>
                    <a:pt x="704" y="141"/>
                  </a:lnTo>
                  <a:lnTo>
                    <a:pt x="711" y="121"/>
                  </a:lnTo>
                  <a:lnTo>
                    <a:pt x="718" y="102"/>
                  </a:lnTo>
                  <a:lnTo>
                    <a:pt x="729" y="84"/>
                  </a:lnTo>
                  <a:lnTo>
                    <a:pt x="740" y="68"/>
                  </a:lnTo>
                  <a:lnTo>
                    <a:pt x="753" y="54"/>
                  </a:lnTo>
                  <a:lnTo>
                    <a:pt x="767" y="40"/>
                  </a:lnTo>
                  <a:lnTo>
                    <a:pt x="782" y="29"/>
                  </a:lnTo>
                  <a:lnTo>
                    <a:pt x="798" y="20"/>
                  </a:lnTo>
                  <a:lnTo>
                    <a:pt x="816" y="11"/>
                  </a:lnTo>
                  <a:lnTo>
                    <a:pt x="833" y="6"/>
                  </a:lnTo>
                  <a:lnTo>
                    <a:pt x="843" y="3"/>
                  </a:lnTo>
                  <a:lnTo>
                    <a:pt x="851" y="2"/>
                  </a:lnTo>
                  <a:lnTo>
                    <a:pt x="861" y="1"/>
                  </a:lnTo>
                  <a:lnTo>
                    <a:pt x="871" y="0"/>
                  </a:lnTo>
                  <a:lnTo>
                    <a:pt x="879" y="0"/>
                  </a:lnTo>
                  <a:lnTo>
                    <a:pt x="889" y="1"/>
                  </a:lnTo>
                  <a:lnTo>
                    <a:pt x="899" y="2"/>
                  </a:lnTo>
                  <a:lnTo>
                    <a:pt x="908" y="5"/>
                  </a:lnTo>
                  <a:lnTo>
                    <a:pt x="917" y="7"/>
                  </a:lnTo>
                  <a:lnTo>
                    <a:pt x="927" y="10"/>
                  </a:lnTo>
                  <a:lnTo>
                    <a:pt x="937" y="13"/>
                  </a:lnTo>
                  <a:lnTo>
                    <a:pt x="946" y="19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015763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9"/>
          <p:cNvSpPr/>
          <p:nvPr userDrawn="1"/>
        </p:nvSpPr>
        <p:spPr>
          <a:xfrm>
            <a:off x="0" y="1"/>
            <a:ext cx="9906000" cy="948807"/>
          </a:xfrm>
          <a:prstGeom prst="rect">
            <a:avLst/>
          </a:prstGeom>
          <a:solidFill>
            <a:srgbClr val="53575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9205983" y="6430800"/>
            <a:ext cx="428290" cy="239363"/>
          </a:xfrm>
          <a:prstGeom prst="rect">
            <a:avLst/>
          </a:prstGeom>
        </p:spPr>
        <p:txBody>
          <a:bodyPr/>
          <a:lstStyle>
            <a:lvl1pPr algn="r">
              <a:defRPr sz="1100">
                <a:solidFill>
                  <a:srgbClr val="535756"/>
                </a:solidFill>
              </a:defRPr>
            </a:lvl1pPr>
          </a:lstStyle>
          <a:p>
            <a:fld id="{D99B19C1-649F-475A-B071-CFFAEF88A23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95300" y="385764"/>
            <a:ext cx="9400794" cy="429768"/>
          </a:xfrm>
          <a:prstGeom prst="rect">
            <a:avLst/>
          </a:prstGeom>
        </p:spPr>
        <p:txBody>
          <a:bodyPr lIns="0" anchor="ctr" anchorCtr="0"/>
          <a:lstStyle>
            <a:lvl1pPr>
              <a:defRPr lang="en-GB" sz="2200" b="1" kern="1200" dirty="0">
                <a:solidFill>
                  <a:srgbClr val="F6CC0C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95300" y="1439863"/>
            <a:ext cx="8904194" cy="46466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35756"/>
                </a:solidFill>
              </a:defRPr>
            </a:lvl1pPr>
            <a:lvl2pPr marL="685800" indent="-228600">
              <a:buFont typeface="Calibri" panose="020F0502020204030204" pitchFamily="34" charset="0"/>
              <a:buChar char="–"/>
              <a:defRPr>
                <a:solidFill>
                  <a:srgbClr val="535756"/>
                </a:solidFill>
              </a:defRPr>
            </a:lvl2pPr>
            <a:lvl3pPr>
              <a:defRPr>
                <a:solidFill>
                  <a:srgbClr val="535756"/>
                </a:solidFill>
              </a:defRPr>
            </a:lvl3pPr>
            <a:lvl4pPr marL="1600200" indent="-228600">
              <a:buFont typeface="Calibri" panose="020F0502020204030204" pitchFamily="34" charset="0"/>
              <a:buChar char="–"/>
              <a:defRPr>
                <a:solidFill>
                  <a:srgbClr val="535756"/>
                </a:solidFill>
              </a:defRPr>
            </a:lvl4pPr>
            <a:lvl5pPr>
              <a:defRPr>
                <a:solidFill>
                  <a:srgbClr val="53575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887851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>
            <a:off x="0" y="3"/>
            <a:ext cx="9906000" cy="948807"/>
          </a:xfrm>
          <a:prstGeom prst="rect">
            <a:avLst/>
          </a:prstGeom>
          <a:solidFill>
            <a:srgbClr val="53575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</p:spTree>
    <p:extLst>
      <p:ext uri="{BB962C8B-B14F-4D97-AF65-F5344CB8AC3E}">
        <p14:creationId xmlns:p14="http://schemas.microsoft.com/office/powerpoint/2010/main" val="234328068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9"/>
          <p:cNvSpPr/>
          <p:nvPr userDrawn="1"/>
        </p:nvSpPr>
        <p:spPr>
          <a:xfrm>
            <a:off x="0" y="1"/>
            <a:ext cx="9906000" cy="948807"/>
          </a:xfrm>
          <a:prstGeom prst="rect">
            <a:avLst/>
          </a:prstGeom>
          <a:solidFill>
            <a:srgbClr val="53575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9205983" y="6430800"/>
            <a:ext cx="428290" cy="239363"/>
          </a:xfrm>
          <a:prstGeom prst="rect">
            <a:avLst/>
          </a:prstGeom>
        </p:spPr>
        <p:txBody>
          <a:bodyPr/>
          <a:lstStyle>
            <a:lvl1pPr algn="r">
              <a:defRPr sz="1100">
                <a:solidFill>
                  <a:srgbClr val="535756"/>
                </a:solidFill>
              </a:defRPr>
            </a:lvl1pPr>
          </a:lstStyle>
          <a:p>
            <a:fld id="{D99B19C1-649F-475A-B071-CFFAEF88A23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95300" y="385764"/>
            <a:ext cx="9400794" cy="429768"/>
          </a:xfrm>
          <a:prstGeom prst="rect">
            <a:avLst/>
          </a:prstGeom>
        </p:spPr>
        <p:txBody>
          <a:bodyPr lIns="0" anchor="ctr" anchorCtr="0"/>
          <a:lstStyle>
            <a:lvl1pPr>
              <a:defRPr lang="en-GB" sz="2200" b="1" kern="1200" dirty="0">
                <a:solidFill>
                  <a:srgbClr val="F6CC0C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95300" y="1439863"/>
            <a:ext cx="8904194" cy="46466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35756"/>
                </a:solidFill>
              </a:defRPr>
            </a:lvl1pPr>
            <a:lvl2pPr marL="685800" indent="-228600">
              <a:buFont typeface="Calibri" panose="020F0502020204030204" pitchFamily="34" charset="0"/>
              <a:buChar char="–"/>
              <a:defRPr>
                <a:solidFill>
                  <a:srgbClr val="535756"/>
                </a:solidFill>
              </a:defRPr>
            </a:lvl2pPr>
            <a:lvl3pPr>
              <a:defRPr>
                <a:solidFill>
                  <a:srgbClr val="535756"/>
                </a:solidFill>
              </a:defRPr>
            </a:lvl3pPr>
            <a:lvl4pPr marL="1600200" indent="-228600">
              <a:buFont typeface="Calibri" panose="020F0502020204030204" pitchFamily="34" charset="0"/>
              <a:buChar char="–"/>
              <a:defRPr>
                <a:solidFill>
                  <a:srgbClr val="535756"/>
                </a:solidFill>
              </a:defRPr>
            </a:lvl4pPr>
            <a:lvl5pPr>
              <a:defRPr>
                <a:solidFill>
                  <a:srgbClr val="535756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816749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>
            <a:off x="15" y="3"/>
            <a:ext cx="9906000" cy="948807"/>
          </a:xfrm>
          <a:prstGeom prst="rect">
            <a:avLst/>
          </a:prstGeom>
          <a:solidFill>
            <a:srgbClr val="53575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790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65" y="1122363"/>
            <a:ext cx="84201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1" y="3602038"/>
            <a:ext cx="74295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53" y="6356390"/>
            <a:ext cx="22288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03508A3-687E-42DC-B001-9C09FAB15517}" type="datetimeFigureOut">
              <a:rPr lang="ru-RU">
                <a:solidFill>
                  <a:prstClr val="black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.02.2020</a:t>
            </a:fld>
            <a:endParaRPr lang="ru-RU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82" y="6356390"/>
            <a:ext cx="3343275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96113" y="6356390"/>
            <a:ext cx="22288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0636AAC-79AD-4DF8-B487-79BCDEFFC817}" type="slidenum">
              <a:rPr lang="ru-RU">
                <a:solidFill>
                  <a:prstClr val="black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507513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42" y="365126"/>
            <a:ext cx="8543925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1042" y="1825625"/>
            <a:ext cx="8543925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53" y="6356390"/>
            <a:ext cx="22288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03508A3-687E-42DC-B001-9C09FAB15517}" type="datetimeFigureOut">
              <a:rPr lang="ru-RU">
                <a:solidFill>
                  <a:prstClr val="black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.02.2020</a:t>
            </a:fld>
            <a:endParaRPr lang="ru-RU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82" y="6356390"/>
            <a:ext cx="3343275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96113" y="6356390"/>
            <a:ext cx="22288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0636AAC-79AD-4DF8-B487-79BCDEFFC817}" type="slidenum">
              <a:rPr lang="ru-RU">
                <a:solidFill>
                  <a:prstClr val="black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464204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53" y="6356390"/>
            <a:ext cx="22288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03508A3-687E-42DC-B001-9C09FAB15517}" type="datetimeFigureOut">
              <a:rPr lang="ru-RU">
                <a:solidFill>
                  <a:prstClr val="black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.02.2020</a:t>
            </a:fld>
            <a:endParaRPr lang="ru-RU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793117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4928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Вертикальный заголовок и текст">
    <p:bg>
      <p:bgPr>
        <a:solidFill>
          <a:srgbClr val="53575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1070" y="1640545"/>
            <a:ext cx="7994929" cy="5217459"/>
          </a:xfrm>
          <a:prstGeom prst="rect">
            <a:avLst/>
          </a:prstGeom>
        </p:spPr>
      </p:pic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>
          <a:xfrm>
            <a:off x="428512" y="548680"/>
            <a:ext cx="5694633" cy="648072"/>
          </a:xfrm>
          <a:prstGeom prst="rect">
            <a:avLst/>
          </a:prstGeom>
        </p:spPr>
        <p:txBody>
          <a:bodyPr/>
          <a:lstStyle>
            <a:lvl1pPr>
              <a:defRPr>
                <a:latin typeface="Road radio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677436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910244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46814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914718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6818713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961689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691196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Вертикальный заголовок и текст">
    <p:bg>
      <p:bgPr>
        <a:solidFill>
          <a:srgbClr val="53575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1070" y="1640545"/>
            <a:ext cx="7994929" cy="5217459"/>
          </a:xfrm>
          <a:prstGeom prst="rect">
            <a:avLst/>
          </a:prstGeom>
        </p:spPr>
      </p:pic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>
          <a:xfrm>
            <a:off x="428512" y="548680"/>
            <a:ext cx="5694633" cy="648072"/>
          </a:xfrm>
          <a:prstGeom prst="rect">
            <a:avLst/>
          </a:prstGeom>
        </p:spPr>
        <p:txBody>
          <a:bodyPr/>
          <a:lstStyle>
            <a:lvl1pPr>
              <a:defRPr>
                <a:latin typeface="Road radio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815768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>
            <a:off x="2" y="3"/>
            <a:ext cx="9906000" cy="948807"/>
          </a:xfrm>
          <a:prstGeom prst="rect">
            <a:avLst/>
          </a:prstGeom>
          <a:solidFill>
            <a:srgbClr val="53575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1815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2" y="1122363"/>
            <a:ext cx="84201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1" y="3602038"/>
            <a:ext cx="74295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40" y="6356379"/>
            <a:ext cx="22288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03508A3-687E-42DC-B001-9C09FAB15517}" type="datetimeFigureOut">
              <a:rPr lang="ru-RU">
                <a:solidFill>
                  <a:prstClr val="black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.02.2020</a:t>
            </a:fld>
            <a:endParaRPr lang="ru-RU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75" y="6356379"/>
            <a:ext cx="3343276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96113" y="6356379"/>
            <a:ext cx="22288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0636AAC-79AD-4DF8-B487-79BCDEFFC817}" type="slidenum">
              <a:rPr lang="ru-RU">
                <a:solidFill>
                  <a:prstClr val="black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931323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47" y="365126"/>
            <a:ext cx="8543925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1047" y="1825625"/>
            <a:ext cx="8543925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40" y="6356379"/>
            <a:ext cx="22288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03508A3-687E-42DC-B001-9C09FAB15517}" type="datetimeFigureOut">
              <a:rPr lang="ru-RU">
                <a:solidFill>
                  <a:prstClr val="black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.02.2020</a:t>
            </a:fld>
            <a:endParaRPr lang="ru-RU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75" y="6356379"/>
            <a:ext cx="3343276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96113" y="6356379"/>
            <a:ext cx="22288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0636AAC-79AD-4DF8-B487-79BCDEFFC817}" type="slidenum">
              <a:rPr lang="ru-RU">
                <a:solidFill>
                  <a:prstClr val="black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79861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15" y="3"/>
            <a:ext cx="9906000" cy="948807"/>
          </a:xfrm>
          <a:prstGeom prst="rect">
            <a:avLst/>
          </a:prstGeom>
          <a:solidFill>
            <a:srgbClr val="53575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15" y="3"/>
            <a:ext cx="9906000" cy="948807"/>
          </a:xfrm>
          <a:prstGeom prst="rect">
            <a:avLst/>
          </a:prstGeom>
          <a:solidFill>
            <a:srgbClr val="53575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997197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40" y="6356379"/>
            <a:ext cx="22288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03508A3-687E-42DC-B001-9C09FAB15517}" type="datetimeFigureOut">
              <a:rPr lang="ru-RU">
                <a:solidFill>
                  <a:prstClr val="black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.02.2020</a:t>
            </a:fld>
            <a:endParaRPr lang="ru-RU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080244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0772649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99949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8168243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503963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7602074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8010789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0559377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Вертикальный заголовок и текст">
    <p:bg>
      <p:bgPr>
        <a:solidFill>
          <a:srgbClr val="53575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1073" y="1640545"/>
            <a:ext cx="7994929" cy="5217459"/>
          </a:xfrm>
          <a:prstGeom prst="rect">
            <a:avLst/>
          </a:prstGeom>
        </p:spPr>
      </p:pic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>
          <a:xfrm>
            <a:off x="428501" y="548680"/>
            <a:ext cx="5694632" cy="648072"/>
          </a:xfrm>
          <a:prstGeom prst="rect">
            <a:avLst/>
          </a:prstGeom>
        </p:spPr>
        <p:txBody>
          <a:bodyPr/>
          <a:lstStyle>
            <a:lvl1pPr>
              <a:defRPr>
                <a:latin typeface="Road radio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250439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B2EDAB2-95EE-4DE7-852D-1CDA886C274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/>
          </p:nvPr>
        </p:nvSpPr>
        <p:spPr>
          <a:xfrm>
            <a:off x="507339" y="368301"/>
            <a:ext cx="8891323" cy="468313"/>
          </a:xfrm>
        </p:spPr>
        <p:txBody>
          <a:bodyPr>
            <a:noAutofit/>
          </a:bodyPr>
          <a:lstStyle>
            <a:lvl1pPr>
              <a:defRPr sz="2200" b="1">
                <a:solidFill>
                  <a:srgbClr val="F6CC0C"/>
                </a:solidFill>
              </a:defRPr>
            </a:lvl1pPr>
            <a:lvl2pPr>
              <a:defRPr sz="2000" b="1">
                <a:solidFill>
                  <a:srgbClr val="F6CC0C"/>
                </a:solidFill>
              </a:defRPr>
            </a:lvl2pPr>
            <a:lvl3pPr>
              <a:defRPr sz="2000" b="1">
                <a:solidFill>
                  <a:srgbClr val="F6CC0C"/>
                </a:solidFill>
              </a:defRPr>
            </a:lvl3pPr>
            <a:lvl4pPr>
              <a:defRPr sz="2000" b="1">
                <a:solidFill>
                  <a:srgbClr val="F6CC0C"/>
                </a:solidFill>
              </a:defRPr>
            </a:lvl4pPr>
            <a:lvl5pPr>
              <a:defRPr sz="2000" b="1">
                <a:solidFill>
                  <a:srgbClr val="F6CC0C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2598868" y="6381750"/>
            <a:ext cx="5931947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330636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65" y="1122363"/>
            <a:ext cx="84201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1" y="3602038"/>
            <a:ext cx="74295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53" y="6356530"/>
            <a:ext cx="222885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84" y="6356530"/>
            <a:ext cx="3343275" cy="365125"/>
          </a:xfrm>
          <a:prstGeom prst="rect">
            <a:avLst/>
          </a:prstGeom>
        </p:spPr>
        <p:txBody>
          <a:bodyPr/>
          <a:lstStyle/>
          <a:p>
            <a:r>
              <a:rPr lang="ru-RU">
                <a:solidFill>
                  <a:prstClr val="black"/>
                </a:solidFill>
              </a:rPr>
              <a:t>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96113" y="6356530"/>
            <a:ext cx="2228850" cy="365125"/>
          </a:xfrm>
          <a:prstGeom prst="rect">
            <a:avLst/>
          </a:prstGeom>
        </p:spPr>
        <p:txBody>
          <a:bodyPr/>
          <a:lstStyle/>
          <a:p>
            <a:fld id="{40636AAC-79AD-4DF8-B487-79BCDEFFC817}" type="slidenum">
              <a:rPr lang="ru-RU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163813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6A7B89-85C5-49FF-B8EB-110D073C35B7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/>
          </p:nvPr>
        </p:nvSpPr>
        <p:spPr>
          <a:xfrm>
            <a:off x="507339" y="368301"/>
            <a:ext cx="8891323" cy="468313"/>
          </a:xfrm>
        </p:spPr>
        <p:txBody>
          <a:bodyPr>
            <a:noAutofit/>
          </a:bodyPr>
          <a:lstStyle>
            <a:lvl1pPr>
              <a:defRPr sz="2200" b="1">
                <a:solidFill>
                  <a:srgbClr val="F6CC0C"/>
                </a:solidFill>
              </a:defRPr>
            </a:lvl1pPr>
            <a:lvl2pPr>
              <a:defRPr sz="2000" b="1">
                <a:solidFill>
                  <a:srgbClr val="F6CC0C"/>
                </a:solidFill>
              </a:defRPr>
            </a:lvl2pPr>
            <a:lvl3pPr>
              <a:defRPr sz="2000" b="1">
                <a:solidFill>
                  <a:srgbClr val="F6CC0C"/>
                </a:solidFill>
              </a:defRPr>
            </a:lvl3pPr>
            <a:lvl4pPr>
              <a:defRPr sz="2000" b="1">
                <a:solidFill>
                  <a:srgbClr val="F6CC0C"/>
                </a:solidFill>
              </a:defRPr>
            </a:lvl4pPr>
            <a:lvl5pPr>
              <a:defRPr sz="2000" b="1">
                <a:solidFill>
                  <a:srgbClr val="F6CC0C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2598868" y="6381750"/>
            <a:ext cx="5931947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Объект 8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81588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6A7B89-85C5-49FF-B8EB-110D073C35B7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2"/>
          </p:nvPr>
        </p:nvSpPr>
        <p:spPr>
          <a:xfrm>
            <a:off x="507339" y="368301"/>
            <a:ext cx="8891323" cy="468313"/>
          </a:xfrm>
        </p:spPr>
        <p:txBody>
          <a:bodyPr>
            <a:noAutofit/>
          </a:bodyPr>
          <a:lstStyle>
            <a:lvl1pPr>
              <a:defRPr sz="2200" b="1">
                <a:solidFill>
                  <a:srgbClr val="F6CC0C"/>
                </a:solidFill>
              </a:defRPr>
            </a:lvl1pPr>
            <a:lvl2pPr>
              <a:defRPr sz="2000" b="1">
                <a:solidFill>
                  <a:srgbClr val="F6CC0C"/>
                </a:solidFill>
              </a:defRPr>
            </a:lvl2pPr>
            <a:lvl3pPr>
              <a:defRPr sz="2000" b="1">
                <a:solidFill>
                  <a:srgbClr val="F6CC0C"/>
                </a:solidFill>
              </a:defRPr>
            </a:lvl3pPr>
            <a:lvl4pPr>
              <a:defRPr sz="2000" b="1">
                <a:solidFill>
                  <a:srgbClr val="F6CC0C"/>
                </a:solidFill>
              </a:defRPr>
            </a:lvl4pPr>
            <a:lvl5pPr>
              <a:defRPr sz="2000" b="1">
                <a:solidFill>
                  <a:srgbClr val="F6CC0C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3"/>
          </p:nvPr>
        </p:nvSpPr>
        <p:spPr>
          <a:xfrm>
            <a:off x="507340" y="1125538"/>
            <a:ext cx="4251325" cy="51117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Объект 6"/>
          <p:cNvSpPr>
            <a:spLocks noGrp="1"/>
          </p:cNvSpPr>
          <p:nvPr>
            <p:ph sz="quarter" idx="14"/>
          </p:nvPr>
        </p:nvSpPr>
        <p:spPr>
          <a:xfrm>
            <a:off x="5147337" y="1125538"/>
            <a:ext cx="4251325" cy="51117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2633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6A7B89-85C5-49FF-B8EB-110D073C35B7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2"/>
          </p:nvPr>
        </p:nvSpPr>
        <p:spPr>
          <a:xfrm>
            <a:off x="507339" y="368301"/>
            <a:ext cx="8891323" cy="468313"/>
          </a:xfrm>
        </p:spPr>
        <p:txBody>
          <a:bodyPr>
            <a:noAutofit/>
          </a:bodyPr>
          <a:lstStyle>
            <a:lvl1pPr>
              <a:defRPr sz="2200" b="1">
                <a:solidFill>
                  <a:srgbClr val="F6CC0C"/>
                </a:solidFill>
              </a:defRPr>
            </a:lvl1pPr>
            <a:lvl2pPr>
              <a:defRPr sz="2000" b="1">
                <a:solidFill>
                  <a:srgbClr val="F6CC0C"/>
                </a:solidFill>
              </a:defRPr>
            </a:lvl2pPr>
            <a:lvl3pPr>
              <a:defRPr sz="2000" b="1">
                <a:solidFill>
                  <a:srgbClr val="F6CC0C"/>
                </a:solidFill>
              </a:defRPr>
            </a:lvl3pPr>
            <a:lvl4pPr>
              <a:defRPr sz="2000" b="1">
                <a:solidFill>
                  <a:srgbClr val="F6CC0C"/>
                </a:solidFill>
              </a:defRPr>
            </a:lvl4pPr>
            <a:lvl5pPr>
              <a:defRPr sz="2000" b="1">
                <a:solidFill>
                  <a:srgbClr val="F6CC0C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Объект 6"/>
          <p:cNvSpPr>
            <a:spLocks noGrp="1"/>
          </p:cNvSpPr>
          <p:nvPr>
            <p:ph sz="quarter" idx="16"/>
          </p:nvPr>
        </p:nvSpPr>
        <p:spPr>
          <a:xfrm>
            <a:off x="5147337" y="1134726"/>
            <a:ext cx="4251325" cy="510256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6"/>
          <p:cNvSpPr>
            <a:spLocks noGrp="1"/>
          </p:cNvSpPr>
          <p:nvPr>
            <p:ph sz="quarter" idx="17"/>
          </p:nvPr>
        </p:nvSpPr>
        <p:spPr>
          <a:xfrm>
            <a:off x="507340" y="1134728"/>
            <a:ext cx="4251325" cy="17180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6"/>
          <p:cNvSpPr>
            <a:spLocks noGrp="1"/>
          </p:cNvSpPr>
          <p:nvPr>
            <p:ph sz="quarter" idx="18"/>
          </p:nvPr>
        </p:nvSpPr>
        <p:spPr>
          <a:xfrm>
            <a:off x="507340" y="3213100"/>
            <a:ext cx="4251325" cy="30241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7444843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797">
          <p15:clr>
            <a:srgbClr val="FBAE40"/>
          </p15:clr>
        </p15:guide>
        <p15:guide id="2" orient="horz" pos="2024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рые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6A7B89-85C5-49FF-B8EB-110D073C35B7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2"/>
          </p:nvPr>
        </p:nvSpPr>
        <p:spPr>
          <a:xfrm>
            <a:off x="507339" y="368301"/>
            <a:ext cx="8891323" cy="468313"/>
          </a:xfrm>
        </p:spPr>
        <p:txBody>
          <a:bodyPr>
            <a:noAutofit/>
          </a:bodyPr>
          <a:lstStyle>
            <a:lvl1pPr>
              <a:defRPr sz="2200" b="1">
                <a:solidFill>
                  <a:srgbClr val="F6CC0C"/>
                </a:solidFill>
              </a:defRPr>
            </a:lvl1pPr>
            <a:lvl2pPr>
              <a:defRPr sz="2000" b="1">
                <a:solidFill>
                  <a:srgbClr val="F6CC0C"/>
                </a:solidFill>
              </a:defRPr>
            </a:lvl2pPr>
            <a:lvl3pPr>
              <a:defRPr sz="2000" b="1">
                <a:solidFill>
                  <a:srgbClr val="F6CC0C"/>
                </a:solidFill>
              </a:defRPr>
            </a:lvl3pPr>
            <a:lvl4pPr>
              <a:defRPr sz="2000" b="1">
                <a:solidFill>
                  <a:srgbClr val="F6CC0C"/>
                </a:solidFill>
              </a:defRPr>
            </a:lvl4pPr>
            <a:lvl5pPr>
              <a:defRPr sz="2000" b="1">
                <a:solidFill>
                  <a:srgbClr val="F6CC0C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Объект 6"/>
          <p:cNvSpPr>
            <a:spLocks noGrp="1"/>
          </p:cNvSpPr>
          <p:nvPr>
            <p:ph sz="quarter" idx="15"/>
          </p:nvPr>
        </p:nvSpPr>
        <p:spPr>
          <a:xfrm>
            <a:off x="5147337" y="3752850"/>
            <a:ext cx="4251325" cy="2484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6"/>
          <p:cNvSpPr>
            <a:spLocks noGrp="1"/>
          </p:cNvSpPr>
          <p:nvPr>
            <p:ph sz="quarter" idx="16"/>
          </p:nvPr>
        </p:nvSpPr>
        <p:spPr>
          <a:xfrm>
            <a:off x="5147337" y="1134728"/>
            <a:ext cx="4251325" cy="24736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6"/>
          <p:cNvSpPr>
            <a:spLocks noGrp="1"/>
          </p:cNvSpPr>
          <p:nvPr>
            <p:ph sz="quarter" idx="17"/>
          </p:nvPr>
        </p:nvSpPr>
        <p:spPr>
          <a:xfrm>
            <a:off x="507341" y="1134728"/>
            <a:ext cx="4251324" cy="24736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6"/>
          <p:cNvSpPr>
            <a:spLocks noGrp="1"/>
          </p:cNvSpPr>
          <p:nvPr>
            <p:ph sz="quarter" idx="18"/>
          </p:nvPr>
        </p:nvSpPr>
        <p:spPr>
          <a:xfrm>
            <a:off x="507341" y="3752851"/>
            <a:ext cx="4251324" cy="248443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51009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73">
          <p15:clr>
            <a:srgbClr val="FBAE40"/>
          </p15:clr>
        </p15:guide>
        <p15:guide id="2" orient="horz" pos="2364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блока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6A7B89-85C5-49FF-B8EB-110D073C35B7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2"/>
          </p:nvPr>
        </p:nvSpPr>
        <p:spPr>
          <a:xfrm>
            <a:off x="507339" y="368301"/>
            <a:ext cx="8891323" cy="468313"/>
          </a:xfrm>
        </p:spPr>
        <p:txBody>
          <a:bodyPr>
            <a:noAutofit/>
          </a:bodyPr>
          <a:lstStyle>
            <a:lvl1pPr>
              <a:defRPr sz="2200" b="1">
                <a:solidFill>
                  <a:srgbClr val="F6CC0C"/>
                </a:solidFill>
              </a:defRPr>
            </a:lvl1pPr>
            <a:lvl2pPr>
              <a:defRPr sz="2000" b="1">
                <a:solidFill>
                  <a:srgbClr val="F6CC0C"/>
                </a:solidFill>
              </a:defRPr>
            </a:lvl2pPr>
            <a:lvl3pPr>
              <a:defRPr sz="2000" b="1">
                <a:solidFill>
                  <a:srgbClr val="F6CC0C"/>
                </a:solidFill>
              </a:defRPr>
            </a:lvl3pPr>
            <a:lvl4pPr>
              <a:defRPr sz="2000" b="1">
                <a:solidFill>
                  <a:srgbClr val="F6CC0C"/>
                </a:solidFill>
              </a:defRPr>
            </a:lvl4pPr>
            <a:lvl5pPr>
              <a:defRPr sz="2000" b="1">
                <a:solidFill>
                  <a:srgbClr val="F6CC0C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Объект 6"/>
          <p:cNvSpPr>
            <a:spLocks noGrp="1"/>
          </p:cNvSpPr>
          <p:nvPr>
            <p:ph sz="quarter" idx="17"/>
          </p:nvPr>
        </p:nvSpPr>
        <p:spPr>
          <a:xfrm>
            <a:off x="507340" y="4652964"/>
            <a:ext cx="4251325" cy="15843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6"/>
          <p:cNvSpPr>
            <a:spLocks noGrp="1"/>
          </p:cNvSpPr>
          <p:nvPr>
            <p:ph sz="quarter" idx="18"/>
          </p:nvPr>
        </p:nvSpPr>
        <p:spPr>
          <a:xfrm>
            <a:off x="507340" y="1134001"/>
            <a:ext cx="4251325" cy="3158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Объект 6"/>
          <p:cNvSpPr>
            <a:spLocks noGrp="1"/>
          </p:cNvSpPr>
          <p:nvPr>
            <p:ph sz="quarter" idx="19"/>
          </p:nvPr>
        </p:nvSpPr>
        <p:spPr>
          <a:xfrm>
            <a:off x="5147338" y="4652964"/>
            <a:ext cx="4251324" cy="15843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6"/>
          <p:cNvSpPr>
            <a:spLocks noGrp="1"/>
          </p:cNvSpPr>
          <p:nvPr>
            <p:ph sz="quarter" idx="20"/>
          </p:nvPr>
        </p:nvSpPr>
        <p:spPr>
          <a:xfrm>
            <a:off x="5147338" y="1134001"/>
            <a:ext cx="4251324" cy="3158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156269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931">
          <p15:clr>
            <a:srgbClr val="FBAE40"/>
          </p15:clr>
        </p15:guide>
        <p15:guide id="2" orient="horz" pos="2704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блока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6A7B89-85C5-49FF-B8EB-110D073C35B7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2"/>
          </p:nvPr>
        </p:nvSpPr>
        <p:spPr>
          <a:xfrm>
            <a:off x="507339" y="368301"/>
            <a:ext cx="8891323" cy="468313"/>
          </a:xfrm>
        </p:spPr>
        <p:txBody>
          <a:bodyPr>
            <a:noAutofit/>
          </a:bodyPr>
          <a:lstStyle>
            <a:lvl1pPr>
              <a:defRPr sz="2200" b="1">
                <a:solidFill>
                  <a:srgbClr val="F6CC0C"/>
                </a:solidFill>
              </a:defRPr>
            </a:lvl1pPr>
            <a:lvl2pPr>
              <a:defRPr sz="2000" b="1">
                <a:solidFill>
                  <a:srgbClr val="F6CC0C"/>
                </a:solidFill>
              </a:defRPr>
            </a:lvl2pPr>
            <a:lvl3pPr>
              <a:defRPr sz="2000" b="1">
                <a:solidFill>
                  <a:srgbClr val="F6CC0C"/>
                </a:solidFill>
              </a:defRPr>
            </a:lvl3pPr>
            <a:lvl4pPr>
              <a:defRPr sz="2000" b="1">
                <a:solidFill>
                  <a:srgbClr val="F6CC0C"/>
                </a:solidFill>
              </a:defRPr>
            </a:lvl4pPr>
            <a:lvl5pPr>
              <a:defRPr sz="2000" b="1">
                <a:solidFill>
                  <a:srgbClr val="F6CC0C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Объект 6"/>
          <p:cNvSpPr>
            <a:spLocks noGrp="1"/>
          </p:cNvSpPr>
          <p:nvPr>
            <p:ph sz="quarter" idx="17"/>
          </p:nvPr>
        </p:nvSpPr>
        <p:spPr>
          <a:xfrm>
            <a:off x="507340" y="1134728"/>
            <a:ext cx="4251325" cy="17180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6"/>
          <p:cNvSpPr>
            <a:spLocks noGrp="1"/>
          </p:cNvSpPr>
          <p:nvPr>
            <p:ph sz="quarter" idx="18"/>
          </p:nvPr>
        </p:nvSpPr>
        <p:spPr>
          <a:xfrm>
            <a:off x="507340" y="3213100"/>
            <a:ext cx="4251325" cy="30241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Объект 6"/>
          <p:cNvSpPr>
            <a:spLocks noGrp="1"/>
          </p:cNvSpPr>
          <p:nvPr>
            <p:ph sz="quarter" idx="19"/>
          </p:nvPr>
        </p:nvSpPr>
        <p:spPr>
          <a:xfrm>
            <a:off x="5147337" y="4581526"/>
            <a:ext cx="4251325" cy="16720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6"/>
          <p:cNvSpPr>
            <a:spLocks noGrp="1"/>
          </p:cNvSpPr>
          <p:nvPr>
            <p:ph sz="quarter" idx="20"/>
          </p:nvPr>
        </p:nvSpPr>
        <p:spPr>
          <a:xfrm>
            <a:off x="5147337" y="1125538"/>
            <a:ext cx="4251325" cy="30956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0204935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797">
          <p15:clr>
            <a:srgbClr val="FBAE40"/>
          </p15:clr>
        </p15:guide>
        <p15:guide id="2" orient="horz" pos="913">
          <p15:clr>
            <a:srgbClr val="FBAE40"/>
          </p15:clr>
        </p15:guide>
        <p15:guide id="3" orient="horz" pos="1071">
          <p15:clr>
            <a:srgbClr val="FBAE40"/>
          </p15:clr>
        </p15:guide>
        <p15:guide id="4" orient="horz" pos="2024">
          <p15:clr>
            <a:srgbClr val="FBAE40"/>
          </p15:clr>
        </p15:guide>
        <p15:guide id="5" orient="horz" pos="2886">
          <p15:clr>
            <a:srgbClr val="FBAE40"/>
          </p15:clr>
        </p15:guide>
        <p15:guide id="6" orient="horz" pos="2659">
          <p15:clr>
            <a:srgbClr val="FBAE4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>
            <a:off x="15" y="3"/>
            <a:ext cx="9906000" cy="948807"/>
          </a:xfrm>
          <a:prstGeom prst="rect">
            <a:avLst/>
          </a:prstGeom>
          <a:solidFill>
            <a:srgbClr val="53575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2637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65" y="1122363"/>
            <a:ext cx="84201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1" y="3602038"/>
            <a:ext cx="74295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53" y="6356394"/>
            <a:ext cx="22288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03508A3-687E-42DC-B001-9C09FAB15517}" type="datetimeFigureOut">
              <a:rPr lang="ru-RU">
                <a:solidFill>
                  <a:prstClr val="black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.02.2020</a:t>
            </a:fld>
            <a:endParaRPr lang="ru-RU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82" y="6356394"/>
            <a:ext cx="3343275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96113" y="6356394"/>
            <a:ext cx="22288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0636AAC-79AD-4DF8-B487-79BCDEFFC817}" type="slidenum">
              <a:rPr lang="ru-RU">
                <a:solidFill>
                  <a:prstClr val="black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3448250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44" y="365126"/>
            <a:ext cx="8543925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1044" y="1825625"/>
            <a:ext cx="8543925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53" y="6356394"/>
            <a:ext cx="22288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03508A3-687E-42DC-B001-9C09FAB15517}" type="datetimeFigureOut">
              <a:rPr lang="ru-RU">
                <a:solidFill>
                  <a:prstClr val="black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.02.2020</a:t>
            </a:fld>
            <a:endParaRPr lang="ru-RU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82" y="6356394"/>
            <a:ext cx="3343275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96113" y="6356394"/>
            <a:ext cx="22288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0636AAC-79AD-4DF8-B487-79BCDEFFC817}" type="slidenum">
              <a:rPr lang="ru-RU">
                <a:solidFill>
                  <a:prstClr val="black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5977839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53" y="6356394"/>
            <a:ext cx="22288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03508A3-687E-42DC-B001-9C09FAB15517}" type="datetimeFigureOut">
              <a:rPr lang="ru-RU">
                <a:solidFill>
                  <a:prstClr val="black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.02.2020</a:t>
            </a:fld>
            <a:endParaRPr lang="ru-RU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5661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44" y="365129"/>
            <a:ext cx="8543925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1044" y="1825625"/>
            <a:ext cx="8543925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53" y="6356530"/>
            <a:ext cx="222885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84" y="6356530"/>
            <a:ext cx="3343275" cy="365125"/>
          </a:xfrm>
          <a:prstGeom prst="rect">
            <a:avLst/>
          </a:prstGeom>
        </p:spPr>
        <p:txBody>
          <a:bodyPr/>
          <a:lstStyle/>
          <a:p>
            <a:r>
              <a:rPr lang="ru-RU">
                <a:solidFill>
                  <a:prstClr val="black"/>
                </a:solidFill>
              </a:rPr>
              <a:t>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96113" y="6356530"/>
            <a:ext cx="2228850" cy="365125"/>
          </a:xfrm>
          <a:prstGeom prst="rect">
            <a:avLst/>
          </a:prstGeom>
        </p:spPr>
        <p:txBody>
          <a:bodyPr/>
          <a:lstStyle/>
          <a:p>
            <a:fld id="{40636AAC-79AD-4DF8-B487-79BCDEFFC817}" type="slidenum">
              <a:rPr lang="ru-RU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0347402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07573110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97092108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143207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7886804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773776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42561644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672083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Вертикальный заголовок и текст">
    <p:bg>
      <p:bgPr>
        <a:solidFill>
          <a:srgbClr val="53575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1070" y="1640545"/>
            <a:ext cx="7994929" cy="5217459"/>
          </a:xfrm>
          <a:prstGeom prst="rect">
            <a:avLst/>
          </a:prstGeom>
        </p:spPr>
      </p:pic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>
          <a:xfrm>
            <a:off x="428512" y="548680"/>
            <a:ext cx="5694633" cy="648072"/>
          </a:xfrm>
          <a:prstGeom prst="rect">
            <a:avLst/>
          </a:prstGeom>
        </p:spPr>
        <p:txBody>
          <a:bodyPr/>
          <a:lstStyle>
            <a:lvl1pPr>
              <a:defRPr>
                <a:latin typeface="Road radio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6778390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>
            <a:off x="0" y="3"/>
            <a:ext cx="9906000" cy="948807"/>
          </a:xfrm>
          <a:prstGeom prst="rect">
            <a:avLst/>
          </a:prstGeom>
          <a:solidFill>
            <a:srgbClr val="53575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1474728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>
            <a:off x="15" y="3"/>
            <a:ext cx="9906000" cy="948807"/>
          </a:xfrm>
          <a:prstGeom prst="rect">
            <a:avLst/>
          </a:prstGeom>
          <a:solidFill>
            <a:srgbClr val="53575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83580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53" y="6356530"/>
            <a:ext cx="222885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0658603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65" y="1122363"/>
            <a:ext cx="84201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1" y="3602038"/>
            <a:ext cx="74295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53" y="6356394"/>
            <a:ext cx="22288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03508A3-687E-42DC-B001-9C09FAB15517}" type="datetimeFigureOut">
              <a:rPr lang="ru-RU">
                <a:solidFill>
                  <a:prstClr val="black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.02.2020</a:t>
            </a:fld>
            <a:endParaRPr lang="ru-RU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82" y="6356394"/>
            <a:ext cx="3343275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96113" y="6356394"/>
            <a:ext cx="22288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0636AAC-79AD-4DF8-B487-79BCDEFFC817}" type="slidenum">
              <a:rPr lang="ru-RU">
                <a:solidFill>
                  <a:prstClr val="black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7112882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44" y="365126"/>
            <a:ext cx="8543925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1044" y="1825625"/>
            <a:ext cx="8543925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53" y="6356394"/>
            <a:ext cx="22288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03508A3-687E-42DC-B001-9C09FAB15517}" type="datetimeFigureOut">
              <a:rPr lang="ru-RU">
                <a:solidFill>
                  <a:prstClr val="black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.02.2020</a:t>
            </a:fld>
            <a:endParaRPr lang="ru-RU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82" y="6356394"/>
            <a:ext cx="3343275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96113" y="6356394"/>
            <a:ext cx="22288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0636AAC-79AD-4DF8-B487-79BCDEFFC817}" type="slidenum">
              <a:rPr lang="ru-RU">
                <a:solidFill>
                  <a:prstClr val="black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188488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53" y="6356394"/>
            <a:ext cx="22288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03508A3-687E-42DC-B001-9C09FAB15517}" type="datetimeFigureOut">
              <a:rPr lang="ru-RU">
                <a:solidFill>
                  <a:prstClr val="black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.02.2020</a:t>
            </a:fld>
            <a:endParaRPr lang="ru-RU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3485210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90828702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7304686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284010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0642124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85484047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61157063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63902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4866799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Вертикальный заголовок и текст">
    <p:bg>
      <p:bgPr>
        <a:solidFill>
          <a:srgbClr val="53575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1070" y="1640545"/>
            <a:ext cx="7994929" cy="5217459"/>
          </a:xfrm>
          <a:prstGeom prst="rect">
            <a:avLst/>
          </a:prstGeom>
        </p:spPr>
      </p:pic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>
          <a:xfrm>
            <a:off x="428512" y="548680"/>
            <a:ext cx="5694633" cy="648072"/>
          </a:xfrm>
          <a:prstGeom prst="rect">
            <a:avLst/>
          </a:prstGeom>
        </p:spPr>
        <p:txBody>
          <a:bodyPr/>
          <a:lstStyle>
            <a:lvl1pPr>
              <a:defRPr>
                <a:latin typeface="Road radio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0642630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>
            <a:off x="0" y="3"/>
            <a:ext cx="9906000" cy="948807"/>
          </a:xfrm>
          <a:prstGeom prst="rect">
            <a:avLst/>
          </a:prstGeom>
          <a:solidFill>
            <a:srgbClr val="53575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95430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76413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30453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65" y="1122363"/>
            <a:ext cx="84201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1" y="3602038"/>
            <a:ext cx="74295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53" y="6356394"/>
            <a:ext cx="22288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03508A3-687E-42DC-B001-9C09FAB15517}" type="datetimeFigureOut">
              <a:rPr lang="ru-RU">
                <a:solidFill>
                  <a:prstClr val="black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.02.2020</a:t>
            </a:fld>
            <a:endParaRPr lang="ru-RU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82" y="6356394"/>
            <a:ext cx="3343275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96113" y="6356394"/>
            <a:ext cx="22288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0636AAC-79AD-4DF8-B487-79BCDEFFC817}" type="slidenum">
              <a:rPr lang="ru-RU">
                <a:solidFill>
                  <a:prstClr val="black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08434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230315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604406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6145186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054041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>
            <a:off x="15" y="3"/>
            <a:ext cx="9906000" cy="948807"/>
          </a:xfrm>
          <a:prstGeom prst="rect">
            <a:avLst/>
          </a:prstGeom>
          <a:solidFill>
            <a:srgbClr val="53575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01350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53" y="6356530"/>
            <a:ext cx="222885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68662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13282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842798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711700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26749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44" y="365126"/>
            <a:ext cx="8543925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1044" y="1825625"/>
            <a:ext cx="8543925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53" y="6356394"/>
            <a:ext cx="22288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03508A3-687E-42DC-B001-9C09FAB15517}" type="datetimeFigureOut">
              <a:rPr lang="ru-RU">
                <a:solidFill>
                  <a:prstClr val="black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.02.2020</a:t>
            </a:fld>
            <a:endParaRPr lang="ru-RU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82" y="6356394"/>
            <a:ext cx="3343275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96113" y="6356394"/>
            <a:ext cx="22288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0636AAC-79AD-4DF8-B487-79BCDEFFC817}" type="slidenum">
              <a:rPr lang="ru-RU">
                <a:solidFill>
                  <a:prstClr val="black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67925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194979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586103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Вертикальный заголовок и текст"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" y="393600"/>
            <a:ext cx="9906000" cy="6464401"/>
          </a:xfrm>
          <a:prstGeom prst="rect">
            <a:avLst/>
          </a:prstGeom>
        </p:spPr>
      </p:pic>
      <p:sp>
        <p:nvSpPr>
          <p:cNvPr id="7" name="AutoShape 3"/>
          <p:cNvSpPr>
            <a:spLocks noChangeAspect="1" noChangeArrowheads="1" noTextEdit="1"/>
          </p:cNvSpPr>
          <p:nvPr userDrawn="1"/>
        </p:nvSpPr>
        <p:spPr bwMode="auto">
          <a:xfrm>
            <a:off x="531416" y="488952"/>
            <a:ext cx="2393950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" name="Группа 14"/>
          <p:cNvGrpSpPr/>
          <p:nvPr userDrawn="1"/>
        </p:nvGrpSpPr>
        <p:grpSpPr>
          <a:xfrm>
            <a:off x="531416" y="487363"/>
            <a:ext cx="2332038" cy="455612"/>
            <a:chOff x="490538" y="487363"/>
            <a:chExt cx="2152650" cy="455612"/>
          </a:xfrm>
        </p:grpSpPr>
        <p:sp>
          <p:nvSpPr>
            <p:cNvPr id="6" name="Freeform 5"/>
            <p:cNvSpPr>
              <a:spLocks noEditPoints="1"/>
            </p:cNvSpPr>
            <p:nvPr userDrawn="1"/>
          </p:nvSpPr>
          <p:spPr bwMode="auto">
            <a:xfrm>
              <a:off x="1144588" y="590550"/>
              <a:ext cx="1498600" cy="247650"/>
            </a:xfrm>
            <a:custGeom>
              <a:avLst/>
              <a:gdLst>
                <a:gd name="T0" fmla="*/ 2465 w 11327"/>
                <a:gd name="T1" fmla="*/ 803 h 1868"/>
                <a:gd name="T2" fmla="*/ 2667 w 11327"/>
                <a:gd name="T3" fmla="*/ 466 h 1868"/>
                <a:gd name="T4" fmla="*/ 3049 w 11327"/>
                <a:gd name="T5" fmla="*/ 345 h 1868"/>
                <a:gd name="T6" fmla="*/ 3430 w 11327"/>
                <a:gd name="T7" fmla="*/ 466 h 1868"/>
                <a:gd name="T8" fmla="*/ 3632 w 11327"/>
                <a:gd name="T9" fmla="*/ 803 h 1868"/>
                <a:gd name="T10" fmla="*/ 3574 w 11327"/>
                <a:gd name="T11" fmla="*/ 1233 h 1868"/>
                <a:gd name="T12" fmla="*/ 3284 w 11327"/>
                <a:gd name="T13" fmla="*/ 1483 h 1868"/>
                <a:gd name="T14" fmla="*/ 2870 w 11327"/>
                <a:gd name="T15" fmla="*/ 1500 h 1868"/>
                <a:gd name="T16" fmla="*/ 2553 w 11327"/>
                <a:gd name="T17" fmla="*/ 1281 h 1868"/>
                <a:gd name="T18" fmla="*/ 4046 w 11327"/>
                <a:gd name="T19" fmla="*/ 882 h 1868"/>
                <a:gd name="T20" fmla="*/ 3784 w 11327"/>
                <a:gd name="T21" fmla="*/ 289 h 1868"/>
                <a:gd name="T22" fmla="*/ 3199 w 11327"/>
                <a:gd name="T23" fmla="*/ 10 h 1868"/>
                <a:gd name="T24" fmla="*/ 2536 w 11327"/>
                <a:gd name="T25" fmla="*/ 125 h 1868"/>
                <a:gd name="T26" fmla="*/ 2113 w 11327"/>
                <a:gd name="T27" fmla="*/ 595 h 1868"/>
                <a:gd name="T28" fmla="*/ 2113 w 11327"/>
                <a:gd name="T29" fmla="*/ 1273 h 1868"/>
                <a:gd name="T30" fmla="*/ 2536 w 11327"/>
                <a:gd name="T31" fmla="*/ 1743 h 1868"/>
                <a:gd name="T32" fmla="*/ 3199 w 11327"/>
                <a:gd name="T33" fmla="*/ 1858 h 1868"/>
                <a:gd name="T34" fmla="*/ 3784 w 11327"/>
                <a:gd name="T35" fmla="*/ 1579 h 1868"/>
                <a:gd name="T36" fmla="*/ 4046 w 11327"/>
                <a:gd name="T37" fmla="*/ 985 h 1868"/>
                <a:gd name="T38" fmla="*/ 4444 w 11327"/>
                <a:gd name="T39" fmla="*/ 1443 h 1868"/>
                <a:gd name="T40" fmla="*/ 4540 w 11327"/>
                <a:gd name="T41" fmla="*/ 1808 h 1868"/>
                <a:gd name="T42" fmla="*/ 4811 w 11327"/>
                <a:gd name="T43" fmla="*/ 1650 h 1868"/>
                <a:gd name="T44" fmla="*/ 5796 w 11327"/>
                <a:gd name="T45" fmla="*/ 403 h 1868"/>
                <a:gd name="T46" fmla="*/ 7304 w 11327"/>
                <a:gd name="T47" fmla="*/ 1292 h 1868"/>
                <a:gd name="T48" fmla="*/ 7673 w 11327"/>
                <a:gd name="T49" fmla="*/ 1730 h 1868"/>
                <a:gd name="T50" fmla="*/ 8267 w 11327"/>
                <a:gd name="T51" fmla="*/ 1867 h 1868"/>
                <a:gd name="T52" fmla="*/ 8871 w 11327"/>
                <a:gd name="T53" fmla="*/ 1653 h 1868"/>
                <a:gd name="T54" fmla="*/ 9178 w 11327"/>
                <a:gd name="T55" fmla="*/ 1094 h 1868"/>
                <a:gd name="T56" fmla="*/ 9049 w 11327"/>
                <a:gd name="T57" fmla="*/ 414 h 1868"/>
                <a:gd name="T58" fmla="*/ 8552 w 11327"/>
                <a:gd name="T59" fmla="*/ 48 h 1868"/>
                <a:gd name="T60" fmla="*/ 7924 w 11327"/>
                <a:gd name="T61" fmla="*/ 36 h 1868"/>
                <a:gd name="T62" fmla="*/ 7459 w 11327"/>
                <a:gd name="T63" fmla="*/ 313 h 1868"/>
                <a:gd name="T64" fmla="*/ 6585 w 11327"/>
                <a:gd name="T65" fmla="*/ 42 h 1868"/>
                <a:gd name="T66" fmla="*/ 7740 w 11327"/>
                <a:gd name="T67" fmla="*/ 563 h 1868"/>
                <a:gd name="T68" fmla="*/ 8053 w 11327"/>
                <a:gd name="T69" fmla="*/ 361 h 1868"/>
                <a:gd name="T70" fmla="*/ 8492 w 11327"/>
                <a:gd name="T71" fmla="*/ 396 h 1868"/>
                <a:gd name="T72" fmla="*/ 8744 w 11327"/>
                <a:gd name="T73" fmla="*/ 660 h 1868"/>
                <a:gd name="T74" fmla="*/ 8775 w 11327"/>
                <a:gd name="T75" fmla="*/ 1095 h 1868"/>
                <a:gd name="T76" fmla="*/ 8585 w 11327"/>
                <a:gd name="T77" fmla="*/ 1418 h 1868"/>
                <a:gd name="T78" fmla="*/ 8182 w 11327"/>
                <a:gd name="T79" fmla="*/ 1522 h 1868"/>
                <a:gd name="T80" fmla="*/ 7807 w 11327"/>
                <a:gd name="T81" fmla="*/ 1385 h 1868"/>
                <a:gd name="T82" fmla="*/ 7649 w 11327"/>
                <a:gd name="T83" fmla="*/ 1033 h 1868"/>
                <a:gd name="T84" fmla="*/ 11121 w 11327"/>
                <a:gd name="T85" fmla="*/ 228 h 1868"/>
                <a:gd name="T86" fmla="*/ 10716 w 11327"/>
                <a:gd name="T87" fmla="*/ 30 h 1868"/>
                <a:gd name="T88" fmla="*/ 10126 w 11327"/>
                <a:gd name="T89" fmla="*/ 37 h 1868"/>
                <a:gd name="T90" fmla="*/ 9598 w 11327"/>
                <a:gd name="T91" fmla="*/ 385 h 1868"/>
                <a:gd name="T92" fmla="*/ 9435 w 11327"/>
                <a:gd name="T93" fmla="*/ 1039 h 1868"/>
                <a:gd name="T94" fmla="*/ 9714 w 11327"/>
                <a:gd name="T95" fmla="*/ 1617 h 1868"/>
                <a:gd name="T96" fmla="*/ 10320 w 11327"/>
                <a:gd name="T97" fmla="*/ 1863 h 1868"/>
                <a:gd name="T98" fmla="*/ 10845 w 11327"/>
                <a:gd name="T99" fmla="*/ 1799 h 1868"/>
                <a:gd name="T100" fmla="*/ 11211 w 11327"/>
                <a:gd name="T101" fmla="*/ 1551 h 1868"/>
                <a:gd name="T102" fmla="*/ 10919 w 11327"/>
                <a:gd name="T103" fmla="*/ 1325 h 1868"/>
                <a:gd name="T104" fmla="*/ 10676 w 11327"/>
                <a:gd name="T105" fmla="*/ 1473 h 1868"/>
                <a:gd name="T106" fmla="*/ 10324 w 11327"/>
                <a:gd name="T107" fmla="*/ 1504 h 1868"/>
                <a:gd name="T108" fmla="*/ 9975 w 11327"/>
                <a:gd name="T109" fmla="*/ 1332 h 1868"/>
                <a:gd name="T110" fmla="*/ 9831 w 11327"/>
                <a:gd name="T111" fmla="*/ 966 h 1868"/>
                <a:gd name="T112" fmla="*/ 9938 w 11327"/>
                <a:gd name="T113" fmla="*/ 575 h 1868"/>
                <a:gd name="T114" fmla="*/ 10261 w 11327"/>
                <a:gd name="T115" fmla="*/ 373 h 1868"/>
                <a:gd name="T116" fmla="*/ 10634 w 11327"/>
                <a:gd name="T117" fmla="*/ 382 h 1868"/>
                <a:gd name="T118" fmla="*/ 10890 w 11327"/>
                <a:gd name="T119" fmla="*/ 515 h 1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27" h="1868">
                  <a:moveTo>
                    <a:pt x="0" y="42"/>
                  </a:moveTo>
                  <a:lnTo>
                    <a:pt x="0" y="1822"/>
                  </a:lnTo>
                  <a:lnTo>
                    <a:pt x="399" y="1822"/>
                  </a:lnTo>
                  <a:lnTo>
                    <a:pt x="399" y="400"/>
                  </a:lnTo>
                  <a:lnTo>
                    <a:pt x="1352" y="400"/>
                  </a:lnTo>
                  <a:lnTo>
                    <a:pt x="1352" y="1822"/>
                  </a:lnTo>
                  <a:lnTo>
                    <a:pt x="1755" y="1822"/>
                  </a:lnTo>
                  <a:lnTo>
                    <a:pt x="1755" y="42"/>
                  </a:lnTo>
                  <a:lnTo>
                    <a:pt x="0" y="42"/>
                  </a:lnTo>
                  <a:close/>
                  <a:moveTo>
                    <a:pt x="2454" y="933"/>
                  </a:moveTo>
                  <a:lnTo>
                    <a:pt x="2454" y="900"/>
                  </a:lnTo>
                  <a:lnTo>
                    <a:pt x="2457" y="866"/>
                  </a:lnTo>
                  <a:lnTo>
                    <a:pt x="2460" y="835"/>
                  </a:lnTo>
                  <a:lnTo>
                    <a:pt x="2465" y="803"/>
                  </a:lnTo>
                  <a:lnTo>
                    <a:pt x="2472" y="773"/>
                  </a:lnTo>
                  <a:lnTo>
                    <a:pt x="2480" y="743"/>
                  </a:lnTo>
                  <a:lnTo>
                    <a:pt x="2489" y="715"/>
                  </a:lnTo>
                  <a:lnTo>
                    <a:pt x="2499" y="686"/>
                  </a:lnTo>
                  <a:lnTo>
                    <a:pt x="2511" y="660"/>
                  </a:lnTo>
                  <a:lnTo>
                    <a:pt x="2524" y="634"/>
                  </a:lnTo>
                  <a:lnTo>
                    <a:pt x="2538" y="610"/>
                  </a:lnTo>
                  <a:lnTo>
                    <a:pt x="2553" y="586"/>
                  </a:lnTo>
                  <a:lnTo>
                    <a:pt x="2570" y="563"/>
                  </a:lnTo>
                  <a:lnTo>
                    <a:pt x="2588" y="542"/>
                  </a:lnTo>
                  <a:lnTo>
                    <a:pt x="2606" y="521"/>
                  </a:lnTo>
                  <a:lnTo>
                    <a:pt x="2626" y="501"/>
                  </a:lnTo>
                  <a:lnTo>
                    <a:pt x="2646" y="483"/>
                  </a:lnTo>
                  <a:lnTo>
                    <a:pt x="2667" y="466"/>
                  </a:lnTo>
                  <a:lnTo>
                    <a:pt x="2691" y="449"/>
                  </a:lnTo>
                  <a:lnTo>
                    <a:pt x="2713" y="434"/>
                  </a:lnTo>
                  <a:lnTo>
                    <a:pt x="2737" y="420"/>
                  </a:lnTo>
                  <a:lnTo>
                    <a:pt x="2763" y="408"/>
                  </a:lnTo>
                  <a:lnTo>
                    <a:pt x="2788" y="396"/>
                  </a:lnTo>
                  <a:lnTo>
                    <a:pt x="2815" y="385"/>
                  </a:lnTo>
                  <a:lnTo>
                    <a:pt x="2842" y="375"/>
                  </a:lnTo>
                  <a:lnTo>
                    <a:pt x="2870" y="367"/>
                  </a:lnTo>
                  <a:lnTo>
                    <a:pt x="2898" y="361"/>
                  </a:lnTo>
                  <a:lnTo>
                    <a:pt x="2928" y="355"/>
                  </a:lnTo>
                  <a:lnTo>
                    <a:pt x="2957" y="351"/>
                  </a:lnTo>
                  <a:lnTo>
                    <a:pt x="2988" y="347"/>
                  </a:lnTo>
                  <a:lnTo>
                    <a:pt x="3018" y="345"/>
                  </a:lnTo>
                  <a:lnTo>
                    <a:pt x="3049" y="345"/>
                  </a:lnTo>
                  <a:lnTo>
                    <a:pt x="3080" y="345"/>
                  </a:lnTo>
                  <a:lnTo>
                    <a:pt x="3111" y="347"/>
                  </a:lnTo>
                  <a:lnTo>
                    <a:pt x="3141" y="351"/>
                  </a:lnTo>
                  <a:lnTo>
                    <a:pt x="3171" y="355"/>
                  </a:lnTo>
                  <a:lnTo>
                    <a:pt x="3200" y="361"/>
                  </a:lnTo>
                  <a:lnTo>
                    <a:pt x="3229" y="367"/>
                  </a:lnTo>
                  <a:lnTo>
                    <a:pt x="3256" y="375"/>
                  </a:lnTo>
                  <a:lnTo>
                    <a:pt x="3284" y="385"/>
                  </a:lnTo>
                  <a:lnTo>
                    <a:pt x="3310" y="396"/>
                  </a:lnTo>
                  <a:lnTo>
                    <a:pt x="3335" y="408"/>
                  </a:lnTo>
                  <a:lnTo>
                    <a:pt x="3361" y="420"/>
                  </a:lnTo>
                  <a:lnTo>
                    <a:pt x="3384" y="434"/>
                  </a:lnTo>
                  <a:lnTo>
                    <a:pt x="3408" y="449"/>
                  </a:lnTo>
                  <a:lnTo>
                    <a:pt x="3430" y="466"/>
                  </a:lnTo>
                  <a:lnTo>
                    <a:pt x="3452" y="483"/>
                  </a:lnTo>
                  <a:lnTo>
                    <a:pt x="3473" y="501"/>
                  </a:lnTo>
                  <a:lnTo>
                    <a:pt x="3492" y="521"/>
                  </a:lnTo>
                  <a:lnTo>
                    <a:pt x="3510" y="542"/>
                  </a:lnTo>
                  <a:lnTo>
                    <a:pt x="3528" y="563"/>
                  </a:lnTo>
                  <a:lnTo>
                    <a:pt x="3545" y="586"/>
                  </a:lnTo>
                  <a:lnTo>
                    <a:pt x="3560" y="610"/>
                  </a:lnTo>
                  <a:lnTo>
                    <a:pt x="3574" y="634"/>
                  </a:lnTo>
                  <a:lnTo>
                    <a:pt x="3587" y="660"/>
                  </a:lnTo>
                  <a:lnTo>
                    <a:pt x="3599" y="686"/>
                  </a:lnTo>
                  <a:lnTo>
                    <a:pt x="3609" y="715"/>
                  </a:lnTo>
                  <a:lnTo>
                    <a:pt x="3618" y="743"/>
                  </a:lnTo>
                  <a:lnTo>
                    <a:pt x="3626" y="773"/>
                  </a:lnTo>
                  <a:lnTo>
                    <a:pt x="3632" y="803"/>
                  </a:lnTo>
                  <a:lnTo>
                    <a:pt x="3637" y="835"/>
                  </a:lnTo>
                  <a:lnTo>
                    <a:pt x="3642" y="866"/>
                  </a:lnTo>
                  <a:lnTo>
                    <a:pt x="3644" y="900"/>
                  </a:lnTo>
                  <a:lnTo>
                    <a:pt x="3645" y="933"/>
                  </a:lnTo>
                  <a:lnTo>
                    <a:pt x="3644" y="968"/>
                  </a:lnTo>
                  <a:lnTo>
                    <a:pt x="3642" y="1001"/>
                  </a:lnTo>
                  <a:lnTo>
                    <a:pt x="3637" y="1033"/>
                  </a:lnTo>
                  <a:lnTo>
                    <a:pt x="3632" y="1065"/>
                  </a:lnTo>
                  <a:lnTo>
                    <a:pt x="3626" y="1095"/>
                  </a:lnTo>
                  <a:lnTo>
                    <a:pt x="3618" y="1125"/>
                  </a:lnTo>
                  <a:lnTo>
                    <a:pt x="3609" y="1153"/>
                  </a:lnTo>
                  <a:lnTo>
                    <a:pt x="3599" y="1181"/>
                  </a:lnTo>
                  <a:lnTo>
                    <a:pt x="3587" y="1207"/>
                  </a:lnTo>
                  <a:lnTo>
                    <a:pt x="3574" y="1233"/>
                  </a:lnTo>
                  <a:lnTo>
                    <a:pt x="3560" y="1258"/>
                  </a:lnTo>
                  <a:lnTo>
                    <a:pt x="3545" y="1281"/>
                  </a:lnTo>
                  <a:lnTo>
                    <a:pt x="3528" y="1305"/>
                  </a:lnTo>
                  <a:lnTo>
                    <a:pt x="3510" y="1326"/>
                  </a:lnTo>
                  <a:lnTo>
                    <a:pt x="3492" y="1346"/>
                  </a:lnTo>
                  <a:lnTo>
                    <a:pt x="3473" y="1366"/>
                  </a:lnTo>
                  <a:lnTo>
                    <a:pt x="3452" y="1385"/>
                  </a:lnTo>
                  <a:lnTo>
                    <a:pt x="3430" y="1402"/>
                  </a:lnTo>
                  <a:lnTo>
                    <a:pt x="3408" y="1418"/>
                  </a:lnTo>
                  <a:lnTo>
                    <a:pt x="3384" y="1434"/>
                  </a:lnTo>
                  <a:lnTo>
                    <a:pt x="3361" y="1447"/>
                  </a:lnTo>
                  <a:lnTo>
                    <a:pt x="3335" y="1460"/>
                  </a:lnTo>
                  <a:lnTo>
                    <a:pt x="3310" y="1472"/>
                  </a:lnTo>
                  <a:lnTo>
                    <a:pt x="3284" y="1483"/>
                  </a:lnTo>
                  <a:lnTo>
                    <a:pt x="3256" y="1492"/>
                  </a:lnTo>
                  <a:lnTo>
                    <a:pt x="3229" y="1500"/>
                  </a:lnTo>
                  <a:lnTo>
                    <a:pt x="3200" y="1507"/>
                  </a:lnTo>
                  <a:lnTo>
                    <a:pt x="3171" y="1513"/>
                  </a:lnTo>
                  <a:lnTo>
                    <a:pt x="3141" y="1517"/>
                  </a:lnTo>
                  <a:lnTo>
                    <a:pt x="3111" y="1520"/>
                  </a:lnTo>
                  <a:lnTo>
                    <a:pt x="3080" y="1522"/>
                  </a:lnTo>
                  <a:lnTo>
                    <a:pt x="3049" y="1523"/>
                  </a:lnTo>
                  <a:lnTo>
                    <a:pt x="3018" y="1522"/>
                  </a:lnTo>
                  <a:lnTo>
                    <a:pt x="2988" y="1520"/>
                  </a:lnTo>
                  <a:lnTo>
                    <a:pt x="2957" y="1517"/>
                  </a:lnTo>
                  <a:lnTo>
                    <a:pt x="2928" y="1513"/>
                  </a:lnTo>
                  <a:lnTo>
                    <a:pt x="2898" y="1507"/>
                  </a:lnTo>
                  <a:lnTo>
                    <a:pt x="2870" y="1500"/>
                  </a:lnTo>
                  <a:lnTo>
                    <a:pt x="2842" y="1492"/>
                  </a:lnTo>
                  <a:lnTo>
                    <a:pt x="2815" y="1483"/>
                  </a:lnTo>
                  <a:lnTo>
                    <a:pt x="2788" y="1472"/>
                  </a:lnTo>
                  <a:lnTo>
                    <a:pt x="2763" y="1460"/>
                  </a:lnTo>
                  <a:lnTo>
                    <a:pt x="2737" y="1447"/>
                  </a:lnTo>
                  <a:lnTo>
                    <a:pt x="2713" y="1434"/>
                  </a:lnTo>
                  <a:lnTo>
                    <a:pt x="2691" y="1418"/>
                  </a:lnTo>
                  <a:lnTo>
                    <a:pt x="2667" y="1402"/>
                  </a:lnTo>
                  <a:lnTo>
                    <a:pt x="2646" y="1385"/>
                  </a:lnTo>
                  <a:lnTo>
                    <a:pt x="2626" y="1366"/>
                  </a:lnTo>
                  <a:lnTo>
                    <a:pt x="2606" y="1346"/>
                  </a:lnTo>
                  <a:lnTo>
                    <a:pt x="2588" y="1326"/>
                  </a:lnTo>
                  <a:lnTo>
                    <a:pt x="2570" y="1305"/>
                  </a:lnTo>
                  <a:lnTo>
                    <a:pt x="2553" y="1281"/>
                  </a:lnTo>
                  <a:lnTo>
                    <a:pt x="2538" y="1258"/>
                  </a:lnTo>
                  <a:lnTo>
                    <a:pt x="2524" y="1233"/>
                  </a:lnTo>
                  <a:lnTo>
                    <a:pt x="2511" y="1207"/>
                  </a:lnTo>
                  <a:lnTo>
                    <a:pt x="2499" y="1181"/>
                  </a:lnTo>
                  <a:lnTo>
                    <a:pt x="2489" y="1153"/>
                  </a:lnTo>
                  <a:lnTo>
                    <a:pt x="2480" y="1125"/>
                  </a:lnTo>
                  <a:lnTo>
                    <a:pt x="2472" y="1095"/>
                  </a:lnTo>
                  <a:lnTo>
                    <a:pt x="2465" y="1065"/>
                  </a:lnTo>
                  <a:lnTo>
                    <a:pt x="2460" y="1033"/>
                  </a:lnTo>
                  <a:lnTo>
                    <a:pt x="2457" y="1001"/>
                  </a:lnTo>
                  <a:lnTo>
                    <a:pt x="2454" y="968"/>
                  </a:lnTo>
                  <a:lnTo>
                    <a:pt x="2454" y="933"/>
                  </a:lnTo>
                  <a:close/>
                  <a:moveTo>
                    <a:pt x="4047" y="933"/>
                  </a:moveTo>
                  <a:lnTo>
                    <a:pt x="4046" y="882"/>
                  </a:lnTo>
                  <a:lnTo>
                    <a:pt x="4042" y="831"/>
                  </a:lnTo>
                  <a:lnTo>
                    <a:pt x="4035" y="781"/>
                  </a:lnTo>
                  <a:lnTo>
                    <a:pt x="4026" y="733"/>
                  </a:lnTo>
                  <a:lnTo>
                    <a:pt x="4015" y="685"/>
                  </a:lnTo>
                  <a:lnTo>
                    <a:pt x="4002" y="640"/>
                  </a:lnTo>
                  <a:lnTo>
                    <a:pt x="3985" y="595"/>
                  </a:lnTo>
                  <a:lnTo>
                    <a:pt x="3967" y="551"/>
                  </a:lnTo>
                  <a:lnTo>
                    <a:pt x="3947" y="509"/>
                  </a:lnTo>
                  <a:lnTo>
                    <a:pt x="3924" y="469"/>
                  </a:lnTo>
                  <a:lnTo>
                    <a:pt x="3900" y="430"/>
                  </a:lnTo>
                  <a:lnTo>
                    <a:pt x="3874" y="392"/>
                  </a:lnTo>
                  <a:lnTo>
                    <a:pt x="3846" y="356"/>
                  </a:lnTo>
                  <a:lnTo>
                    <a:pt x="3815" y="321"/>
                  </a:lnTo>
                  <a:lnTo>
                    <a:pt x="3784" y="289"/>
                  </a:lnTo>
                  <a:lnTo>
                    <a:pt x="3751" y="257"/>
                  </a:lnTo>
                  <a:lnTo>
                    <a:pt x="3716" y="227"/>
                  </a:lnTo>
                  <a:lnTo>
                    <a:pt x="3679" y="199"/>
                  </a:lnTo>
                  <a:lnTo>
                    <a:pt x="3642" y="173"/>
                  </a:lnTo>
                  <a:lnTo>
                    <a:pt x="3603" y="147"/>
                  </a:lnTo>
                  <a:lnTo>
                    <a:pt x="3562" y="125"/>
                  </a:lnTo>
                  <a:lnTo>
                    <a:pt x="3521" y="104"/>
                  </a:lnTo>
                  <a:lnTo>
                    <a:pt x="3477" y="84"/>
                  </a:lnTo>
                  <a:lnTo>
                    <a:pt x="3433" y="67"/>
                  </a:lnTo>
                  <a:lnTo>
                    <a:pt x="3388" y="52"/>
                  </a:lnTo>
                  <a:lnTo>
                    <a:pt x="3342" y="39"/>
                  </a:lnTo>
                  <a:lnTo>
                    <a:pt x="3295" y="26"/>
                  </a:lnTo>
                  <a:lnTo>
                    <a:pt x="3247" y="17"/>
                  </a:lnTo>
                  <a:lnTo>
                    <a:pt x="3199" y="10"/>
                  </a:lnTo>
                  <a:lnTo>
                    <a:pt x="3149" y="4"/>
                  </a:lnTo>
                  <a:lnTo>
                    <a:pt x="3099" y="1"/>
                  </a:lnTo>
                  <a:lnTo>
                    <a:pt x="3049" y="0"/>
                  </a:lnTo>
                  <a:lnTo>
                    <a:pt x="2999" y="1"/>
                  </a:lnTo>
                  <a:lnTo>
                    <a:pt x="2949" y="4"/>
                  </a:lnTo>
                  <a:lnTo>
                    <a:pt x="2899" y="10"/>
                  </a:lnTo>
                  <a:lnTo>
                    <a:pt x="2851" y="17"/>
                  </a:lnTo>
                  <a:lnTo>
                    <a:pt x="2804" y="26"/>
                  </a:lnTo>
                  <a:lnTo>
                    <a:pt x="2756" y="39"/>
                  </a:lnTo>
                  <a:lnTo>
                    <a:pt x="2710" y="52"/>
                  </a:lnTo>
                  <a:lnTo>
                    <a:pt x="2665" y="67"/>
                  </a:lnTo>
                  <a:lnTo>
                    <a:pt x="2620" y="84"/>
                  </a:lnTo>
                  <a:lnTo>
                    <a:pt x="2578" y="104"/>
                  </a:lnTo>
                  <a:lnTo>
                    <a:pt x="2536" y="125"/>
                  </a:lnTo>
                  <a:lnTo>
                    <a:pt x="2495" y="147"/>
                  </a:lnTo>
                  <a:lnTo>
                    <a:pt x="2457" y="173"/>
                  </a:lnTo>
                  <a:lnTo>
                    <a:pt x="2418" y="199"/>
                  </a:lnTo>
                  <a:lnTo>
                    <a:pt x="2382" y="227"/>
                  </a:lnTo>
                  <a:lnTo>
                    <a:pt x="2347" y="257"/>
                  </a:lnTo>
                  <a:lnTo>
                    <a:pt x="2313" y="289"/>
                  </a:lnTo>
                  <a:lnTo>
                    <a:pt x="2282" y="321"/>
                  </a:lnTo>
                  <a:lnTo>
                    <a:pt x="2252" y="356"/>
                  </a:lnTo>
                  <a:lnTo>
                    <a:pt x="2224" y="392"/>
                  </a:lnTo>
                  <a:lnTo>
                    <a:pt x="2197" y="430"/>
                  </a:lnTo>
                  <a:lnTo>
                    <a:pt x="2173" y="469"/>
                  </a:lnTo>
                  <a:lnTo>
                    <a:pt x="2152" y="509"/>
                  </a:lnTo>
                  <a:lnTo>
                    <a:pt x="2131" y="551"/>
                  </a:lnTo>
                  <a:lnTo>
                    <a:pt x="2113" y="595"/>
                  </a:lnTo>
                  <a:lnTo>
                    <a:pt x="2097" y="640"/>
                  </a:lnTo>
                  <a:lnTo>
                    <a:pt x="2083" y="685"/>
                  </a:lnTo>
                  <a:lnTo>
                    <a:pt x="2071" y="733"/>
                  </a:lnTo>
                  <a:lnTo>
                    <a:pt x="2063" y="781"/>
                  </a:lnTo>
                  <a:lnTo>
                    <a:pt x="2056" y="831"/>
                  </a:lnTo>
                  <a:lnTo>
                    <a:pt x="2052" y="882"/>
                  </a:lnTo>
                  <a:lnTo>
                    <a:pt x="2051" y="933"/>
                  </a:lnTo>
                  <a:lnTo>
                    <a:pt x="2052" y="985"/>
                  </a:lnTo>
                  <a:lnTo>
                    <a:pt x="2056" y="1036"/>
                  </a:lnTo>
                  <a:lnTo>
                    <a:pt x="2063" y="1086"/>
                  </a:lnTo>
                  <a:lnTo>
                    <a:pt x="2071" y="1135"/>
                  </a:lnTo>
                  <a:lnTo>
                    <a:pt x="2083" y="1182"/>
                  </a:lnTo>
                  <a:lnTo>
                    <a:pt x="2097" y="1228"/>
                  </a:lnTo>
                  <a:lnTo>
                    <a:pt x="2113" y="1273"/>
                  </a:lnTo>
                  <a:lnTo>
                    <a:pt x="2131" y="1316"/>
                  </a:lnTo>
                  <a:lnTo>
                    <a:pt x="2152" y="1357"/>
                  </a:lnTo>
                  <a:lnTo>
                    <a:pt x="2173" y="1398"/>
                  </a:lnTo>
                  <a:lnTo>
                    <a:pt x="2197" y="1438"/>
                  </a:lnTo>
                  <a:lnTo>
                    <a:pt x="2224" y="1475"/>
                  </a:lnTo>
                  <a:lnTo>
                    <a:pt x="2252" y="1512"/>
                  </a:lnTo>
                  <a:lnTo>
                    <a:pt x="2282" y="1547"/>
                  </a:lnTo>
                  <a:lnTo>
                    <a:pt x="2313" y="1579"/>
                  </a:lnTo>
                  <a:lnTo>
                    <a:pt x="2347" y="1611"/>
                  </a:lnTo>
                  <a:lnTo>
                    <a:pt x="2382" y="1640"/>
                  </a:lnTo>
                  <a:lnTo>
                    <a:pt x="2418" y="1669"/>
                  </a:lnTo>
                  <a:lnTo>
                    <a:pt x="2457" y="1695"/>
                  </a:lnTo>
                  <a:lnTo>
                    <a:pt x="2495" y="1719"/>
                  </a:lnTo>
                  <a:lnTo>
                    <a:pt x="2536" y="1743"/>
                  </a:lnTo>
                  <a:lnTo>
                    <a:pt x="2578" y="1764"/>
                  </a:lnTo>
                  <a:lnTo>
                    <a:pt x="2620" y="1782"/>
                  </a:lnTo>
                  <a:lnTo>
                    <a:pt x="2665" y="1801"/>
                  </a:lnTo>
                  <a:lnTo>
                    <a:pt x="2710" y="1816"/>
                  </a:lnTo>
                  <a:lnTo>
                    <a:pt x="2756" y="1829"/>
                  </a:lnTo>
                  <a:lnTo>
                    <a:pt x="2804" y="1840"/>
                  </a:lnTo>
                  <a:lnTo>
                    <a:pt x="2851" y="1851"/>
                  </a:lnTo>
                  <a:lnTo>
                    <a:pt x="2899" y="1858"/>
                  </a:lnTo>
                  <a:lnTo>
                    <a:pt x="2949" y="1863"/>
                  </a:lnTo>
                  <a:lnTo>
                    <a:pt x="2999" y="1866"/>
                  </a:lnTo>
                  <a:lnTo>
                    <a:pt x="3049" y="1868"/>
                  </a:lnTo>
                  <a:lnTo>
                    <a:pt x="3099" y="1866"/>
                  </a:lnTo>
                  <a:lnTo>
                    <a:pt x="3149" y="1863"/>
                  </a:lnTo>
                  <a:lnTo>
                    <a:pt x="3199" y="1858"/>
                  </a:lnTo>
                  <a:lnTo>
                    <a:pt x="3247" y="1851"/>
                  </a:lnTo>
                  <a:lnTo>
                    <a:pt x="3295" y="1840"/>
                  </a:lnTo>
                  <a:lnTo>
                    <a:pt x="3342" y="1829"/>
                  </a:lnTo>
                  <a:lnTo>
                    <a:pt x="3388" y="1816"/>
                  </a:lnTo>
                  <a:lnTo>
                    <a:pt x="3433" y="1801"/>
                  </a:lnTo>
                  <a:lnTo>
                    <a:pt x="3477" y="1782"/>
                  </a:lnTo>
                  <a:lnTo>
                    <a:pt x="3521" y="1764"/>
                  </a:lnTo>
                  <a:lnTo>
                    <a:pt x="3562" y="1743"/>
                  </a:lnTo>
                  <a:lnTo>
                    <a:pt x="3603" y="1719"/>
                  </a:lnTo>
                  <a:lnTo>
                    <a:pt x="3642" y="1695"/>
                  </a:lnTo>
                  <a:lnTo>
                    <a:pt x="3679" y="1669"/>
                  </a:lnTo>
                  <a:lnTo>
                    <a:pt x="3716" y="1640"/>
                  </a:lnTo>
                  <a:lnTo>
                    <a:pt x="3751" y="1611"/>
                  </a:lnTo>
                  <a:lnTo>
                    <a:pt x="3784" y="1579"/>
                  </a:lnTo>
                  <a:lnTo>
                    <a:pt x="3815" y="1547"/>
                  </a:lnTo>
                  <a:lnTo>
                    <a:pt x="3846" y="1512"/>
                  </a:lnTo>
                  <a:lnTo>
                    <a:pt x="3874" y="1475"/>
                  </a:lnTo>
                  <a:lnTo>
                    <a:pt x="3900" y="1438"/>
                  </a:lnTo>
                  <a:lnTo>
                    <a:pt x="3924" y="1398"/>
                  </a:lnTo>
                  <a:lnTo>
                    <a:pt x="3947" y="1357"/>
                  </a:lnTo>
                  <a:lnTo>
                    <a:pt x="3967" y="1316"/>
                  </a:lnTo>
                  <a:lnTo>
                    <a:pt x="3985" y="1273"/>
                  </a:lnTo>
                  <a:lnTo>
                    <a:pt x="4002" y="1228"/>
                  </a:lnTo>
                  <a:lnTo>
                    <a:pt x="4015" y="1182"/>
                  </a:lnTo>
                  <a:lnTo>
                    <a:pt x="4026" y="1135"/>
                  </a:lnTo>
                  <a:lnTo>
                    <a:pt x="4035" y="1086"/>
                  </a:lnTo>
                  <a:lnTo>
                    <a:pt x="4042" y="1036"/>
                  </a:lnTo>
                  <a:lnTo>
                    <a:pt x="4046" y="985"/>
                  </a:lnTo>
                  <a:lnTo>
                    <a:pt x="4047" y="933"/>
                  </a:lnTo>
                  <a:close/>
                  <a:moveTo>
                    <a:pt x="4779" y="42"/>
                  </a:moveTo>
                  <a:lnTo>
                    <a:pt x="4540" y="1317"/>
                  </a:lnTo>
                  <a:lnTo>
                    <a:pt x="4535" y="1334"/>
                  </a:lnTo>
                  <a:lnTo>
                    <a:pt x="4530" y="1350"/>
                  </a:lnTo>
                  <a:lnTo>
                    <a:pt x="4524" y="1366"/>
                  </a:lnTo>
                  <a:lnTo>
                    <a:pt x="4517" y="1379"/>
                  </a:lnTo>
                  <a:lnTo>
                    <a:pt x="4510" y="1392"/>
                  </a:lnTo>
                  <a:lnTo>
                    <a:pt x="4501" y="1403"/>
                  </a:lnTo>
                  <a:lnTo>
                    <a:pt x="4491" y="1413"/>
                  </a:lnTo>
                  <a:lnTo>
                    <a:pt x="4481" y="1423"/>
                  </a:lnTo>
                  <a:lnTo>
                    <a:pt x="4469" y="1431"/>
                  </a:lnTo>
                  <a:lnTo>
                    <a:pt x="4457" y="1437"/>
                  </a:lnTo>
                  <a:lnTo>
                    <a:pt x="4444" y="1443"/>
                  </a:lnTo>
                  <a:lnTo>
                    <a:pt x="4430" y="1447"/>
                  </a:lnTo>
                  <a:lnTo>
                    <a:pt x="4415" y="1451"/>
                  </a:lnTo>
                  <a:lnTo>
                    <a:pt x="4399" y="1453"/>
                  </a:lnTo>
                  <a:lnTo>
                    <a:pt x="4383" y="1455"/>
                  </a:lnTo>
                  <a:lnTo>
                    <a:pt x="4366" y="1455"/>
                  </a:lnTo>
                  <a:lnTo>
                    <a:pt x="4172" y="1455"/>
                  </a:lnTo>
                  <a:lnTo>
                    <a:pt x="4172" y="1822"/>
                  </a:lnTo>
                  <a:lnTo>
                    <a:pt x="4385" y="1822"/>
                  </a:lnTo>
                  <a:lnTo>
                    <a:pt x="4412" y="1822"/>
                  </a:lnTo>
                  <a:lnTo>
                    <a:pt x="4439" y="1821"/>
                  </a:lnTo>
                  <a:lnTo>
                    <a:pt x="4465" y="1819"/>
                  </a:lnTo>
                  <a:lnTo>
                    <a:pt x="4491" y="1816"/>
                  </a:lnTo>
                  <a:lnTo>
                    <a:pt x="4515" y="1812"/>
                  </a:lnTo>
                  <a:lnTo>
                    <a:pt x="4540" y="1808"/>
                  </a:lnTo>
                  <a:lnTo>
                    <a:pt x="4563" y="1802"/>
                  </a:lnTo>
                  <a:lnTo>
                    <a:pt x="4586" y="1796"/>
                  </a:lnTo>
                  <a:lnTo>
                    <a:pt x="4609" y="1789"/>
                  </a:lnTo>
                  <a:lnTo>
                    <a:pt x="4630" y="1780"/>
                  </a:lnTo>
                  <a:lnTo>
                    <a:pt x="4651" y="1771"/>
                  </a:lnTo>
                  <a:lnTo>
                    <a:pt x="4672" y="1762"/>
                  </a:lnTo>
                  <a:lnTo>
                    <a:pt x="4692" y="1751"/>
                  </a:lnTo>
                  <a:lnTo>
                    <a:pt x="4710" y="1740"/>
                  </a:lnTo>
                  <a:lnTo>
                    <a:pt x="4730" y="1728"/>
                  </a:lnTo>
                  <a:lnTo>
                    <a:pt x="4747" y="1713"/>
                  </a:lnTo>
                  <a:lnTo>
                    <a:pt x="4764" y="1699"/>
                  </a:lnTo>
                  <a:lnTo>
                    <a:pt x="4781" y="1684"/>
                  </a:lnTo>
                  <a:lnTo>
                    <a:pt x="4796" y="1668"/>
                  </a:lnTo>
                  <a:lnTo>
                    <a:pt x="4811" y="1650"/>
                  </a:lnTo>
                  <a:lnTo>
                    <a:pt x="4825" y="1633"/>
                  </a:lnTo>
                  <a:lnTo>
                    <a:pt x="4839" y="1614"/>
                  </a:lnTo>
                  <a:lnTo>
                    <a:pt x="4852" y="1593"/>
                  </a:lnTo>
                  <a:lnTo>
                    <a:pt x="4864" y="1572"/>
                  </a:lnTo>
                  <a:lnTo>
                    <a:pt x="4875" y="1551"/>
                  </a:lnTo>
                  <a:lnTo>
                    <a:pt x="4885" y="1527"/>
                  </a:lnTo>
                  <a:lnTo>
                    <a:pt x="4895" y="1504"/>
                  </a:lnTo>
                  <a:lnTo>
                    <a:pt x="4905" y="1478"/>
                  </a:lnTo>
                  <a:lnTo>
                    <a:pt x="4913" y="1452"/>
                  </a:lnTo>
                  <a:lnTo>
                    <a:pt x="4920" y="1426"/>
                  </a:lnTo>
                  <a:lnTo>
                    <a:pt x="4927" y="1397"/>
                  </a:lnTo>
                  <a:lnTo>
                    <a:pt x="4932" y="1369"/>
                  </a:lnTo>
                  <a:lnTo>
                    <a:pt x="5113" y="403"/>
                  </a:lnTo>
                  <a:lnTo>
                    <a:pt x="5796" y="403"/>
                  </a:lnTo>
                  <a:lnTo>
                    <a:pt x="5796" y="1822"/>
                  </a:lnTo>
                  <a:lnTo>
                    <a:pt x="6198" y="1822"/>
                  </a:lnTo>
                  <a:lnTo>
                    <a:pt x="6198" y="42"/>
                  </a:lnTo>
                  <a:lnTo>
                    <a:pt x="4779" y="42"/>
                  </a:lnTo>
                  <a:close/>
                  <a:moveTo>
                    <a:pt x="6585" y="42"/>
                  </a:moveTo>
                  <a:lnTo>
                    <a:pt x="6585" y="1822"/>
                  </a:lnTo>
                  <a:lnTo>
                    <a:pt x="6980" y="1822"/>
                  </a:lnTo>
                  <a:lnTo>
                    <a:pt x="6980" y="1069"/>
                  </a:lnTo>
                  <a:lnTo>
                    <a:pt x="7251" y="1069"/>
                  </a:lnTo>
                  <a:lnTo>
                    <a:pt x="7258" y="1116"/>
                  </a:lnTo>
                  <a:lnTo>
                    <a:pt x="7266" y="1162"/>
                  </a:lnTo>
                  <a:lnTo>
                    <a:pt x="7277" y="1207"/>
                  </a:lnTo>
                  <a:lnTo>
                    <a:pt x="7290" y="1251"/>
                  </a:lnTo>
                  <a:lnTo>
                    <a:pt x="7304" y="1292"/>
                  </a:lnTo>
                  <a:lnTo>
                    <a:pt x="7320" y="1333"/>
                  </a:lnTo>
                  <a:lnTo>
                    <a:pt x="7338" y="1372"/>
                  </a:lnTo>
                  <a:lnTo>
                    <a:pt x="7358" y="1409"/>
                  </a:lnTo>
                  <a:lnTo>
                    <a:pt x="7379" y="1446"/>
                  </a:lnTo>
                  <a:lnTo>
                    <a:pt x="7402" y="1482"/>
                  </a:lnTo>
                  <a:lnTo>
                    <a:pt x="7427" y="1514"/>
                  </a:lnTo>
                  <a:lnTo>
                    <a:pt x="7452" y="1547"/>
                  </a:lnTo>
                  <a:lnTo>
                    <a:pt x="7480" y="1577"/>
                  </a:lnTo>
                  <a:lnTo>
                    <a:pt x="7509" y="1607"/>
                  </a:lnTo>
                  <a:lnTo>
                    <a:pt x="7540" y="1634"/>
                  </a:lnTo>
                  <a:lnTo>
                    <a:pt x="7571" y="1660"/>
                  </a:lnTo>
                  <a:lnTo>
                    <a:pt x="7604" y="1685"/>
                  </a:lnTo>
                  <a:lnTo>
                    <a:pt x="7637" y="1708"/>
                  </a:lnTo>
                  <a:lnTo>
                    <a:pt x="7673" y="1730"/>
                  </a:lnTo>
                  <a:lnTo>
                    <a:pt x="7710" y="1750"/>
                  </a:lnTo>
                  <a:lnTo>
                    <a:pt x="7747" y="1768"/>
                  </a:lnTo>
                  <a:lnTo>
                    <a:pt x="7786" y="1786"/>
                  </a:lnTo>
                  <a:lnTo>
                    <a:pt x="7824" y="1801"/>
                  </a:lnTo>
                  <a:lnTo>
                    <a:pt x="7865" y="1815"/>
                  </a:lnTo>
                  <a:lnTo>
                    <a:pt x="7907" y="1827"/>
                  </a:lnTo>
                  <a:lnTo>
                    <a:pt x="7949" y="1837"/>
                  </a:lnTo>
                  <a:lnTo>
                    <a:pt x="7991" y="1847"/>
                  </a:lnTo>
                  <a:lnTo>
                    <a:pt x="8035" y="1854"/>
                  </a:lnTo>
                  <a:lnTo>
                    <a:pt x="8080" y="1860"/>
                  </a:lnTo>
                  <a:lnTo>
                    <a:pt x="8124" y="1864"/>
                  </a:lnTo>
                  <a:lnTo>
                    <a:pt x="8170" y="1867"/>
                  </a:lnTo>
                  <a:lnTo>
                    <a:pt x="8217" y="1868"/>
                  </a:lnTo>
                  <a:lnTo>
                    <a:pt x="8267" y="1867"/>
                  </a:lnTo>
                  <a:lnTo>
                    <a:pt x="8317" y="1864"/>
                  </a:lnTo>
                  <a:lnTo>
                    <a:pt x="8364" y="1859"/>
                  </a:lnTo>
                  <a:lnTo>
                    <a:pt x="8413" y="1852"/>
                  </a:lnTo>
                  <a:lnTo>
                    <a:pt x="8460" y="1842"/>
                  </a:lnTo>
                  <a:lnTo>
                    <a:pt x="8506" y="1832"/>
                  </a:lnTo>
                  <a:lnTo>
                    <a:pt x="8552" y="1820"/>
                  </a:lnTo>
                  <a:lnTo>
                    <a:pt x="8595" y="1805"/>
                  </a:lnTo>
                  <a:lnTo>
                    <a:pt x="8639" y="1789"/>
                  </a:lnTo>
                  <a:lnTo>
                    <a:pt x="8681" y="1771"/>
                  </a:lnTo>
                  <a:lnTo>
                    <a:pt x="8721" y="1751"/>
                  </a:lnTo>
                  <a:lnTo>
                    <a:pt x="8761" y="1729"/>
                  </a:lnTo>
                  <a:lnTo>
                    <a:pt x="8799" y="1705"/>
                  </a:lnTo>
                  <a:lnTo>
                    <a:pt x="8835" y="1680"/>
                  </a:lnTo>
                  <a:lnTo>
                    <a:pt x="8871" y="1653"/>
                  </a:lnTo>
                  <a:lnTo>
                    <a:pt x="8905" y="1624"/>
                  </a:lnTo>
                  <a:lnTo>
                    <a:pt x="8937" y="1593"/>
                  </a:lnTo>
                  <a:lnTo>
                    <a:pt x="8968" y="1561"/>
                  </a:lnTo>
                  <a:lnTo>
                    <a:pt x="8996" y="1526"/>
                  </a:lnTo>
                  <a:lnTo>
                    <a:pt x="9023" y="1491"/>
                  </a:lnTo>
                  <a:lnTo>
                    <a:pt x="9049" y="1453"/>
                  </a:lnTo>
                  <a:lnTo>
                    <a:pt x="9072" y="1414"/>
                  </a:lnTo>
                  <a:lnTo>
                    <a:pt x="9094" y="1374"/>
                  </a:lnTo>
                  <a:lnTo>
                    <a:pt x="9113" y="1331"/>
                  </a:lnTo>
                  <a:lnTo>
                    <a:pt x="9130" y="1287"/>
                  </a:lnTo>
                  <a:lnTo>
                    <a:pt x="9146" y="1242"/>
                  </a:lnTo>
                  <a:lnTo>
                    <a:pt x="9159" y="1194"/>
                  </a:lnTo>
                  <a:lnTo>
                    <a:pt x="9169" y="1145"/>
                  </a:lnTo>
                  <a:lnTo>
                    <a:pt x="9178" y="1094"/>
                  </a:lnTo>
                  <a:lnTo>
                    <a:pt x="9184" y="1042"/>
                  </a:lnTo>
                  <a:lnTo>
                    <a:pt x="9188" y="988"/>
                  </a:lnTo>
                  <a:lnTo>
                    <a:pt x="9189" y="933"/>
                  </a:lnTo>
                  <a:lnTo>
                    <a:pt x="9188" y="879"/>
                  </a:lnTo>
                  <a:lnTo>
                    <a:pt x="9184" y="825"/>
                  </a:lnTo>
                  <a:lnTo>
                    <a:pt x="9178" y="773"/>
                  </a:lnTo>
                  <a:lnTo>
                    <a:pt x="9169" y="723"/>
                  </a:lnTo>
                  <a:lnTo>
                    <a:pt x="9159" y="674"/>
                  </a:lnTo>
                  <a:lnTo>
                    <a:pt x="9146" y="626"/>
                  </a:lnTo>
                  <a:lnTo>
                    <a:pt x="9130" y="581"/>
                  </a:lnTo>
                  <a:lnTo>
                    <a:pt x="9113" y="537"/>
                  </a:lnTo>
                  <a:lnTo>
                    <a:pt x="9094" y="494"/>
                  </a:lnTo>
                  <a:lnTo>
                    <a:pt x="9072" y="453"/>
                  </a:lnTo>
                  <a:lnTo>
                    <a:pt x="9049" y="414"/>
                  </a:lnTo>
                  <a:lnTo>
                    <a:pt x="9023" y="376"/>
                  </a:lnTo>
                  <a:lnTo>
                    <a:pt x="8996" y="341"/>
                  </a:lnTo>
                  <a:lnTo>
                    <a:pt x="8968" y="307"/>
                  </a:lnTo>
                  <a:lnTo>
                    <a:pt x="8937" y="275"/>
                  </a:lnTo>
                  <a:lnTo>
                    <a:pt x="8905" y="244"/>
                  </a:lnTo>
                  <a:lnTo>
                    <a:pt x="8871" y="215"/>
                  </a:lnTo>
                  <a:lnTo>
                    <a:pt x="8835" y="187"/>
                  </a:lnTo>
                  <a:lnTo>
                    <a:pt x="8799" y="162"/>
                  </a:lnTo>
                  <a:lnTo>
                    <a:pt x="8761" y="138"/>
                  </a:lnTo>
                  <a:lnTo>
                    <a:pt x="8721" y="117"/>
                  </a:lnTo>
                  <a:lnTo>
                    <a:pt x="8681" y="97"/>
                  </a:lnTo>
                  <a:lnTo>
                    <a:pt x="8639" y="78"/>
                  </a:lnTo>
                  <a:lnTo>
                    <a:pt x="8595" y="62"/>
                  </a:lnTo>
                  <a:lnTo>
                    <a:pt x="8552" y="48"/>
                  </a:lnTo>
                  <a:lnTo>
                    <a:pt x="8506" y="36"/>
                  </a:lnTo>
                  <a:lnTo>
                    <a:pt x="8460" y="24"/>
                  </a:lnTo>
                  <a:lnTo>
                    <a:pt x="8413" y="16"/>
                  </a:lnTo>
                  <a:lnTo>
                    <a:pt x="8364" y="9"/>
                  </a:lnTo>
                  <a:lnTo>
                    <a:pt x="8317" y="4"/>
                  </a:lnTo>
                  <a:lnTo>
                    <a:pt x="8267" y="1"/>
                  </a:lnTo>
                  <a:lnTo>
                    <a:pt x="8217" y="0"/>
                  </a:lnTo>
                  <a:lnTo>
                    <a:pt x="8173" y="1"/>
                  </a:lnTo>
                  <a:lnTo>
                    <a:pt x="8131" y="3"/>
                  </a:lnTo>
                  <a:lnTo>
                    <a:pt x="8088" y="7"/>
                  </a:lnTo>
                  <a:lnTo>
                    <a:pt x="8046" y="12"/>
                  </a:lnTo>
                  <a:lnTo>
                    <a:pt x="8004" y="18"/>
                  </a:lnTo>
                  <a:lnTo>
                    <a:pt x="7964" y="26"/>
                  </a:lnTo>
                  <a:lnTo>
                    <a:pt x="7924" y="36"/>
                  </a:lnTo>
                  <a:lnTo>
                    <a:pt x="7884" y="47"/>
                  </a:lnTo>
                  <a:lnTo>
                    <a:pt x="7846" y="59"/>
                  </a:lnTo>
                  <a:lnTo>
                    <a:pt x="7808" y="73"/>
                  </a:lnTo>
                  <a:lnTo>
                    <a:pt x="7772" y="88"/>
                  </a:lnTo>
                  <a:lnTo>
                    <a:pt x="7736" y="105"/>
                  </a:lnTo>
                  <a:lnTo>
                    <a:pt x="7700" y="122"/>
                  </a:lnTo>
                  <a:lnTo>
                    <a:pt x="7667" y="141"/>
                  </a:lnTo>
                  <a:lnTo>
                    <a:pt x="7633" y="162"/>
                  </a:lnTo>
                  <a:lnTo>
                    <a:pt x="7602" y="184"/>
                  </a:lnTo>
                  <a:lnTo>
                    <a:pt x="7571" y="207"/>
                  </a:lnTo>
                  <a:lnTo>
                    <a:pt x="7542" y="232"/>
                  </a:lnTo>
                  <a:lnTo>
                    <a:pt x="7512" y="257"/>
                  </a:lnTo>
                  <a:lnTo>
                    <a:pt x="7486" y="285"/>
                  </a:lnTo>
                  <a:lnTo>
                    <a:pt x="7459" y="313"/>
                  </a:lnTo>
                  <a:lnTo>
                    <a:pt x="7435" y="343"/>
                  </a:lnTo>
                  <a:lnTo>
                    <a:pt x="7412" y="374"/>
                  </a:lnTo>
                  <a:lnTo>
                    <a:pt x="7389" y="406"/>
                  </a:lnTo>
                  <a:lnTo>
                    <a:pt x="7369" y="439"/>
                  </a:lnTo>
                  <a:lnTo>
                    <a:pt x="7350" y="475"/>
                  </a:lnTo>
                  <a:lnTo>
                    <a:pt x="7331" y="510"/>
                  </a:lnTo>
                  <a:lnTo>
                    <a:pt x="7315" y="548"/>
                  </a:lnTo>
                  <a:lnTo>
                    <a:pt x="7301" y="586"/>
                  </a:lnTo>
                  <a:lnTo>
                    <a:pt x="7287" y="625"/>
                  </a:lnTo>
                  <a:lnTo>
                    <a:pt x="7276" y="666"/>
                  </a:lnTo>
                  <a:lnTo>
                    <a:pt x="7267" y="709"/>
                  </a:lnTo>
                  <a:lnTo>
                    <a:pt x="6980" y="709"/>
                  </a:lnTo>
                  <a:lnTo>
                    <a:pt x="6980" y="42"/>
                  </a:lnTo>
                  <a:lnTo>
                    <a:pt x="6585" y="42"/>
                  </a:lnTo>
                  <a:close/>
                  <a:moveTo>
                    <a:pt x="7643" y="933"/>
                  </a:moveTo>
                  <a:lnTo>
                    <a:pt x="7644" y="900"/>
                  </a:lnTo>
                  <a:lnTo>
                    <a:pt x="7645" y="866"/>
                  </a:lnTo>
                  <a:lnTo>
                    <a:pt x="7649" y="835"/>
                  </a:lnTo>
                  <a:lnTo>
                    <a:pt x="7653" y="803"/>
                  </a:lnTo>
                  <a:lnTo>
                    <a:pt x="7658" y="773"/>
                  </a:lnTo>
                  <a:lnTo>
                    <a:pt x="7664" y="743"/>
                  </a:lnTo>
                  <a:lnTo>
                    <a:pt x="7672" y="715"/>
                  </a:lnTo>
                  <a:lnTo>
                    <a:pt x="7680" y="686"/>
                  </a:lnTo>
                  <a:lnTo>
                    <a:pt x="7690" y="660"/>
                  </a:lnTo>
                  <a:lnTo>
                    <a:pt x="7700" y="634"/>
                  </a:lnTo>
                  <a:lnTo>
                    <a:pt x="7713" y="610"/>
                  </a:lnTo>
                  <a:lnTo>
                    <a:pt x="7726" y="586"/>
                  </a:lnTo>
                  <a:lnTo>
                    <a:pt x="7740" y="563"/>
                  </a:lnTo>
                  <a:lnTo>
                    <a:pt x="7755" y="542"/>
                  </a:lnTo>
                  <a:lnTo>
                    <a:pt x="7772" y="521"/>
                  </a:lnTo>
                  <a:lnTo>
                    <a:pt x="7789" y="501"/>
                  </a:lnTo>
                  <a:lnTo>
                    <a:pt x="7807" y="483"/>
                  </a:lnTo>
                  <a:lnTo>
                    <a:pt x="7828" y="466"/>
                  </a:lnTo>
                  <a:lnTo>
                    <a:pt x="7848" y="449"/>
                  </a:lnTo>
                  <a:lnTo>
                    <a:pt x="7870" y="434"/>
                  </a:lnTo>
                  <a:lnTo>
                    <a:pt x="7893" y="420"/>
                  </a:lnTo>
                  <a:lnTo>
                    <a:pt x="7917" y="408"/>
                  </a:lnTo>
                  <a:lnTo>
                    <a:pt x="7942" y="396"/>
                  </a:lnTo>
                  <a:lnTo>
                    <a:pt x="7968" y="385"/>
                  </a:lnTo>
                  <a:lnTo>
                    <a:pt x="7995" y="375"/>
                  </a:lnTo>
                  <a:lnTo>
                    <a:pt x="8024" y="367"/>
                  </a:lnTo>
                  <a:lnTo>
                    <a:pt x="8053" y="361"/>
                  </a:lnTo>
                  <a:lnTo>
                    <a:pt x="8084" y="355"/>
                  </a:lnTo>
                  <a:lnTo>
                    <a:pt x="8115" y="351"/>
                  </a:lnTo>
                  <a:lnTo>
                    <a:pt x="8148" y="347"/>
                  </a:lnTo>
                  <a:lnTo>
                    <a:pt x="8182" y="345"/>
                  </a:lnTo>
                  <a:lnTo>
                    <a:pt x="8217" y="345"/>
                  </a:lnTo>
                  <a:lnTo>
                    <a:pt x="8252" y="345"/>
                  </a:lnTo>
                  <a:lnTo>
                    <a:pt x="8285" y="347"/>
                  </a:lnTo>
                  <a:lnTo>
                    <a:pt x="8318" y="351"/>
                  </a:lnTo>
                  <a:lnTo>
                    <a:pt x="8349" y="355"/>
                  </a:lnTo>
                  <a:lnTo>
                    <a:pt x="8380" y="361"/>
                  </a:lnTo>
                  <a:lnTo>
                    <a:pt x="8409" y="367"/>
                  </a:lnTo>
                  <a:lnTo>
                    <a:pt x="8438" y="375"/>
                  </a:lnTo>
                  <a:lnTo>
                    <a:pt x="8465" y="385"/>
                  </a:lnTo>
                  <a:lnTo>
                    <a:pt x="8492" y="396"/>
                  </a:lnTo>
                  <a:lnTo>
                    <a:pt x="8517" y="408"/>
                  </a:lnTo>
                  <a:lnTo>
                    <a:pt x="8540" y="420"/>
                  </a:lnTo>
                  <a:lnTo>
                    <a:pt x="8564" y="434"/>
                  </a:lnTo>
                  <a:lnTo>
                    <a:pt x="8585" y="449"/>
                  </a:lnTo>
                  <a:lnTo>
                    <a:pt x="8607" y="466"/>
                  </a:lnTo>
                  <a:lnTo>
                    <a:pt x="8626" y="483"/>
                  </a:lnTo>
                  <a:lnTo>
                    <a:pt x="8644" y="501"/>
                  </a:lnTo>
                  <a:lnTo>
                    <a:pt x="8662" y="521"/>
                  </a:lnTo>
                  <a:lnTo>
                    <a:pt x="8679" y="542"/>
                  </a:lnTo>
                  <a:lnTo>
                    <a:pt x="8694" y="563"/>
                  </a:lnTo>
                  <a:lnTo>
                    <a:pt x="8708" y="586"/>
                  </a:lnTo>
                  <a:lnTo>
                    <a:pt x="8720" y="610"/>
                  </a:lnTo>
                  <a:lnTo>
                    <a:pt x="8733" y="634"/>
                  </a:lnTo>
                  <a:lnTo>
                    <a:pt x="8744" y="660"/>
                  </a:lnTo>
                  <a:lnTo>
                    <a:pt x="8753" y="686"/>
                  </a:lnTo>
                  <a:lnTo>
                    <a:pt x="8762" y="715"/>
                  </a:lnTo>
                  <a:lnTo>
                    <a:pt x="8769" y="743"/>
                  </a:lnTo>
                  <a:lnTo>
                    <a:pt x="8775" y="773"/>
                  </a:lnTo>
                  <a:lnTo>
                    <a:pt x="8780" y="803"/>
                  </a:lnTo>
                  <a:lnTo>
                    <a:pt x="8785" y="835"/>
                  </a:lnTo>
                  <a:lnTo>
                    <a:pt x="8788" y="866"/>
                  </a:lnTo>
                  <a:lnTo>
                    <a:pt x="8790" y="900"/>
                  </a:lnTo>
                  <a:lnTo>
                    <a:pt x="8790" y="933"/>
                  </a:lnTo>
                  <a:lnTo>
                    <a:pt x="8790" y="968"/>
                  </a:lnTo>
                  <a:lnTo>
                    <a:pt x="8788" y="1001"/>
                  </a:lnTo>
                  <a:lnTo>
                    <a:pt x="8785" y="1033"/>
                  </a:lnTo>
                  <a:lnTo>
                    <a:pt x="8780" y="1065"/>
                  </a:lnTo>
                  <a:lnTo>
                    <a:pt x="8775" y="1095"/>
                  </a:lnTo>
                  <a:lnTo>
                    <a:pt x="8769" y="1125"/>
                  </a:lnTo>
                  <a:lnTo>
                    <a:pt x="8762" y="1153"/>
                  </a:lnTo>
                  <a:lnTo>
                    <a:pt x="8753" y="1181"/>
                  </a:lnTo>
                  <a:lnTo>
                    <a:pt x="8744" y="1207"/>
                  </a:lnTo>
                  <a:lnTo>
                    <a:pt x="8733" y="1233"/>
                  </a:lnTo>
                  <a:lnTo>
                    <a:pt x="8720" y="1258"/>
                  </a:lnTo>
                  <a:lnTo>
                    <a:pt x="8708" y="1281"/>
                  </a:lnTo>
                  <a:lnTo>
                    <a:pt x="8694" y="1305"/>
                  </a:lnTo>
                  <a:lnTo>
                    <a:pt x="8679" y="1326"/>
                  </a:lnTo>
                  <a:lnTo>
                    <a:pt x="8662" y="1346"/>
                  </a:lnTo>
                  <a:lnTo>
                    <a:pt x="8644" y="1366"/>
                  </a:lnTo>
                  <a:lnTo>
                    <a:pt x="8626" y="1385"/>
                  </a:lnTo>
                  <a:lnTo>
                    <a:pt x="8607" y="1402"/>
                  </a:lnTo>
                  <a:lnTo>
                    <a:pt x="8585" y="1418"/>
                  </a:lnTo>
                  <a:lnTo>
                    <a:pt x="8564" y="1434"/>
                  </a:lnTo>
                  <a:lnTo>
                    <a:pt x="8540" y="1447"/>
                  </a:lnTo>
                  <a:lnTo>
                    <a:pt x="8517" y="1460"/>
                  </a:lnTo>
                  <a:lnTo>
                    <a:pt x="8492" y="1472"/>
                  </a:lnTo>
                  <a:lnTo>
                    <a:pt x="8465" y="1483"/>
                  </a:lnTo>
                  <a:lnTo>
                    <a:pt x="8438" y="1492"/>
                  </a:lnTo>
                  <a:lnTo>
                    <a:pt x="8409" y="1500"/>
                  </a:lnTo>
                  <a:lnTo>
                    <a:pt x="8380" y="1507"/>
                  </a:lnTo>
                  <a:lnTo>
                    <a:pt x="8349" y="1513"/>
                  </a:lnTo>
                  <a:lnTo>
                    <a:pt x="8318" y="1517"/>
                  </a:lnTo>
                  <a:lnTo>
                    <a:pt x="8285" y="1520"/>
                  </a:lnTo>
                  <a:lnTo>
                    <a:pt x="8252" y="1522"/>
                  </a:lnTo>
                  <a:lnTo>
                    <a:pt x="8217" y="1523"/>
                  </a:lnTo>
                  <a:lnTo>
                    <a:pt x="8182" y="1522"/>
                  </a:lnTo>
                  <a:lnTo>
                    <a:pt x="8148" y="1520"/>
                  </a:lnTo>
                  <a:lnTo>
                    <a:pt x="8115" y="1517"/>
                  </a:lnTo>
                  <a:lnTo>
                    <a:pt x="8084" y="1513"/>
                  </a:lnTo>
                  <a:lnTo>
                    <a:pt x="8053" y="1507"/>
                  </a:lnTo>
                  <a:lnTo>
                    <a:pt x="8024" y="1500"/>
                  </a:lnTo>
                  <a:lnTo>
                    <a:pt x="7995" y="1492"/>
                  </a:lnTo>
                  <a:lnTo>
                    <a:pt x="7968" y="1483"/>
                  </a:lnTo>
                  <a:lnTo>
                    <a:pt x="7942" y="1472"/>
                  </a:lnTo>
                  <a:lnTo>
                    <a:pt x="7917" y="1460"/>
                  </a:lnTo>
                  <a:lnTo>
                    <a:pt x="7893" y="1447"/>
                  </a:lnTo>
                  <a:lnTo>
                    <a:pt x="7870" y="1434"/>
                  </a:lnTo>
                  <a:lnTo>
                    <a:pt x="7848" y="1418"/>
                  </a:lnTo>
                  <a:lnTo>
                    <a:pt x="7828" y="1402"/>
                  </a:lnTo>
                  <a:lnTo>
                    <a:pt x="7807" y="1385"/>
                  </a:lnTo>
                  <a:lnTo>
                    <a:pt x="7789" y="1366"/>
                  </a:lnTo>
                  <a:lnTo>
                    <a:pt x="7772" y="1346"/>
                  </a:lnTo>
                  <a:lnTo>
                    <a:pt x="7755" y="1326"/>
                  </a:lnTo>
                  <a:lnTo>
                    <a:pt x="7740" y="1305"/>
                  </a:lnTo>
                  <a:lnTo>
                    <a:pt x="7726" y="1281"/>
                  </a:lnTo>
                  <a:lnTo>
                    <a:pt x="7713" y="1258"/>
                  </a:lnTo>
                  <a:lnTo>
                    <a:pt x="7700" y="1233"/>
                  </a:lnTo>
                  <a:lnTo>
                    <a:pt x="7690" y="1207"/>
                  </a:lnTo>
                  <a:lnTo>
                    <a:pt x="7680" y="1181"/>
                  </a:lnTo>
                  <a:lnTo>
                    <a:pt x="7672" y="1153"/>
                  </a:lnTo>
                  <a:lnTo>
                    <a:pt x="7664" y="1125"/>
                  </a:lnTo>
                  <a:lnTo>
                    <a:pt x="7658" y="1095"/>
                  </a:lnTo>
                  <a:lnTo>
                    <a:pt x="7653" y="1065"/>
                  </a:lnTo>
                  <a:lnTo>
                    <a:pt x="7649" y="1033"/>
                  </a:lnTo>
                  <a:lnTo>
                    <a:pt x="7645" y="1001"/>
                  </a:lnTo>
                  <a:lnTo>
                    <a:pt x="7644" y="968"/>
                  </a:lnTo>
                  <a:lnTo>
                    <a:pt x="7643" y="933"/>
                  </a:lnTo>
                  <a:close/>
                  <a:moveTo>
                    <a:pt x="11327" y="477"/>
                  </a:moveTo>
                  <a:lnTo>
                    <a:pt x="11310" y="447"/>
                  </a:lnTo>
                  <a:lnTo>
                    <a:pt x="11291" y="420"/>
                  </a:lnTo>
                  <a:lnTo>
                    <a:pt x="11272" y="392"/>
                  </a:lnTo>
                  <a:lnTo>
                    <a:pt x="11253" y="366"/>
                  </a:lnTo>
                  <a:lnTo>
                    <a:pt x="11232" y="341"/>
                  </a:lnTo>
                  <a:lnTo>
                    <a:pt x="11211" y="316"/>
                  </a:lnTo>
                  <a:lnTo>
                    <a:pt x="11190" y="293"/>
                  </a:lnTo>
                  <a:lnTo>
                    <a:pt x="11167" y="270"/>
                  </a:lnTo>
                  <a:lnTo>
                    <a:pt x="11144" y="248"/>
                  </a:lnTo>
                  <a:lnTo>
                    <a:pt x="11121" y="228"/>
                  </a:lnTo>
                  <a:lnTo>
                    <a:pt x="11096" y="207"/>
                  </a:lnTo>
                  <a:lnTo>
                    <a:pt x="11071" y="188"/>
                  </a:lnTo>
                  <a:lnTo>
                    <a:pt x="11045" y="171"/>
                  </a:lnTo>
                  <a:lnTo>
                    <a:pt x="11018" y="154"/>
                  </a:lnTo>
                  <a:lnTo>
                    <a:pt x="10991" y="136"/>
                  </a:lnTo>
                  <a:lnTo>
                    <a:pt x="10963" y="121"/>
                  </a:lnTo>
                  <a:lnTo>
                    <a:pt x="10934" y="107"/>
                  </a:lnTo>
                  <a:lnTo>
                    <a:pt x="10905" y="93"/>
                  </a:lnTo>
                  <a:lnTo>
                    <a:pt x="10875" y="80"/>
                  </a:lnTo>
                  <a:lnTo>
                    <a:pt x="10845" y="68"/>
                  </a:lnTo>
                  <a:lnTo>
                    <a:pt x="10813" y="58"/>
                  </a:lnTo>
                  <a:lnTo>
                    <a:pt x="10782" y="48"/>
                  </a:lnTo>
                  <a:lnTo>
                    <a:pt x="10749" y="39"/>
                  </a:lnTo>
                  <a:lnTo>
                    <a:pt x="10716" y="30"/>
                  </a:lnTo>
                  <a:lnTo>
                    <a:pt x="10682" y="23"/>
                  </a:lnTo>
                  <a:lnTo>
                    <a:pt x="10648" y="17"/>
                  </a:lnTo>
                  <a:lnTo>
                    <a:pt x="10612" y="12"/>
                  </a:lnTo>
                  <a:lnTo>
                    <a:pt x="10576" y="8"/>
                  </a:lnTo>
                  <a:lnTo>
                    <a:pt x="10540" y="4"/>
                  </a:lnTo>
                  <a:lnTo>
                    <a:pt x="10502" y="2"/>
                  </a:lnTo>
                  <a:lnTo>
                    <a:pt x="10465" y="1"/>
                  </a:lnTo>
                  <a:lnTo>
                    <a:pt x="10426" y="0"/>
                  </a:lnTo>
                  <a:lnTo>
                    <a:pt x="10373" y="1"/>
                  </a:lnTo>
                  <a:lnTo>
                    <a:pt x="10322" y="4"/>
                  </a:lnTo>
                  <a:lnTo>
                    <a:pt x="10271" y="9"/>
                  </a:lnTo>
                  <a:lnTo>
                    <a:pt x="10222" y="16"/>
                  </a:lnTo>
                  <a:lnTo>
                    <a:pt x="10174" y="25"/>
                  </a:lnTo>
                  <a:lnTo>
                    <a:pt x="10126" y="37"/>
                  </a:lnTo>
                  <a:lnTo>
                    <a:pt x="10079" y="50"/>
                  </a:lnTo>
                  <a:lnTo>
                    <a:pt x="10033" y="65"/>
                  </a:lnTo>
                  <a:lnTo>
                    <a:pt x="9990" y="81"/>
                  </a:lnTo>
                  <a:lnTo>
                    <a:pt x="9947" y="101"/>
                  </a:lnTo>
                  <a:lnTo>
                    <a:pt x="9905" y="121"/>
                  </a:lnTo>
                  <a:lnTo>
                    <a:pt x="9865" y="143"/>
                  </a:lnTo>
                  <a:lnTo>
                    <a:pt x="9826" y="168"/>
                  </a:lnTo>
                  <a:lnTo>
                    <a:pt x="9788" y="194"/>
                  </a:lnTo>
                  <a:lnTo>
                    <a:pt x="9753" y="222"/>
                  </a:lnTo>
                  <a:lnTo>
                    <a:pt x="9718" y="251"/>
                  </a:lnTo>
                  <a:lnTo>
                    <a:pt x="9686" y="282"/>
                  </a:lnTo>
                  <a:lnTo>
                    <a:pt x="9654" y="314"/>
                  </a:lnTo>
                  <a:lnTo>
                    <a:pt x="9626" y="349"/>
                  </a:lnTo>
                  <a:lnTo>
                    <a:pt x="9598" y="385"/>
                  </a:lnTo>
                  <a:lnTo>
                    <a:pt x="9572" y="423"/>
                  </a:lnTo>
                  <a:lnTo>
                    <a:pt x="9548" y="462"/>
                  </a:lnTo>
                  <a:lnTo>
                    <a:pt x="9527" y="502"/>
                  </a:lnTo>
                  <a:lnTo>
                    <a:pt x="9508" y="545"/>
                  </a:lnTo>
                  <a:lnTo>
                    <a:pt x="9489" y="589"/>
                  </a:lnTo>
                  <a:lnTo>
                    <a:pt x="9474" y="633"/>
                  </a:lnTo>
                  <a:lnTo>
                    <a:pt x="9461" y="680"/>
                  </a:lnTo>
                  <a:lnTo>
                    <a:pt x="9451" y="728"/>
                  </a:lnTo>
                  <a:lnTo>
                    <a:pt x="9441" y="778"/>
                  </a:lnTo>
                  <a:lnTo>
                    <a:pt x="9435" y="829"/>
                  </a:lnTo>
                  <a:lnTo>
                    <a:pt x="9432" y="881"/>
                  </a:lnTo>
                  <a:lnTo>
                    <a:pt x="9430" y="933"/>
                  </a:lnTo>
                  <a:lnTo>
                    <a:pt x="9431" y="987"/>
                  </a:lnTo>
                  <a:lnTo>
                    <a:pt x="9435" y="1039"/>
                  </a:lnTo>
                  <a:lnTo>
                    <a:pt x="9441" y="1090"/>
                  </a:lnTo>
                  <a:lnTo>
                    <a:pt x="9450" y="1139"/>
                  </a:lnTo>
                  <a:lnTo>
                    <a:pt x="9461" y="1188"/>
                  </a:lnTo>
                  <a:lnTo>
                    <a:pt x="9474" y="1234"/>
                  </a:lnTo>
                  <a:lnTo>
                    <a:pt x="9488" y="1279"/>
                  </a:lnTo>
                  <a:lnTo>
                    <a:pt x="9506" y="1323"/>
                  </a:lnTo>
                  <a:lnTo>
                    <a:pt x="9525" y="1365"/>
                  </a:lnTo>
                  <a:lnTo>
                    <a:pt x="9546" y="1405"/>
                  </a:lnTo>
                  <a:lnTo>
                    <a:pt x="9570" y="1445"/>
                  </a:lnTo>
                  <a:lnTo>
                    <a:pt x="9595" y="1483"/>
                  </a:lnTo>
                  <a:lnTo>
                    <a:pt x="9623" y="1518"/>
                  </a:lnTo>
                  <a:lnTo>
                    <a:pt x="9651" y="1553"/>
                  </a:lnTo>
                  <a:lnTo>
                    <a:pt x="9681" y="1585"/>
                  </a:lnTo>
                  <a:lnTo>
                    <a:pt x="9714" y="1617"/>
                  </a:lnTo>
                  <a:lnTo>
                    <a:pt x="9749" y="1646"/>
                  </a:lnTo>
                  <a:lnTo>
                    <a:pt x="9784" y="1674"/>
                  </a:lnTo>
                  <a:lnTo>
                    <a:pt x="9822" y="1700"/>
                  </a:lnTo>
                  <a:lnTo>
                    <a:pt x="9860" y="1724"/>
                  </a:lnTo>
                  <a:lnTo>
                    <a:pt x="9900" y="1746"/>
                  </a:lnTo>
                  <a:lnTo>
                    <a:pt x="9942" y="1767"/>
                  </a:lnTo>
                  <a:lnTo>
                    <a:pt x="9986" y="1786"/>
                  </a:lnTo>
                  <a:lnTo>
                    <a:pt x="10029" y="1803"/>
                  </a:lnTo>
                  <a:lnTo>
                    <a:pt x="10075" y="1818"/>
                  </a:lnTo>
                  <a:lnTo>
                    <a:pt x="10122" y="1830"/>
                  </a:lnTo>
                  <a:lnTo>
                    <a:pt x="10170" y="1841"/>
                  </a:lnTo>
                  <a:lnTo>
                    <a:pt x="10219" y="1851"/>
                  </a:lnTo>
                  <a:lnTo>
                    <a:pt x="10269" y="1858"/>
                  </a:lnTo>
                  <a:lnTo>
                    <a:pt x="10320" y="1863"/>
                  </a:lnTo>
                  <a:lnTo>
                    <a:pt x="10372" y="1867"/>
                  </a:lnTo>
                  <a:lnTo>
                    <a:pt x="10426" y="1868"/>
                  </a:lnTo>
                  <a:lnTo>
                    <a:pt x="10465" y="1867"/>
                  </a:lnTo>
                  <a:lnTo>
                    <a:pt x="10502" y="1866"/>
                  </a:lnTo>
                  <a:lnTo>
                    <a:pt x="10540" y="1863"/>
                  </a:lnTo>
                  <a:lnTo>
                    <a:pt x="10576" y="1860"/>
                  </a:lnTo>
                  <a:lnTo>
                    <a:pt x="10612" y="1856"/>
                  </a:lnTo>
                  <a:lnTo>
                    <a:pt x="10648" y="1851"/>
                  </a:lnTo>
                  <a:lnTo>
                    <a:pt x="10682" y="1845"/>
                  </a:lnTo>
                  <a:lnTo>
                    <a:pt x="10716" y="1837"/>
                  </a:lnTo>
                  <a:lnTo>
                    <a:pt x="10749" y="1829"/>
                  </a:lnTo>
                  <a:lnTo>
                    <a:pt x="10782" y="1820"/>
                  </a:lnTo>
                  <a:lnTo>
                    <a:pt x="10813" y="1810"/>
                  </a:lnTo>
                  <a:lnTo>
                    <a:pt x="10845" y="1799"/>
                  </a:lnTo>
                  <a:lnTo>
                    <a:pt x="10875" y="1788"/>
                  </a:lnTo>
                  <a:lnTo>
                    <a:pt x="10905" y="1774"/>
                  </a:lnTo>
                  <a:lnTo>
                    <a:pt x="10934" y="1761"/>
                  </a:lnTo>
                  <a:lnTo>
                    <a:pt x="10963" y="1746"/>
                  </a:lnTo>
                  <a:lnTo>
                    <a:pt x="10991" y="1731"/>
                  </a:lnTo>
                  <a:lnTo>
                    <a:pt x="11018" y="1714"/>
                  </a:lnTo>
                  <a:lnTo>
                    <a:pt x="11045" y="1697"/>
                  </a:lnTo>
                  <a:lnTo>
                    <a:pt x="11071" y="1679"/>
                  </a:lnTo>
                  <a:lnTo>
                    <a:pt x="11096" y="1659"/>
                  </a:lnTo>
                  <a:lnTo>
                    <a:pt x="11121" y="1640"/>
                  </a:lnTo>
                  <a:lnTo>
                    <a:pt x="11144" y="1619"/>
                  </a:lnTo>
                  <a:lnTo>
                    <a:pt x="11167" y="1597"/>
                  </a:lnTo>
                  <a:lnTo>
                    <a:pt x="11190" y="1574"/>
                  </a:lnTo>
                  <a:lnTo>
                    <a:pt x="11211" y="1551"/>
                  </a:lnTo>
                  <a:lnTo>
                    <a:pt x="11232" y="1526"/>
                  </a:lnTo>
                  <a:lnTo>
                    <a:pt x="11253" y="1501"/>
                  </a:lnTo>
                  <a:lnTo>
                    <a:pt x="11272" y="1474"/>
                  </a:lnTo>
                  <a:lnTo>
                    <a:pt x="11291" y="1448"/>
                  </a:lnTo>
                  <a:lnTo>
                    <a:pt x="11310" y="1419"/>
                  </a:lnTo>
                  <a:lnTo>
                    <a:pt x="11327" y="1391"/>
                  </a:lnTo>
                  <a:lnTo>
                    <a:pt x="11015" y="1211"/>
                  </a:lnTo>
                  <a:lnTo>
                    <a:pt x="11002" y="1228"/>
                  </a:lnTo>
                  <a:lnTo>
                    <a:pt x="10988" y="1246"/>
                  </a:lnTo>
                  <a:lnTo>
                    <a:pt x="10975" y="1263"/>
                  </a:lnTo>
                  <a:lnTo>
                    <a:pt x="10962" y="1279"/>
                  </a:lnTo>
                  <a:lnTo>
                    <a:pt x="10948" y="1294"/>
                  </a:lnTo>
                  <a:lnTo>
                    <a:pt x="10933" y="1310"/>
                  </a:lnTo>
                  <a:lnTo>
                    <a:pt x="10919" y="1325"/>
                  </a:lnTo>
                  <a:lnTo>
                    <a:pt x="10904" y="1339"/>
                  </a:lnTo>
                  <a:lnTo>
                    <a:pt x="10890" y="1352"/>
                  </a:lnTo>
                  <a:lnTo>
                    <a:pt x="10873" y="1366"/>
                  </a:lnTo>
                  <a:lnTo>
                    <a:pt x="10858" y="1378"/>
                  </a:lnTo>
                  <a:lnTo>
                    <a:pt x="10842" y="1390"/>
                  </a:lnTo>
                  <a:lnTo>
                    <a:pt x="10825" y="1402"/>
                  </a:lnTo>
                  <a:lnTo>
                    <a:pt x="10807" y="1412"/>
                  </a:lnTo>
                  <a:lnTo>
                    <a:pt x="10790" y="1423"/>
                  </a:lnTo>
                  <a:lnTo>
                    <a:pt x="10773" y="1433"/>
                  </a:lnTo>
                  <a:lnTo>
                    <a:pt x="10754" y="1442"/>
                  </a:lnTo>
                  <a:lnTo>
                    <a:pt x="10735" y="1451"/>
                  </a:lnTo>
                  <a:lnTo>
                    <a:pt x="10716" y="1459"/>
                  </a:lnTo>
                  <a:lnTo>
                    <a:pt x="10696" y="1466"/>
                  </a:lnTo>
                  <a:lnTo>
                    <a:pt x="10676" y="1473"/>
                  </a:lnTo>
                  <a:lnTo>
                    <a:pt x="10656" y="1479"/>
                  </a:lnTo>
                  <a:lnTo>
                    <a:pt x="10634" y="1486"/>
                  </a:lnTo>
                  <a:lnTo>
                    <a:pt x="10613" y="1491"/>
                  </a:lnTo>
                  <a:lnTo>
                    <a:pt x="10591" y="1495"/>
                  </a:lnTo>
                  <a:lnTo>
                    <a:pt x="10567" y="1499"/>
                  </a:lnTo>
                  <a:lnTo>
                    <a:pt x="10544" y="1502"/>
                  </a:lnTo>
                  <a:lnTo>
                    <a:pt x="10521" y="1505"/>
                  </a:lnTo>
                  <a:lnTo>
                    <a:pt x="10496" y="1507"/>
                  </a:lnTo>
                  <a:lnTo>
                    <a:pt x="10471" y="1509"/>
                  </a:lnTo>
                  <a:lnTo>
                    <a:pt x="10445" y="1510"/>
                  </a:lnTo>
                  <a:lnTo>
                    <a:pt x="10419" y="1510"/>
                  </a:lnTo>
                  <a:lnTo>
                    <a:pt x="10386" y="1509"/>
                  </a:lnTo>
                  <a:lnTo>
                    <a:pt x="10355" y="1507"/>
                  </a:lnTo>
                  <a:lnTo>
                    <a:pt x="10324" y="1504"/>
                  </a:lnTo>
                  <a:lnTo>
                    <a:pt x="10294" y="1500"/>
                  </a:lnTo>
                  <a:lnTo>
                    <a:pt x="10264" y="1494"/>
                  </a:lnTo>
                  <a:lnTo>
                    <a:pt x="10236" y="1487"/>
                  </a:lnTo>
                  <a:lnTo>
                    <a:pt x="10207" y="1478"/>
                  </a:lnTo>
                  <a:lnTo>
                    <a:pt x="10180" y="1468"/>
                  </a:lnTo>
                  <a:lnTo>
                    <a:pt x="10153" y="1458"/>
                  </a:lnTo>
                  <a:lnTo>
                    <a:pt x="10128" y="1446"/>
                  </a:lnTo>
                  <a:lnTo>
                    <a:pt x="10104" y="1433"/>
                  </a:lnTo>
                  <a:lnTo>
                    <a:pt x="10080" y="1418"/>
                  </a:lnTo>
                  <a:lnTo>
                    <a:pt x="10057" y="1403"/>
                  </a:lnTo>
                  <a:lnTo>
                    <a:pt x="10035" y="1387"/>
                  </a:lnTo>
                  <a:lnTo>
                    <a:pt x="10014" y="1370"/>
                  </a:lnTo>
                  <a:lnTo>
                    <a:pt x="9994" y="1351"/>
                  </a:lnTo>
                  <a:lnTo>
                    <a:pt x="9975" y="1332"/>
                  </a:lnTo>
                  <a:lnTo>
                    <a:pt x="9957" y="1312"/>
                  </a:lnTo>
                  <a:lnTo>
                    <a:pt x="9941" y="1289"/>
                  </a:lnTo>
                  <a:lnTo>
                    <a:pt x="9925" y="1268"/>
                  </a:lnTo>
                  <a:lnTo>
                    <a:pt x="9910" y="1245"/>
                  </a:lnTo>
                  <a:lnTo>
                    <a:pt x="9896" y="1220"/>
                  </a:lnTo>
                  <a:lnTo>
                    <a:pt x="9884" y="1195"/>
                  </a:lnTo>
                  <a:lnTo>
                    <a:pt x="9873" y="1169"/>
                  </a:lnTo>
                  <a:lnTo>
                    <a:pt x="9864" y="1143"/>
                  </a:lnTo>
                  <a:lnTo>
                    <a:pt x="9854" y="1114"/>
                  </a:lnTo>
                  <a:lnTo>
                    <a:pt x="9847" y="1087"/>
                  </a:lnTo>
                  <a:lnTo>
                    <a:pt x="9841" y="1057"/>
                  </a:lnTo>
                  <a:lnTo>
                    <a:pt x="9836" y="1028"/>
                  </a:lnTo>
                  <a:lnTo>
                    <a:pt x="9833" y="998"/>
                  </a:lnTo>
                  <a:lnTo>
                    <a:pt x="9831" y="966"/>
                  </a:lnTo>
                  <a:lnTo>
                    <a:pt x="9830" y="933"/>
                  </a:lnTo>
                  <a:lnTo>
                    <a:pt x="9831" y="901"/>
                  </a:lnTo>
                  <a:lnTo>
                    <a:pt x="9833" y="869"/>
                  </a:lnTo>
                  <a:lnTo>
                    <a:pt x="9836" y="839"/>
                  </a:lnTo>
                  <a:lnTo>
                    <a:pt x="9840" y="808"/>
                  </a:lnTo>
                  <a:lnTo>
                    <a:pt x="9846" y="779"/>
                  </a:lnTo>
                  <a:lnTo>
                    <a:pt x="9853" y="750"/>
                  </a:lnTo>
                  <a:lnTo>
                    <a:pt x="9863" y="723"/>
                  </a:lnTo>
                  <a:lnTo>
                    <a:pt x="9872" y="696"/>
                  </a:lnTo>
                  <a:lnTo>
                    <a:pt x="9883" y="670"/>
                  </a:lnTo>
                  <a:lnTo>
                    <a:pt x="9894" y="645"/>
                  </a:lnTo>
                  <a:lnTo>
                    <a:pt x="9907" y="620"/>
                  </a:lnTo>
                  <a:lnTo>
                    <a:pt x="9923" y="597"/>
                  </a:lnTo>
                  <a:lnTo>
                    <a:pt x="9938" y="575"/>
                  </a:lnTo>
                  <a:lnTo>
                    <a:pt x="9954" y="553"/>
                  </a:lnTo>
                  <a:lnTo>
                    <a:pt x="9971" y="533"/>
                  </a:lnTo>
                  <a:lnTo>
                    <a:pt x="9991" y="513"/>
                  </a:lnTo>
                  <a:lnTo>
                    <a:pt x="10010" y="496"/>
                  </a:lnTo>
                  <a:lnTo>
                    <a:pt x="10031" y="479"/>
                  </a:lnTo>
                  <a:lnTo>
                    <a:pt x="10053" y="463"/>
                  </a:lnTo>
                  <a:lnTo>
                    <a:pt x="10075" y="447"/>
                  </a:lnTo>
                  <a:lnTo>
                    <a:pt x="10099" y="433"/>
                  </a:lnTo>
                  <a:lnTo>
                    <a:pt x="10124" y="420"/>
                  </a:lnTo>
                  <a:lnTo>
                    <a:pt x="10149" y="409"/>
                  </a:lnTo>
                  <a:lnTo>
                    <a:pt x="10176" y="399"/>
                  </a:lnTo>
                  <a:lnTo>
                    <a:pt x="10203" y="388"/>
                  </a:lnTo>
                  <a:lnTo>
                    <a:pt x="10232" y="380"/>
                  </a:lnTo>
                  <a:lnTo>
                    <a:pt x="10261" y="373"/>
                  </a:lnTo>
                  <a:lnTo>
                    <a:pt x="10291" y="368"/>
                  </a:lnTo>
                  <a:lnTo>
                    <a:pt x="10322" y="363"/>
                  </a:lnTo>
                  <a:lnTo>
                    <a:pt x="10354" y="360"/>
                  </a:lnTo>
                  <a:lnTo>
                    <a:pt x="10386" y="358"/>
                  </a:lnTo>
                  <a:lnTo>
                    <a:pt x="10419" y="358"/>
                  </a:lnTo>
                  <a:lnTo>
                    <a:pt x="10445" y="358"/>
                  </a:lnTo>
                  <a:lnTo>
                    <a:pt x="10471" y="359"/>
                  </a:lnTo>
                  <a:lnTo>
                    <a:pt x="10496" y="360"/>
                  </a:lnTo>
                  <a:lnTo>
                    <a:pt x="10521" y="362"/>
                  </a:lnTo>
                  <a:lnTo>
                    <a:pt x="10544" y="365"/>
                  </a:lnTo>
                  <a:lnTo>
                    <a:pt x="10567" y="368"/>
                  </a:lnTo>
                  <a:lnTo>
                    <a:pt x="10591" y="372"/>
                  </a:lnTo>
                  <a:lnTo>
                    <a:pt x="10613" y="377"/>
                  </a:lnTo>
                  <a:lnTo>
                    <a:pt x="10634" y="382"/>
                  </a:lnTo>
                  <a:lnTo>
                    <a:pt x="10656" y="388"/>
                  </a:lnTo>
                  <a:lnTo>
                    <a:pt x="10676" y="395"/>
                  </a:lnTo>
                  <a:lnTo>
                    <a:pt x="10696" y="402"/>
                  </a:lnTo>
                  <a:lnTo>
                    <a:pt x="10716" y="409"/>
                  </a:lnTo>
                  <a:lnTo>
                    <a:pt x="10735" y="417"/>
                  </a:lnTo>
                  <a:lnTo>
                    <a:pt x="10754" y="425"/>
                  </a:lnTo>
                  <a:lnTo>
                    <a:pt x="10773" y="435"/>
                  </a:lnTo>
                  <a:lnTo>
                    <a:pt x="10790" y="444"/>
                  </a:lnTo>
                  <a:lnTo>
                    <a:pt x="10807" y="455"/>
                  </a:lnTo>
                  <a:lnTo>
                    <a:pt x="10825" y="466"/>
                  </a:lnTo>
                  <a:lnTo>
                    <a:pt x="10842" y="477"/>
                  </a:lnTo>
                  <a:lnTo>
                    <a:pt x="10858" y="489"/>
                  </a:lnTo>
                  <a:lnTo>
                    <a:pt x="10873" y="502"/>
                  </a:lnTo>
                  <a:lnTo>
                    <a:pt x="10890" y="515"/>
                  </a:lnTo>
                  <a:lnTo>
                    <a:pt x="10904" y="529"/>
                  </a:lnTo>
                  <a:lnTo>
                    <a:pt x="10919" y="543"/>
                  </a:lnTo>
                  <a:lnTo>
                    <a:pt x="10933" y="557"/>
                  </a:lnTo>
                  <a:lnTo>
                    <a:pt x="10948" y="572"/>
                  </a:lnTo>
                  <a:lnTo>
                    <a:pt x="10962" y="589"/>
                  </a:lnTo>
                  <a:lnTo>
                    <a:pt x="10975" y="605"/>
                  </a:lnTo>
                  <a:lnTo>
                    <a:pt x="10988" y="621"/>
                  </a:lnTo>
                  <a:lnTo>
                    <a:pt x="11002" y="639"/>
                  </a:lnTo>
                  <a:lnTo>
                    <a:pt x="11015" y="657"/>
                  </a:lnTo>
                  <a:lnTo>
                    <a:pt x="11327" y="4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490538" y="487363"/>
              <a:ext cx="466725" cy="455612"/>
            </a:xfrm>
            <a:custGeom>
              <a:avLst/>
              <a:gdLst>
                <a:gd name="T0" fmla="*/ 1853 w 3532"/>
                <a:gd name="T1" fmla="*/ 1336 h 3444"/>
                <a:gd name="T2" fmla="*/ 1828 w 3532"/>
                <a:gd name="T3" fmla="*/ 1351 h 3444"/>
                <a:gd name="T4" fmla="*/ 1795 w 3532"/>
                <a:gd name="T5" fmla="*/ 1349 h 3444"/>
                <a:gd name="T6" fmla="*/ 1104 w 3532"/>
                <a:gd name="T7" fmla="*/ 1069 h 3444"/>
                <a:gd name="T8" fmla="*/ 1071 w 3532"/>
                <a:gd name="T9" fmla="*/ 1010 h 3444"/>
                <a:gd name="T10" fmla="*/ 1204 w 3532"/>
                <a:gd name="T11" fmla="*/ 141 h 3444"/>
                <a:gd name="T12" fmla="*/ 1231 w 3532"/>
                <a:gd name="T13" fmla="*/ 77 h 3444"/>
                <a:gd name="T14" fmla="*/ 1287 w 3532"/>
                <a:gd name="T15" fmla="*/ 37 h 3444"/>
                <a:gd name="T16" fmla="*/ 2026 w 3532"/>
                <a:gd name="T17" fmla="*/ 0 h 3444"/>
                <a:gd name="T18" fmla="*/ 2055 w 3532"/>
                <a:gd name="T19" fmla="*/ 11 h 3444"/>
                <a:gd name="T20" fmla="*/ 2072 w 3532"/>
                <a:gd name="T21" fmla="*/ 37 h 3444"/>
                <a:gd name="T22" fmla="*/ 1399 w 3532"/>
                <a:gd name="T23" fmla="*/ 1554 h 3444"/>
                <a:gd name="T24" fmla="*/ 1417 w 3532"/>
                <a:gd name="T25" fmla="*/ 1578 h 3444"/>
                <a:gd name="T26" fmla="*/ 1414 w 3532"/>
                <a:gd name="T27" fmla="*/ 1610 h 3444"/>
                <a:gd name="T28" fmla="*/ 958 w 3532"/>
                <a:gd name="T29" fmla="*/ 2172 h 3444"/>
                <a:gd name="T30" fmla="*/ 893 w 3532"/>
                <a:gd name="T31" fmla="*/ 2208 h 3444"/>
                <a:gd name="T32" fmla="*/ 826 w 3532"/>
                <a:gd name="T33" fmla="*/ 2201 h 3444"/>
                <a:gd name="T34" fmla="*/ 45 w 3532"/>
                <a:gd name="T35" fmla="*/ 1796 h 3444"/>
                <a:gd name="T36" fmla="*/ 6 w 3532"/>
                <a:gd name="T37" fmla="*/ 1741 h 3444"/>
                <a:gd name="T38" fmla="*/ 4 w 3532"/>
                <a:gd name="T39" fmla="*/ 1664 h 3444"/>
                <a:gd name="T40" fmla="*/ 200 w 3532"/>
                <a:gd name="T41" fmla="*/ 976 h 3444"/>
                <a:gd name="T42" fmla="*/ 226 w 3532"/>
                <a:gd name="T43" fmla="*/ 959 h 3444"/>
                <a:gd name="T44" fmla="*/ 255 w 3532"/>
                <a:gd name="T45" fmla="*/ 963 h 3444"/>
                <a:gd name="T46" fmla="*/ 1491 w 3532"/>
                <a:gd name="T47" fmla="*/ 2055 h 3444"/>
                <a:gd name="T48" fmla="*/ 1521 w 3532"/>
                <a:gd name="T49" fmla="*/ 2057 h 3444"/>
                <a:gd name="T50" fmla="*/ 1546 w 3532"/>
                <a:gd name="T51" fmla="*/ 2077 h 3444"/>
                <a:gd name="T52" fmla="*/ 1940 w 3532"/>
                <a:gd name="T53" fmla="*/ 2711 h 3444"/>
                <a:gd name="T54" fmla="*/ 1933 w 3532"/>
                <a:gd name="T55" fmla="*/ 2779 h 3444"/>
                <a:gd name="T56" fmla="*/ 1315 w 3532"/>
                <a:gd name="T57" fmla="*/ 3402 h 3444"/>
                <a:gd name="T58" fmla="*/ 1256 w 3532"/>
                <a:gd name="T59" fmla="*/ 3439 h 3444"/>
                <a:gd name="T60" fmla="*/ 1187 w 3532"/>
                <a:gd name="T61" fmla="*/ 3439 h 3444"/>
                <a:gd name="T62" fmla="*/ 567 w 3532"/>
                <a:gd name="T63" fmla="*/ 3035 h 3444"/>
                <a:gd name="T64" fmla="*/ 549 w 3532"/>
                <a:gd name="T65" fmla="*/ 3009 h 3444"/>
                <a:gd name="T66" fmla="*/ 551 w 3532"/>
                <a:gd name="T67" fmla="*/ 2978 h 3444"/>
                <a:gd name="T68" fmla="*/ 1987 w 3532"/>
                <a:gd name="T69" fmla="*/ 2144 h 3444"/>
                <a:gd name="T70" fmla="*/ 1988 w 3532"/>
                <a:gd name="T71" fmla="*/ 2114 h 3444"/>
                <a:gd name="T72" fmla="*/ 2009 w 3532"/>
                <a:gd name="T73" fmla="*/ 2091 h 3444"/>
                <a:gd name="T74" fmla="*/ 2707 w 3532"/>
                <a:gd name="T75" fmla="*/ 1899 h 3444"/>
                <a:gd name="T76" fmla="*/ 2780 w 3532"/>
                <a:gd name="T77" fmla="*/ 1910 h 3444"/>
                <a:gd name="T78" fmla="*/ 2832 w 3532"/>
                <a:gd name="T79" fmla="*/ 1953 h 3444"/>
                <a:gd name="T80" fmla="*/ 3229 w 3532"/>
                <a:gd name="T81" fmla="*/ 2739 h 3444"/>
                <a:gd name="T82" fmla="*/ 3227 w 3532"/>
                <a:gd name="T83" fmla="*/ 2806 h 3444"/>
                <a:gd name="T84" fmla="*/ 3184 w 3532"/>
                <a:gd name="T85" fmla="*/ 2871 h 3444"/>
                <a:gd name="T86" fmla="*/ 2624 w 3532"/>
                <a:gd name="T87" fmla="*/ 3314 h 3444"/>
                <a:gd name="T88" fmla="*/ 2593 w 3532"/>
                <a:gd name="T89" fmla="*/ 3313 h 3444"/>
                <a:gd name="T90" fmla="*/ 2570 w 3532"/>
                <a:gd name="T91" fmla="*/ 3292 h 3444"/>
                <a:gd name="T92" fmla="*/ 2206 w 3532"/>
                <a:gd name="T93" fmla="*/ 1686 h 3444"/>
                <a:gd name="T94" fmla="*/ 2183 w 3532"/>
                <a:gd name="T95" fmla="*/ 1667 h 3444"/>
                <a:gd name="T96" fmla="*/ 2176 w 3532"/>
                <a:gd name="T97" fmla="*/ 1635 h 3444"/>
                <a:gd name="T98" fmla="*/ 2229 w 3532"/>
                <a:gd name="T99" fmla="*/ 892 h 3444"/>
                <a:gd name="T100" fmla="*/ 2275 w 3532"/>
                <a:gd name="T101" fmla="*/ 841 h 3444"/>
                <a:gd name="T102" fmla="*/ 3142 w 3532"/>
                <a:gd name="T103" fmla="*/ 700 h 3444"/>
                <a:gd name="T104" fmla="*/ 3211 w 3532"/>
                <a:gd name="T105" fmla="*/ 706 h 3444"/>
                <a:gd name="T106" fmla="*/ 3268 w 3532"/>
                <a:gd name="T107" fmla="*/ 746 h 3444"/>
                <a:gd name="T108" fmla="*/ 3530 w 3532"/>
                <a:gd name="T109" fmla="*/ 1438 h 3444"/>
                <a:gd name="T110" fmla="*/ 3529 w 3532"/>
                <a:gd name="T111" fmla="*/ 1469 h 3444"/>
                <a:gd name="T112" fmla="*/ 3510 w 3532"/>
                <a:gd name="T113" fmla="*/ 1493 h 3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32" h="3444">
                  <a:moveTo>
                    <a:pt x="2072" y="52"/>
                  </a:moveTo>
                  <a:lnTo>
                    <a:pt x="1861" y="1317"/>
                  </a:lnTo>
                  <a:lnTo>
                    <a:pt x="1860" y="1322"/>
                  </a:lnTo>
                  <a:lnTo>
                    <a:pt x="1858" y="1327"/>
                  </a:lnTo>
                  <a:lnTo>
                    <a:pt x="1856" y="1332"/>
                  </a:lnTo>
                  <a:lnTo>
                    <a:pt x="1853" y="1336"/>
                  </a:lnTo>
                  <a:lnTo>
                    <a:pt x="1849" y="1340"/>
                  </a:lnTo>
                  <a:lnTo>
                    <a:pt x="1846" y="1343"/>
                  </a:lnTo>
                  <a:lnTo>
                    <a:pt x="1842" y="1346"/>
                  </a:lnTo>
                  <a:lnTo>
                    <a:pt x="1837" y="1348"/>
                  </a:lnTo>
                  <a:lnTo>
                    <a:pt x="1833" y="1350"/>
                  </a:lnTo>
                  <a:lnTo>
                    <a:pt x="1828" y="1351"/>
                  </a:lnTo>
                  <a:lnTo>
                    <a:pt x="1822" y="1352"/>
                  </a:lnTo>
                  <a:lnTo>
                    <a:pt x="1817" y="1353"/>
                  </a:lnTo>
                  <a:lnTo>
                    <a:pt x="1811" y="1352"/>
                  </a:lnTo>
                  <a:lnTo>
                    <a:pt x="1806" y="1352"/>
                  </a:lnTo>
                  <a:lnTo>
                    <a:pt x="1801" y="1351"/>
                  </a:lnTo>
                  <a:lnTo>
                    <a:pt x="1795" y="1349"/>
                  </a:lnTo>
                  <a:lnTo>
                    <a:pt x="1163" y="1105"/>
                  </a:lnTo>
                  <a:lnTo>
                    <a:pt x="1149" y="1099"/>
                  </a:lnTo>
                  <a:lnTo>
                    <a:pt x="1136" y="1092"/>
                  </a:lnTo>
                  <a:lnTo>
                    <a:pt x="1125" y="1085"/>
                  </a:lnTo>
                  <a:lnTo>
                    <a:pt x="1114" y="1077"/>
                  </a:lnTo>
                  <a:lnTo>
                    <a:pt x="1104" y="1069"/>
                  </a:lnTo>
                  <a:lnTo>
                    <a:pt x="1096" y="1060"/>
                  </a:lnTo>
                  <a:lnTo>
                    <a:pt x="1089" y="1050"/>
                  </a:lnTo>
                  <a:lnTo>
                    <a:pt x="1083" y="1041"/>
                  </a:lnTo>
                  <a:lnTo>
                    <a:pt x="1078" y="1031"/>
                  </a:lnTo>
                  <a:lnTo>
                    <a:pt x="1074" y="1020"/>
                  </a:lnTo>
                  <a:lnTo>
                    <a:pt x="1071" y="1010"/>
                  </a:lnTo>
                  <a:lnTo>
                    <a:pt x="1068" y="999"/>
                  </a:lnTo>
                  <a:lnTo>
                    <a:pt x="1067" y="986"/>
                  </a:lnTo>
                  <a:lnTo>
                    <a:pt x="1067" y="975"/>
                  </a:lnTo>
                  <a:lnTo>
                    <a:pt x="1068" y="963"/>
                  </a:lnTo>
                  <a:lnTo>
                    <a:pt x="1069" y="951"/>
                  </a:lnTo>
                  <a:lnTo>
                    <a:pt x="1204" y="141"/>
                  </a:lnTo>
                  <a:lnTo>
                    <a:pt x="1206" y="130"/>
                  </a:lnTo>
                  <a:lnTo>
                    <a:pt x="1209" y="118"/>
                  </a:lnTo>
                  <a:lnTo>
                    <a:pt x="1213" y="107"/>
                  </a:lnTo>
                  <a:lnTo>
                    <a:pt x="1218" y="97"/>
                  </a:lnTo>
                  <a:lnTo>
                    <a:pt x="1224" y="86"/>
                  </a:lnTo>
                  <a:lnTo>
                    <a:pt x="1231" y="77"/>
                  </a:lnTo>
                  <a:lnTo>
                    <a:pt x="1238" y="69"/>
                  </a:lnTo>
                  <a:lnTo>
                    <a:pt x="1246" y="61"/>
                  </a:lnTo>
                  <a:lnTo>
                    <a:pt x="1255" y="54"/>
                  </a:lnTo>
                  <a:lnTo>
                    <a:pt x="1265" y="47"/>
                  </a:lnTo>
                  <a:lnTo>
                    <a:pt x="1275" y="42"/>
                  </a:lnTo>
                  <a:lnTo>
                    <a:pt x="1287" y="37"/>
                  </a:lnTo>
                  <a:lnTo>
                    <a:pt x="1300" y="33"/>
                  </a:lnTo>
                  <a:lnTo>
                    <a:pt x="1313" y="29"/>
                  </a:lnTo>
                  <a:lnTo>
                    <a:pt x="1327" y="27"/>
                  </a:lnTo>
                  <a:lnTo>
                    <a:pt x="1342" y="26"/>
                  </a:lnTo>
                  <a:lnTo>
                    <a:pt x="2020" y="0"/>
                  </a:lnTo>
                  <a:lnTo>
                    <a:pt x="2026" y="0"/>
                  </a:lnTo>
                  <a:lnTo>
                    <a:pt x="2031" y="1"/>
                  </a:lnTo>
                  <a:lnTo>
                    <a:pt x="2036" y="2"/>
                  </a:lnTo>
                  <a:lnTo>
                    <a:pt x="2042" y="3"/>
                  </a:lnTo>
                  <a:lnTo>
                    <a:pt x="2046" y="5"/>
                  </a:lnTo>
                  <a:lnTo>
                    <a:pt x="2051" y="8"/>
                  </a:lnTo>
                  <a:lnTo>
                    <a:pt x="2055" y="11"/>
                  </a:lnTo>
                  <a:lnTo>
                    <a:pt x="2059" y="14"/>
                  </a:lnTo>
                  <a:lnTo>
                    <a:pt x="2062" y="18"/>
                  </a:lnTo>
                  <a:lnTo>
                    <a:pt x="2066" y="22"/>
                  </a:lnTo>
                  <a:lnTo>
                    <a:pt x="2068" y="26"/>
                  </a:lnTo>
                  <a:lnTo>
                    <a:pt x="2070" y="32"/>
                  </a:lnTo>
                  <a:lnTo>
                    <a:pt x="2072" y="37"/>
                  </a:lnTo>
                  <a:lnTo>
                    <a:pt x="2072" y="42"/>
                  </a:lnTo>
                  <a:lnTo>
                    <a:pt x="2073" y="47"/>
                  </a:lnTo>
                  <a:lnTo>
                    <a:pt x="2072" y="52"/>
                  </a:lnTo>
                  <a:close/>
                  <a:moveTo>
                    <a:pt x="255" y="963"/>
                  </a:moveTo>
                  <a:lnTo>
                    <a:pt x="1394" y="1551"/>
                  </a:lnTo>
                  <a:lnTo>
                    <a:pt x="1399" y="1554"/>
                  </a:lnTo>
                  <a:lnTo>
                    <a:pt x="1403" y="1557"/>
                  </a:lnTo>
                  <a:lnTo>
                    <a:pt x="1408" y="1561"/>
                  </a:lnTo>
                  <a:lnTo>
                    <a:pt x="1411" y="1565"/>
                  </a:lnTo>
                  <a:lnTo>
                    <a:pt x="1413" y="1569"/>
                  </a:lnTo>
                  <a:lnTo>
                    <a:pt x="1415" y="1574"/>
                  </a:lnTo>
                  <a:lnTo>
                    <a:pt x="1417" y="1578"/>
                  </a:lnTo>
                  <a:lnTo>
                    <a:pt x="1418" y="1583"/>
                  </a:lnTo>
                  <a:lnTo>
                    <a:pt x="1418" y="1588"/>
                  </a:lnTo>
                  <a:lnTo>
                    <a:pt x="1418" y="1593"/>
                  </a:lnTo>
                  <a:lnTo>
                    <a:pt x="1417" y="1599"/>
                  </a:lnTo>
                  <a:lnTo>
                    <a:pt x="1416" y="1605"/>
                  </a:lnTo>
                  <a:lnTo>
                    <a:pt x="1414" y="1610"/>
                  </a:lnTo>
                  <a:lnTo>
                    <a:pt x="1412" y="1614"/>
                  </a:lnTo>
                  <a:lnTo>
                    <a:pt x="1409" y="1619"/>
                  </a:lnTo>
                  <a:lnTo>
                    <a:pt x="1405" y="1624"/>
                  </a:lnTo>
                  <a:lnTo>
                    <a:pt x="978" y="2151"/>
                  </a:lnTo>
                  <a:lnTo>
                    <a:pt x="969" y="2162"/>
                  </a:lnTo>
                  <a:lnTo>
                    <a:pt x="958" y="2172"/>
                  </a:lnTo>
                  <a:lnTo>
                    <a:pt x="948" y="2181"/>
                  </a:lnTo>
                  <a:lnTo>
                    <a:pt x="938" y="2188"/>
                  </a:lnTo>
                  <a:lnTo>
                    <a:pt x="926" y="2195"/>
                  </a:lnTo>
                  <a:lnTo>
                    <a:pt x="915" y="2200"/>
                  </a:lnTo>
                  <a:lnTo>
                    <a:pt x="904" y="2204"/>
                  </a:lnTo>
                  <a:lnTo>
                    <a:pt x="893" y="2208"/>
                  </a:lnTo>
                  <a:lnTo>
                    <a:pt x="882" y="2209"/>
                  </a:lnTo>
                  <a:lnTo>
                    <a:pt x="871" y="2210"/>
                  </a:lnTo>
                  <a:lnTo>
                    <a:pt x="859" y="2209"/>
                  </a:lnTo>
                  <a:lnTo>
                    <a:pt x="848" y="2208"/>
                  </a:lnTo>
                  <a:lnTo>
                    <a:pt x="837" y="2206"/>
                  </a:lnTo>
                  <a:lnTo>
                    <a:pt x="826" y="2201"/>
                  </a:lnTo>
                  <a:lnTo>
                    <a:pt x="815" y="2197"/>
                  </a:lnTo>
                  <a:lnTo>
                    <a:pt x="803" y="2192"/>
                  </a:lnTo>
                  <a:lnTo>
                    <a:pt x="74" y="1816"/>
                  </a:lnTo>
                  <a:lnTo>
                    <a:pt x="64" y="1810"/>
                  </a:lnTo>
                  <a:lnTo>
                    <a:pt x="54" y="1803"/>
                  </a:lnTo>
                  <a:lnTo>
                    <a:pt x="45" y="1796"/>
                  </a:lnTo>
                  <a:lnTo>
                    <a:pt x="37" y="1789"/>
                  </a:lnTo>
                  <a:lnTo>
                    <a:pt x="28" y="1779"/>
                  </a:lnTo>
                  <a:lnTo>
                    <a:pt x="21" y="1771"/>
                  </a:lnTo>
                  <a:lnTo>
                    <a:pt x="15" y="1761"/>
                  </a:lnTo>
                  <a:lnTo>
                    <a:pt x="10" y="1751"/>
                  </a:lnTo>
                  <a:lnTo>
                    <a:pt x="6" y="1741"/>
                  </a:lnTo>
                  <a:lnTo>
                    <a:pt x="3" y="1729"/>
                  </a:lnTo>
                  <a:lnTo>
                    <a:pt x="1" y="1717"/>
                  </a:lnTo>
                  <a:lnTo>
                    <a:pt x="0" y="1704"/>
                  </a:lnTo>
                  <a:lnTo>
                    <a:pt x="0" y="1691"/>
                  </a:lnTo>
                  <a:lnTo>
                    <a:pt x="1" y="1678"/>
                  </a:lnTo>
                  <a:lnTo>
                    <a:pt x="4" y="1664"/>
                  </a:lnTo>
                  <a:lnTo>
                    <a:pt x="7" y="1648"/>
                  </a:lnTo>
                  <a:lnTo>
                    <a:pt x="190" y="995"/>
                  </a:lnTo>
                  <a:lnTo>
                    <a:pt x="192" y="990"/>
                  </a:lnTo>
                  <a:lnTo>
                    <a:pt x="194" y="985"/>
                  </a:lnTo>
                  <a:lnTo>
                    <a:pt x="197" y="980"/>
                  </a:lnTo>
                  <a:lnTo>
                    <a:pt x="200" y="976"/>
                  </a:lnTo>
                  <a:lnTo>
                    <a:pt x="203" y="972"/>
                  </a:lnTo>
                  <a:lnTo>
                    <a:pt x="207" y="969"/>
                  </a:lnTo>
                  <a:lnTo>
                    <a:pt x="212" y="965"/>
                  </a:lnTo>
                  <a:lnTo>
                    <a:pt x="216" y="963"/>
                  </a:lnTo>
                  <a:lnTo>
                    <a:pt x="221" y="961"/>
                  </a:lnTo>
                  <a:lnTo>
                    <a:pt x="226" y="959"/>
                  </a:lnTo>
                  <a:lnTo>
                    <a:pt x="230" y="958"/>
                  </a:lnTo>
                  <a:lnTo>
                    <a:pt x="235" y="958"/>
                  </a:lnTo>
                  <a:lnTo>
                    <a:pt x="240" y="958"/>
                  </a:lnTo>
                  <a:lnTo>
                    <a:pt x="245" y="959"/>
                  </a:lnTo>
                  <a:lnTo>
                    <a:pt x="250" y="960"/>
                  </a:lnTo>
                  <a:lnTo>
                    <a:pt x="255" y="963"/>
                  </a:lnTo>
                  <a:close/>
                  <a:moveTo>
                    <a:pt x="560" y="2966"/>
                  </a:moveTo>
                  <a:lnTo>
                    <a:pt x="1474" y="2066"/>
                  </a:lnTo>
                  <a:lnTo>
                    <a:pt x="1478" y="2062"/>
                  </a:lnTo>
                  <a:lnTo>
                    <a:pt x="1482" y="2059"/>
                  </a:lnTo>
                  <a:lnTo>
                    <a:pt x="1487" y="2057"/>
                  </a:lnTo>
                  <a:lnTo>
                    <a:pt x="1491" y="2055"/>
                  </a:lnTo>
                  <a:lnTo>
                    <a:pt x="1496" y="2054"/>
                  </a:lnTo>
                  <a:lnTo>
                    <a:pt x="1501" y="2053"/>
                  </a:lnTo>
                  <a:lnTo>
                    <a:pt x="1506" y="2054"/>
                  </a:lnTo>
                  <a:lnTo>
                    <a:pt x="1511" y="2054"/>
                  </a:lnTo>
                  <a:lnTo>
                    <a:pt x="1516" y="2055"/>
                  </a:lnTo>
                  <a:lnTo>
                    <a:pt x="1521" y="2057"/>
                  </a:lnTo>
                  <a:lnTo>
                    <a:pt x="1526" y="2059"/>
                  </a:lnTo>
                  <a:lnTo>
                    <a:pt x="1531" y="2062"/>
                  </a:lnTo>
                  <a:lnTo>
                    <a:pt x="1535" y="2065"/>
                  </a:lnTo>
                  <a:lnTo>
                    <a:pt x="1539" y="2069"/>
                  </a:lnTo>
                  <a:lnTo>
                    <a:pt x="1543" y="2073"/>
                  </a:lnTo>
                  <a:lnTo>
                    <a:pt x="1546" y="2077"/>
                  </a:lnTo>
                  <a:lnTo>
                    <a:pt x="1914" y="2647"/>
                  </a:lnTo>
                  <a:lnTo>
                    <a:pt x="1922" y="2660"/>
                  </a:lnTo>
                  <a:lnTo>
                    <a:pt x="1928" y="2673"/>
                  </a:lnTo>
                  <a:lnTo>
                    <a:pt x="1933" y="2685"/>
                  </a:lnTo>
                  <a:lnTo>
                    <a:pt x="1937" y="2699"/>
                  </a:lnTo>
                  <a:lnTo>
                    <a:pt x="1940" y="2711"/>
                  </a:lnTo>
                  <a:lnTo>
                    <a:pt x="1941" y="2723"/>
                  </a:lnTo>
                  <a:lnTo>
                    <a:pt x="1942" y="2734"/>
                  </a:lnTo>
                  <a:lnTo>
                    <a:pt x="1941" y="2745"/>
                  </a:lnTo>
                  <a:lnTo>
                    <a:pt x="1939" y="2758"/>
                  </a:lnTo>
                  <a:lnTo>
                    <a:pt x="1936" y="2768"/>
                  </a:lnTo>
                  <a:lnTo>
                    <a:pt x="1933" y="2779"/>
                  </a:lnTo>
                  <a:lnTo>
                    <a:pt x="1928" y="2789"/>
                  </a:lnTo>
                  <a:lnTo>
                    <a:pt x="1922" y="2799"/>
                  </a:lnTo>
                  <a:lnTo>
                    <a:pt x="1915" y="2808"/>
                  </a:lnTo>
                  <a:lnTo>
                    <a:pt x="1908" y="2818"/>
                  </a:lnTo>
                  <a:lnTo>
                    <a:pt x="1900" y="2827"/>
                  </a:lnTo>
                  <a:lnTo>
                    <a:pt x="1315" y="3402"/>
                  </a:lnTo>
                  <a:lnTo>
                    <a:pt x="1307" y="3410"/>
                  </a:lnTo>
                  <a:lnTo>
                    <a:pt x="1297" y="3419"/>
                  </a:lnTo>
                  <a:lnTo>
                    <a:pt x="1288" y="3425"/>
                  </a:lnTo>
                  <a:lnTo>
                    <a:pt x="1277" y="3431"/>
                  </a:lnTo>
                  <a:lnTo>
                    <a:pt x="1267" y="3435"/>
                  </a:lnTo>
                  <a:lnTo>
                    <a:pt x="1256" y="3439"/>
                  </a:lnTo>
                  <a:lnTo>
                    <a:pt x="1245" y="3442"/>
                  </a:lnTo>
                  <a:lnTo>
                    <a:pt x="1234" y="3443"/>
                  </a:lnTo>
                  <a:lnTo>
                    <a:pt x="1222" y="3444"/>
                  </a:lnTo>
                  <a:lnTo>
                    <a:pt x="1211" y="3443"/>
                  </a:lnTo>
                  <a:lnTo>
                    <a:pt x="1199" y="3442"/>
                  </a:lnTo>
                  <a:lnTo>
                    <a:pt x="1187" y="3439"/>
                  </a:lnTo>
                  <a:lnTo>
                    <a:pt x="1174" y="3435"/>
                  </a:lnTo>
                  <a:lnTo>
                    <a:pt x="1161" y="3430"/>
                  </a:lnTo>
                  <a:lnTo>
                    <a:pt x="1148" y="3423"/>
                  </a:lnTo>
                  <a:lnTo>
                    <a:pt x="1136" y="3415"/>
                  </a:lnTo>
                  <a:lnTo>
                    <a:pt x="572" y="3038"/>
                  </a:lnTo>
                  <a:lnTo>
                    <a:pt x="567" y="3035"/>
                  </a:lnTo>
                  <a:lnTo>
                    <a:pt x="563" y="3031"/>
                  </a:lnTo>
                  <a:lnTo>
                    <a:pt x="559" y="3027"/>
                  </a:lnTo>
                  <a:lnTo>
                    <a:pt x="556" y="3023"/>
                  </a:lnTo>
                  <a:lnTo>
                    <a:pt x="553" y="3018"/>
                  </a:lnTo>
                  <a:lnTo>
                    <a:pt x="551" y="3014"/>
                  </a:lnTo>
                  <a:lnTo>
                    <a:pt x="549" y="3009"/>
                  </a:lnTo>
                  <a:lnTo>
                    <a:pt x="548" y="3004"/>
                  </a:lnTo>
                  <a:lnTo>
                    <a:pt x="548" y="2999"/>
                  </a:lnTo>
                  <a:lnTo>
                    <a:pt x="548" y="2994"/>
                  </a:lnTo>
                  <a:lnTo>
                    <a:pt x="548" y="2988"/>
                  </a:lnTo>
                  <a:lnTo>
                    <a:pt x="549" y="2983"/>
                  </a:lnTo>
                  <a:lnTo>
                    <a:pt x="551" y="2978"/>
                  </a:lnTo>
                  <a:lnTo>
                    <a:pt x="553" y="2974"/>
                  </a:lnTo>
                  <a:lnTo>
                    <a:pt x="556" y="2970"/>
                  </a:lnTo>
                  <a:lnTo>
                    <a:pt x="560" y="2966"/>
                  </a:lnTo>
                  <a:close/>
                  <a:moveTo>
                    <a:pt x="2570" y="3292"/>
                  </a:moveTo>
                  <a:lnTo>
                    <a:pt x="1990" y="2150"/>
                  </a:lnTo>
                  <a:lnTo>
                    <a:pt x="1987" y="2144"/>
                  </a:lnTo>
                  <a:lnTo>
                    <a:pt x="1986" y="2139"/>
                  </a:lnTo>
                  <a:lnTo>
                    <a:pt x="1985" y="2134"/>
                  </a:lnTo>
                  <a:lnTo>
                    <a:pt x="1985" y="2128"/>
                  </a:lnTo>
                  <a:lnTo>
                    <a:pt x="1986" y="2124"/>
                  </a:lnTo>
                  <a:lnTo>
                    <a:pt x="1987" y="2119"/>
                  </a:lnTo>
                  <a:lnTo>
                    <a:pt x="1988" y="2114"/>
                  </a:lnTo>
                  <a:lnTo>
                    <a:pt x="1990" y="2110"/>
                  </a:lnTo>
                  <a:lnTo>
                    <a:pt x="1993" y="2105"/>
                  </a:lnTo>
                  <a:lnTo>
                    <a:pt x="1996" y="2101"/>
                  </a:lnTo>
                  <a:lnTo>
                    <a:pt x="2000" y="2098"/>
                  </a:lnTo>
                  <a:lnTo>
                    <a:pt x="2003" y="2094"/>
                  </a:lnTo>
                  <a:lnTo>
                    <a:pt x="2009" y="2091"/>
                  </a:lnTo>
                  <a:lnTo>
                    <a:pt x="2013" y="2088"/>
                  </a:lnTo>
                  <a:lnTo>
                    <a:pt x="2018" y="2086"/>
                  </a:lnTo>
                  <a:lnTo>
                    <a:pt x="2024" y="2084"/>
                  </a:lnTo>
                  <a:lnTo>
                    <a:pt x="2678" y="1906"/>
                  </a:lnTo>
                  <a:lnTo>
                    <a:pt x="2693" y="1902"/>
                  </a:lnTo>
                  <a:lnTo>
                    <a:pt x="2707" y="1899"/>
                  </a:lnTo>
                  <a:lnTo>
                    <a:pt x="2720" y="1898"/>
                  </a:lnTo>
                  <a:lnTo>
                    <a:pt x="2734" y="1898"/>
                  </a:lnTo>
                  <a:lnTo>
                    <a:pt x="2746" y="1900"/>
                  </a:lnTo>
                  <a:lnTo>
                    <a:pt x="2758" y="1902"/>
                  </a:lnTo>
                  <a:lnTo>
                    <a:pt x="2769" y="1906"/>
                  </a:lnTo>
                  <a:lnTo>
                    <a:pt x="2780" y="1910"/>
                  </a:lnTo>
                  <a:lnTo>
                    <a:pt x="2791" y="1915"/>
                  </a:lnTo>
                  <a:lnTo>
                    <a:pt x="2800" y="1921"/>
                  </a:lnTo>
                  <a:lnTo>
                    <a:pt x="2809" y="1928"/>
                  </a:lnTo>
                  <a:lnTo>
                    <a:pt x="2817" y="1936"/>
                  </a:lnTo>
                  <a:lnTo>
                    <a:pt x="2825" y="1944"/>
                  </a:lnTo>
                  <a:lnTo>
                    <a:pt x="2832" y="1953"/>
                  </a:lnTo>
                  <a:lnTo>
                    <a:pt x="2838" y="1963"/>
                  </a:lnTo>
                  <a:lnTo>
                    <a:pt x="2845" y="1974"/>
                  </a:lnTo>
                  <a:lnTo>
                    <a:pt x="3216" y="2706"/>
                  </a:lnTo>
                  <a:lnTo>
                    <a:pt x="3221" y="2717"/>
                  </a:lnTo>
                  <a:lnTo>
                    <a:pt x="3225" y="2727"/>
                  </a:lnTo>
                  <a:lnTo>
                    <a:pt x="3229" y="2739"/>
                  </a:lnTo>
                  <a:lnTo>
                    <a:pt x="3231" y="2751"/>
                  </a:lnTo>
                  <a:lnTo>
                    <a:pt x="3232" y="2762"/>
                  </a:lnTo>
                  <a:lnTo>
                    <a:pt x="3233" y="2773"/>
                  </a:lnTo>
                  <a:lnTo>
                    <a:pt x="3232" y="2784"/>
                  </a:lnTo>
                  <a:lnTo>
                    <a:pt x="3230" y="2795"/>
                  </a:lnTo>
                  <a:lnTo>
                    <a:pt x="3227" y="2806"/>
                  </a:lnTo>
                  <a:lnTo>
                    <a:pt x="3223" y="2818"/>
                  </a:lnTo>
                  <a:lnTo>
                    <a:pt x="3218" y="2829"/>
                  </a:lnTo>
                  <a:lnTo>
                    <a:pt x="3212" y="2839"/>
                  </a:lnTo>
                  <a:lnTo>
                    <a:pt x="3204" y="2850"/>
                  </a:lnTo>
                  <a:lnTo>
                    <a:pt x="3194" y="2860"/>
                  </a:lnTo>
                  <a:lnTo>
                    <a:pt x="3184" y="2871"/>
                  </a:lnTo>
                  <a:lnTo>
                    <a:pt x="3173" y="2881"/>
                  </a:lnTo>
                  <a:lnTo>
                    <a:pt x="2643" y="3304"/>
                  </a:lnTo>
                  <a:lnTo>
                    <a:pt x="2638" y="3307"/>
                  </a:lnTo>
                  <a:lnTo>
                    <a:pt x="2633" y="3310"/>
                  </a:lnTo>
                  <a:lnTo>
                    <a:pt x="2629" y="3312"/>
                  </a:lnTo>
                  <a:lnTo>
                    <a:pt x="2624" y="3314"/>
                  </a:lnTo>
                  <a:lnTo>
                    <a:pt x="2619" y="3315"/>
                  </a:lnTo>
                  <a:lnTo>
                    <a:pt x="2613" y="3316"/>
                  </a:lnTo>
                  <a:lnTo>
                    <a:pt x="2608" y="3316"/>
                  </a:lnTo>
                  <a:lnTo>
                    <a:pt x="2603" y="3315"/>
                  </a:lnTo>
                  <a:lnTo>
                    <a:pt x="2598" y="3314"/>
                  </a:lnTo>
                  <a:lnTo>
                    <a:pt x="2593" y="3313"/>
                  </a:lnTo>
                  <a:lnTo>
                    <a:pt x="2588" y="3311"/>
                  </a:lnTo>
                  <a:lnTo>
                    <a:pt x="2584" y="3308"/>
                  </a:lnTo>
                  <a:lnTo>
                    <a:pt x="2580" y="3305"/>
                  </a:lnTo>
                  <a:lnTo>
                    <a:pt x="2576" y="3302"/>
                  </a:lnTo>
                  <a:lnTo>
                    <a:pt x="2573" y="3297"/>
                  </a:lnTo>
                  <a:lnTo>
                    <a:pt x="2570" y="3292"/>
                  </a:lnTo>
                  <a:close/>
                  <a:moveTo>
                    <a:pt x="3494" y="1498"/>
                  </a:moveTo>
                  <a:lnTo>
                    <a:pt x="2227" y="1688"/>
                  </a:lnTo>
                  <a:lnTo>
                    <a:pt x="2222" y="1688"/>
                  </a:lnTo>
                  <a:lnTo>
                    <a:pt x="2216" y="1688"/>
                  </a:lnTo>
                  <a:lnTo>
                    <a:pt x="2211" y="1687"/>
                  </a:lnTo>
                  <a:lnTo>
                    <a:pt x="2206" y="1686"/>
                  </a:lnTo>
                  <a:lnTo>
                    <a:pt x="2202" y="1684"/>
                  </a:lnTo>
                  <a:lnTo>
                    <a:pt x="2198" y="1681"/>
                  </a:lnTo>
                  <a:lnTo>
                    <a:pt x="2194" y="1678"/>
                  </a:lnTo>
                  <a:lnTo>
                    <a:pt x="2190" y="1675"/>
                  </a:lnTo>
                  <a:lnTo>
                    <a:pt x="2187" y="1671"/>
                  </a:lnTo>
                  <a:lnTo>
                    <a:pt x="2183" y="1667"/>
                  </a:lnTo>
                  <a:lnTo>
                    <a:pt x="2181" y="1661"/>
                  </a:lnTo>
                  <a:lnTo>
                    <a:pt x="2179" y="1657"/>
                  </a:lnTo>
                  <a:lnTo>
                    <a:pt x="2177" y="1652"/>
                  </a:lnTo>
                  <a:lnTo>
                    <a:pt x="2176" y="1646"/>
                  </a:lnTo>
                  <a:lnTo>
                    <a:pt x="2176" y="1641"/>
                  </a:lnTo>
                  <a:lnTo>
                    <a:pt x="2176" y="1635"/>
                  </a:lnTo>
                  <a:lnTo>
                    <a:pt x="2213" y="959"/>
                  </a:lnTo>
                  <a:lnTo>
                    <a:pt x="2214" y="944"/>
                  </a:lnTo>
                  <a:lnTo>
                    <a:pt x="2217" y="929"/>
                  </a:lnTo>
                  <a:lnTo>
                    <a:pt x="2220" y="915"/>
                  </a:lnTo>
                  <a:lnTo>
                    <a:pt x="2224" y="903"/>
                  </a:lnTo>
                  <a:lnTo>
                    <a:pt x="2229" y="892"/>
                  </a:lnTo>
                  <a:lnTo>
                    <a:pt x="2235" y="881"/>
                  </a:lnTo>
                  <a:lnTo>
                    <a:pt x="2241" y="871"/>
                  </a:lnTo>
                  <a:lnTo>
                    <a:pt x="2250" y="862"/>
                  </a:lnTo>
                  <a:lnTo>
                    <a:pt x="2257" y="854"/>
                  </a:lnTo>
                  <a:lnTo>
                    <a:pt x="2266" y="847"/>
                  </a:lnTo>
                  <a:lnTo>
                    <a:pt x="2275" y="841"/>
                  </a:lnTo>
                  <a:lnTo>
                    <a:pt x="2285" y="836"/>
                  </a:lnTo>
                  <a:lnTo>
                    <a:pt x="2296" y="831"/>
                  </a:lnTo>
                  <a:lnTo>
                    <a:pt x="2307" y="827"/>
                  </a:lnTo>
                  <a:lnTo>
                    <a:pt x="2319" y="824"/>
                  </a:lnTo>
                  <a:lnTo>
                    <a:pt x="2331" y="822"/>
                  </a:lnTo>
                  <a:lnTo>
                    <a:pt x="3142" y="700"/>
                  </a:lnTo>
                  <a:lnTo>
                    <a:pt x="3154" y="699"/>
                  </a:lnTo>
                  <a:lnTo>
                    <a:pt x="3166" y="699"/>
                  </a:lnTo>
                  <a:lnTo>
                    <a:pt x="3177" y="699"/>
                  </a:lnTo>
                  <a:lnTo>
                    <a:pt x="3189" y="700"/>
                  </a:lnTo>
                  <a:lnTo>
                    <a:pt x="3200" y="702"/>
                  </a:lnTo>
                  <a:lnTo>
                    <a:pt x="3211" y="706"/>
                  </a:lnTo>
                  <a:lnTo>
                    <a:pt x="3222" y="710"/>
                  </a:lnTo>
                  <a:lnTo>
                    <a:pt x="3232" y="715"/>
                  </a:lnTo>
                  <a:lnTo>
                    <a:pt x="3241" y="721"/>
                  </a:lnTo>
                  <a:lnTo>
                    <a:pt x="3250" y="728"/>
                  </a:lnTo>
                  <a:lnTo>
                    <a:pt x="3259" y="737"/>
                  </a:lnTo>
                  <a:lnTo>
                    <a:pt x="3268" y="746"/>
                  </a:lnTo>
                  <a:lnTo>
                    <a:pt x="3275" y="758"/>
                  </a:lnTo>
                  <a:lnTo>
                    <a:pt x="3282" y="769"/>
                  </a:lnTo>
                  <a:lnTo>
                    <a:pt x="3289" y="782"/>
                  </a:lnTo>
                  <a:lnTo>
                    <a:pt x="3294" y="796"/>
                  </a:lnTo>
                  <a:lnTo>
                    <a:pt x="3529" y="1433"/>
                  </a:lnTo>
                  <a:lnTo>
                    <a:pt x="3530" y="1438"/>
                  </a:lnTo>
                  <a:lnTo>
                    <a:pt x="3531" y="1443"/>
                  </a:lnTo>
                  <a:lnTo>
                    <a:pt x="3532" y="1449"/>
                  </a:lnTo>
                  <a:lnTo>
                    <a:pt x="3532" y="1454"/>
                  </a:lnTo>
                  <a:lnTo>
                    <a:pt x="3531" y="1459"/>
                  </a:lnTo>
                  <a:lnTo>
                    <a:pt x="3530" y="1464"/>
                  </a:lnTo>
                  <a:lnTo>
                    <a:pt x="3529" y="1469"/>
                  </a:lnTo>
                  <a:lnTo>
                    <a:pt x="3527" y="1474"/>
                  </a:lnTo>
                  <a:lnTo>
                    <a:pt x="3525" y="1478"/>
                  </a:lnTo>
                  <a:lnTo>
                    <a:pt x="3522" y="1483"/>
                  </a:lnTo>
                  <a:lnTo>
                    <a:pt x="3518" y="1487"/>
                  </a:lnTo>
                  <a:lnTo>
                    <a:pt x="3515" y="1490"/>
                  </a:lnTo>
                  <a:lnTo>
                    <a:pt x="3510" y="1493"/>
                  </a:lnTo>
                  <a:lnTo>
                    <a:pt x="3506" y="1495"/>
                  </a:lnTo>
                  <a:lnTo>
                    <a:pt x="3501" y="1497"/>
                  </a:lnTo>
                  <a:lnTo>
                    <a:pt x="3494" y="1498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2813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Вертикальный заголовок и текст"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4715" y="2028092"/>
            <a:ext cx="7401315" cy="4829908"/>
          </a:xfrm>
          <a:prstGeom prst="rect">
            <a:avLst/>
          </a:prstGeom>
        </p:spPr>
      </p:pic>
      <p:grpSp>
        <p:nvGrpSpPr>
          <p:cNvPr id="7" name="Группа 6"/>
          <p:cNvGrpSpPr/>
          <p:nvPr userDrawn="1"/>
        </p:nvGrpSpPr>
        <p:grpSpPr>
          <a:xfrm>
            <a:off x="531416" y="487363"/>
            <a:ext cx="2332038" cy="455612"/>
            <a:chOff x="490538" y="487363"/>
            <a:chExt cx="2152650" cy="455612"/>
          </a:xfrm>
        </p:grpSpPr>
        <p:sp>
          <p:nvSpPr>
            <p:cNvPr id="8" name="Freeform 5"/>
            <p:cNvSpPr>
              <a:spLocks noEditPoints="1"/>
            </p:cNvSpPr>
            <p:nvPr userDrawn="1"/>
          </p:nvSpPr>
          <p:spPr bwMode="auto">
            <a:xfrm>
              <a:off x="1144588" y="590550"/>
              <a:ext cx="1498600" cy="247650"/>
            </a:xfrm>
            <a:custGeom>
              <a:avLst/>
              <a:gdLst>
                <a:gd name="T0" fmla="*/ 2465 w 11327"/>
                <a:gd name="T1" fmla="*/ 803 h 1868"/>
                <a:gd name="T2" fmla="*/ 2667 w 11327"/>
                <a:gd name="T3" fmla="*/ 466 h 1868"/>
                <a:gd name="T4" fmla="*/ 3049 w 11327"/>
                <a:gd name="T5" fmla="*/ 345 h 1868"/>
                <a:gd name="T6" fmla="*/ 3430 w 11327"/>
                <a:gd name="T7" fmla="*/ 466 h 1868"/>
                <a:gd name="T8" fmla="*/ 3632 w 11327"/>
                <a:gd name="T9" fmla="*/ 803 h 1868"/>
                <a:gd name="T10" fmla="*/ 3574 w 11327"/>
                <a:gd name="T11" fmla="*/ 1233 h 1868"/>
                <a:gd name="T12" fmla="*/ 3284 w 11327"/>
                <a:gd name="T13" fmla="*/ 1483 h 1868"/>
                <a:gd name="T14" fmla="*/ 2870 w 11327"/>
                <a:gd name="T15" fmla="*/ 1500 h 1868"/>
                <a:gd name="T16" fmla="*/ 2553 w 11327"/>
                <a:gd name="T17" fmla="*/ 1281 h 1868"/>
                <a:gd name="T18" fmla="*/ 4046 w 11327"/>
                <a:gd name="T19" fmla="*/ 882 h 1868"/>
                <a:gd name="T20" fmla="*/ 3784 w 11327"/>
                <a:gd name="T21" fmla="*/ 289 h 1868"/>
                <a:gd name="T22" fmla="*/ 3199 w 11327"/>
                <a:gd name="T23" fmla="*/ 10 h 1868"/>
                <a:gd name="T24" fmla="*/ 2536 w 11327"/>
                <a:gd name="T25" fmla="*/ 125 h 1868"/>
                <a:gd name="T26" fmla="*/ 2113 w 11327"/>
                <a:gd name="T27" fmla="*/ 595 h 1868"/>
                <a:gd name="T28" fmla="*/ 2113 w 11327"/>
                <a:gd name="T29" fmla="*/ 1273 h 1868"/>
                <a:gd name="T30" fmla="*/ 2536 w 11327"/>
                <a:gd name="T31" fmla="*/ 1743 h 1868"/>
                <a:gd name="T32" fmla="*/ 3199 w 11327"/>
                <a:gd name="T33" fmla="*/ 1858 h 1868"/>
                <a:gd name="T34" fmla="*/ 3784 w 11327"/>
                <a:gd name="T35" fmla="*/ 1579 h 1868"/>
                <a:gd name="T36" fmla="*/ 4046 w 11327"/>
                <a:gd name="T37" fmla="*/ 985 h 1868"/>
                <a:gd name="T38" fmla="*/ 4444 w 11327"/>
                <a:gd name="T39" fmla="*/ 1443 h 1868"/>
                <a:gd name="T40" fmla="*/ 4540 w 11327"/>
                <a:gd name="T41" fmla="*/ 1808 h 1868"/>
                <a:gd name="T42" fmla="*/ 4811 w 11327"/>
                <a:gd name="T43" fmla="*/ 1650 h 1868"/>
                <a:gd name="T44" fmla="*/ 5796 w 11327"/>
                <a:gd name="T45" fmla="*/ 403 h 1868"/>
                <a:gd name="T46" fmla="*/ 7304 w 11327"/>
                <a:gd name="T47" fmla="*/ 1292 h 1868"/>
                <a:gd name="T48" fmla="*/ 7673 w 11327"/>
                <a:gd name="T49" fmla="*/ 1730 h 1868"/>
                <a:gd name="T50" fmla="*/ 8267 w 11327"/>
                <a:gd name="T51" fmla="*/ 1867 h 1868"/>
                <a:gd name="T52" fmla="*/ 8871 w 11327"/>
                <a:gd name="T53" fmla="*/ 1653 h 1868"/>
                <a:gd name="T54" fmla="*/ 9178 w 11327"/>
                <a:gd name="T55" fmla="*/ 1094 h 1868"/>
                <a:gd name="T56" fmla="*/ 9049 w 11327"/>
                <a:gd name="T57" fmla="*/ 414 h 1868"/>
                <a:gd name="T58" fmla="*/ 8552 w 11327"/>
                <a:gd name="T59" fmla="*/ 48 h 1868"/>
                <a:gd name="T60" fmla="*/ 7924 w 11327"/>
                <a:gd name="T61" fmla="*/ 36 h 1868"/>
                <a:gd name="T62" fmla="*/ 7459 w 11327"/>
                <a:gd name="T63" fmla="*/ 313 h 1868"/>
                <a:gd name="T64" fmla="*/ 6585 w 11327"/>
                <a:gd name="T65" fmla="*/ 42 h 1868"/>
                <a:gd name="T66" fmla="*/ 7740 w 11327"/>
                <a:gd name="T67" fmla="*/ 563 h 1868"/>
                <a:gd name="T68" fmla="*/ 8053 w 11327"/>
                <a:gd name="T69" fmla="*/ 361 h 1868"/>
                <a:gd name="T70" fmla="*/ 8492 w 11327"/>
                <a:gd name="T71" fmla="*/ 396 h 1868"/>
                <a:gd name="T72" fmla="*/ 8744 w 11327"/>
                <a:gd name="T73" fmla="*/ 660 h 1868"/>
                <a:gd name="T74" fmla="*/ 8775 w 11327"/>
                <a:gd name="T75" fmla="*/ 1095 h 1868"/>
                <a:gd name="T76" fmla="*/ 8585 w 11327"/>
                <a:gd name="T77" fmla="*/ 1418 h 1868"/>
                <a:gd name="T78" fmla="*/ 8182 w 11327"/>
                <a:gd name="T79" fmla="*/ 1522 h 1868"/>
                <a:gd name="T80" fmla="*/ 7807 w 11327"/>
                <a:gd name="T81" fmla="*/ 1385 h 1868"/>
                <a:gd name="T82" fmla="*/ 7649 w 11327"/>
                <a:gd name="T83" fmla="*/ 1033 h 1868"/>
                <a:gd name="T84" fmla="*/ 11121 w 11327"/>
                <a:gd name="T85" fmla="*/ 228 h 1868"/>
                <a:gd name="T86" fmla="*/ 10716 w 11327"/>
                <a:gd name="T87" fmla="*/ 30 h 1868"/>
                <a:gd name="T88" fmla="*/ 10126 w 11327"/>
                <a:gd name="T89" fmla="*/ 37 h 1868"/>
                <a:gd name="T90" fmla="*/ 9598 w 11327"/>
                <a:gd name="T91" fmla="*/ 385 h 1868"/>
                <a:gd name="T92" fmla="*/ 9435 w 11327"/>
                <a:gd name="T93" fmla="*/ 1039 h 1868"/>
                <a:gd name="T94" fmla="*/ 9714 w 11327"/>
                <a:gd name="T95" fmla="*/ 1617 h 1868"/>
                <a:gd name="T96" fmla="*/ 10320 w 11327"/>
                <a:gd name="T97" fmla="*/ 1863 h 1868"/>
                <a:gd name="T98" fmla="*/ 10845 w 11327"/>
                <a:gd name="T99" fmla="*/ 1799 h 1868"/>
                <a:gd name="T100" fmla="*/ 11211 w 11327"/>
                <a:gd name="T101" fmla="*/ 1551 h 1868"/>
                <a:gd name="T102" fmla="*/ 10919 w 11327"/>
                <a:gd name="T103" fmla="*/ 1325 h 1868"/>
                <a:gd name="T104" fmla="*/ 10676 w 11327"/>
                <a:gd name="T105" fmla="*/ 1473 h 1868"/>
                <a:gd name="T106" fmla="*/ 10324 w 11327"/>
                <a:gd name="T107" fmla="*/ 1504 h 1868"/>
                <a:gd name="T108" fmla="*/ 9975 w 11327"/>
                <a:gd name="T109" fmla="*/ 1332 h 1868"/>
                <a:gd name="T110" fmla="*/ 9831 w 11327"/>
                <a:gd name="T111" fmla="*/ 966 h 1868"/>
                <a:gd name="T112" fmla="*/ 9938 w 11327"/>
                <a:gd name="T113" fmla="*/ 575 h 1868"/>
                <a:gd name="T114" fmla="*/ 10261 w 11327"/>
                <a:gd name="T115" fmla="*/ 373 h 1868"/>
                <a:gd name="T116" fmla="*/ 10634 w 11327"/>
                <a:gd name="T117" fmla="*/ 382 h 1868"/>
                <a:gd name="T118" fmla="*/ 10890 w 11327"/>
                <a:gd name="T119" fmla="*/ 515 h 1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27" h="1868">
                  <a:moveTo>
                    <a:pt x="0" y="42"/>
                  </a:moveTo>
                  <a:lnTo>
                    <a:pt x="0" y="1822"/>
                  </a:lnTo>
                  <a:lnTo>
                    <a:pt x="399" y="1822"/>
                  </a:lnTo>
                  <a:lnTo>
                    <a:pt x="399" y="400"/>
                  </a:lnTo>
                  <a:lnTo>
                    <a:pt x="1352" y="400"/>
                  </a:lnTo>
                  <a:lnTo>
                    <a:pt x="1352" y="1822"/>
                  </a:lnTo>
                  <a:lnTo>
                    <a:pt x="1755" y="1822"/>
                  </a:lnTo>
                  <a:lnTo>
                    <a:pt x="1755" y="42"/>
                  </a:lnTo>
                  <a:lnTo>
                    <a:pt x="0" y="42"/>
                  </a:lnTo>
                  <a:close/>
                  <a:moveTo>
                    <a:pt x="2454" y="933"/>
                  </a:moveTo>
                  <a:lnTo>
                    <a:pt x="2454" y="900"/>
                  </a:lnTo>
                  <a:lnTo>
                    <a:pt x="2457" y="866"/>
                  </a:lnTo>
                  <a:lnTo>
                    <a:pt x="2460" y="835"/>
                  </a:lnTo>
                  <a:lnTo>
                    <a:pt x="2465" y="803"/>
                  </a:lnTo>
                  <a:lnTo>
                    <a:pt x="2472" y="773"/>
                  </a:lnTo>
                  <a:lnTo>
                    <a:pt x="2480" y="743"/>
                  </a:lnTo>
                  <a:lnTo>
                    <a:pt x="2489" y="715"/>
                  </a:lnTo>
                  <a:lnTo>
                    <a:pt x="2499" y="686"/>
                  </a:lnTo>
                  <a:lnTo>
                    <a:pt x="2511" y="660"/>
                  </a:lnTo>
                  <a:lnTo>
                    <a:pt x="2524" y="634"/>
                  </a:lnTo>
                  <a:lnTo>
                    <a:pt x="2538" y="610"/>
                  </a:lnTo>
                  <a:lnTo>
                    <a:pt x="2553" y="586"/>
                  </a:lnTo>
                  <a:lnTo>
                    <a:pt x="2570" y="563"/>
                  </a:lnTo>
                  <a:lnTo>
                    <a:pt x="2588" y="542"/>
                  </a:lnTo>
                  <a:lnTo>
                    <a:pt x="2606" y="521"/>
                  </a:lnTo>
                  <a:lnTo>
                    <a:pt x="2626" y="501"/>
                  </a:lnTo>
                  <a:lnTo>
                    <a:pt x="2646" y="483"/>
                  </a:lnTo>
                  <a:lnTo>
                    <a:pt x="2667" y="466"/>
                  </a:lnTo>
                  <a:lnTo>
                    <a:pt x="2691" y="449"/>
                  </a:lnTo>
                  <a:lnTo>
                    <a:pt x="2713" y="434"/>
                  </a:lnTo>
                  <a:lnTo>
                    <a:pt x="2737" y="420"/>
                  </a:lnTo>
                  <a:lnTo>
                    <a:pt x="2763" y="408"/>
                  </a:lnTo>
                  <a:lnTo>
                    <a:pt x="2788" y="396"/>
                  </a:lnTo>
                  <a:lnTo>
                    <a:pt x="2815" y="385"/>
                  </a:lnTo>
                  <a:lnTo>
                    <a:pt x="2842" y="375"/>
                  </a:lnTo>
                  <a:lnTo>
                    <a:pt x="2870" y="367"/>
                  </a:lnTo>
                  <a:lnTo>
                    <a:pt x="2898" y="361"/>
                  </a:lnTo>
                  <a:lnTo>
                    <a:pt x="2928" y="355"/>
                  </a:lnTo>
                  <a:lnTo>
                    <a:pt x="2957" y="351"/>
                  </a:lnTo>
                  <a:lnTo>
                    <a:pt x="2988" y="347"/>
                  </a:lnTo>
                  <a:lnTo>
                    <a:pt x="3018" y="345"/>
                  </a:lnTo>
                  <a:lnTo>
                    <a:pt x="3049" y="345"/>
                  </a:lnTo>
                  <a:lnTo>
                    <a:pt x="3080" y="345"/>
                  </a:lnTo>
                  <a:lnTo>
                    <a:pt x="3111" y="347"/>
                  </a:lnTo>
                  <a:lnTo>
                    <a:pt x="3141" y="351"/>
                  </a:lnTo>
                  <a:lnTo>
                    <a:pt x="3171" y="355"/>
                  </a:lnTo>
                  <a:lnTo>
                    <a:pt x="3200" y="361"/>
                  </a:lnTo>
                  <a:lnTo>
                    <a:pt x="3229" y="367"/>
                  </a:lnTo>
                  <a:lnTo>
                    <a:pt x="3256" y="375"/>
                  </a:lnTo>
                  <a:lnTo>
                    <a:pt x="3284" y="385"/>
                  </a:lnTo>
                  <a:lnTo>
                    <a:pt x="3310" y="396"/>
                  </a:lnTo>
                  <a:lnTo>
                    <a:pt x="3335" y="408"/>
                  </a:lnTo>
                  <a:lnTo>
                    <a:pt x="3361" y="420"/>
                  </a:lnTo>
                  <a:lnTo>
                    <a:pt x="3384" y="434"/>
                  </a:lnTo>
                  <a:lnTo>
                    <a:pt x="3408" y="449"/>
                  </a:lnTo>
                  <a:lnTo>
                    <a:pt x="3430" y="466"/>
                  </a:lnTo>
                  <a:lnTo>
                    <a:pt x="3452" y="483"/>
                  </a:lnTo>
                  <a:lnTo>
                    <a:pt x="3473" y="501"/>
                  </a:lnTo>
                  <a:lnTo>
                    <a:pt x="3492" y="521"/>
                  </a:lnTo>
                  <a:lnTo>
                    <a:pt x="3510" y="542"/>
                  </a:lnTo>
                  <a:lnTo>
                    <a:pt x="3528" y="563"/>
                  </a:lnTo>
                  <a:lnTo>
                    <a:pt x="3545" y="586"/>
                  </a:lnTo>
                  <a:lnTo>
                    <a:pt x="3560" y="610"/>
                  </a:lnTo>
                  <a:lnTo>
                    <a:pt x="3574" y="634"/>
                  </a:lnTo>
                  <a:lnTo>
                    <a:pt x="3587" y="660"/>
                  </a:lnTo>
                  <a:lnTo>
                    <a:pt x="3599" y="686"/>
                  </a:lnTo>
                  <a:lnTo>
                    <a:pt x="3609" y="715"/>
                  </a:lnTo>
                  <a:lnTo>
                    <a:pt x="3618" y="743"/>
                  </a:lnTo>
                  <a:lnTo>
                    <a:pt x="3626" y="773"/>
                  </a:lnTo>
                  <a:lnTo>
                    <a:pt x="3632" y="803"/>
                  </a:lnTo>
                  <a:lnTo>
                    <a:pt x="3637" y="835"/>
                  </a:lnTo>
                  <a:lnTo>
                    <a:pt x="3642" y="866"/>
                  </a:lnTo>
                  <a:lnTo>
                    <a:pt x="3644" y="900"/>
                  </a:lnTo>
                  <a:lnTo>
                    <a:pt x="3645" y="933"/>
                  </a:lnTo>
                  <a:lnTo>
                    <a:pt x="3644" y="968"/>
                  </a:lnTo>
                  <a:lnTo>
                    <a:pt x="3642" y="1001"/>
                  </a:lnTo>
                  <a:lnTo>
                    <a:pt x="3637" y="1033"/>
                  </a:lnTo>
                  <a:lnTo>
                    <a:pt x="3632" y="1065"/>
                  </a:lnTo>
                  <a:lnTo>
                    <a:pt x="3626" y="1095"/>
                  </a:lnTo>
                  <a:lnTo>
                    <a:pt x="3618" y="1125"/>
                  </a:lnTo>
                  <a:lnTo>
                    <a:pt x="3609" y="1153"/>
                  </a:lnTo>
                  <a:lnTo>
                    <a:pt x="3599" y="1181"/>
                  </a:lnTo>
                  <a:lnTo>
                    <a:pt x="3587" y="1207"/>
                  </a:lnTo>
                  <a:lnTo>
                    <a:pt x="3574" y="1233"/>
                  </a:lnTo>
                  <a:lnTo>
                    <a:pt x="3560" y="1258"/>
                  </a:lnTo>
                  <a:lnTo>
                    <a:pt x="3545" y="1281"/>
                  </a:lnTo>
                  <a:lnTo>
                    <a:pt x="3528" y="1305"/>
                  </a:lnTo>
                  <a:lnTo>
                    <a:pt x="3510" y="1326"/>
                  </a:lnTo>
                  <a:lnTo>
                    <a:pt x="3492" y="1346"/>
                  </a:lnTo>
                  <a:lnTo>
                    <a:pt x="3473" y="1366"/>
                  </a:lnTo>
                  <a:lnTo>
                    <a:pt x="3452" y="1385"/>
                  </a:lnTo>
                  <a:lnTo>
                    <a:pt x="3430" y="1402"/>
                  </a:lnTo>
                  <a:lnTo>
                    <a:pt x="3408" y="1418"/>
                  </a:lnTo>
                  <a:lnTo>
                    <a:pt x="3384" y="1434"/>
                  </a:lnTo>
                  <a:lnTo>
                    <a:pt x="3361" y="1447"/>
                  </a:lnTo>
                  <a:lnTo>
                    <a:pt x="3335" y="1460"/>
                  </a:lnTo>
                  <a:lnTo>
                    <a:pt x="3310" y="1472"/>
                  </a:lnTo>
                  <a:lnTo>
                    <a:pt x="3284" y="1483"/>
                  </a:lnTo>
                  <a:lnTo>
                    <a:pt x="3256" y="1492"/>
                  </a:lnTo>
                  <a:lnTo>
                    <a:pt x="3229" y="1500"/>
                  </a:lnTo>
                  <a:lnTo>
                    <a:pt x="3200" y="1507"/>
                  </a:lnTo>
                  <a:lnTo>
                    <a:pt x="3171" y="1513"/>
                  </a:lnTo>
                  <a:lnTo>
                    <a:pt x="3141" y="1517"/>
                  </a:lnTo>
                  <a:lnTo>
                    <a:pt x="3111" y="1520"/>
                  </a:lnTo>
                  <a:lnTo>
                    <a:pt x="3080" y="1522"/>
                  </a:lnTo>
                  <a:lnTo>
                    <a:pt x="3049" y="1523"/>
                  </a:lnTo>
                  <a:lnTo>
                    <a:pt x="3018" y="1522"/>
                  </a:lnTo>
                  <a:lnTo>
                    <a:pt x="2988" y="1520"/>
                  </a:lnTo>
                  <a:lnTo>
                    <a:pt x="2957" y="1517"/>
                  </a:lnTo>
                  <a:lnTo>
                    <a:pt x="2928" y="1513"/>
                  </a:lnTo>
                  <a:lnTo>
                    <a:pt x="2898" y="1507"/>
                  </a:lnTo>
                  <a:lnTo>
                    <a:pt x="2870" y="1500"/>
                  </a:lnTo>
                  <a:lnTo>
                    <a:pt x="2842" y="1492"/>
                  </a:lnTo>
                  <a:lnTo>
                    <a:pt x="2815" y="1483"/>
                  </a:lnTo>
                  <a:lnTo>
                    <a:pt x="2788" y="1472"/>
                  </a:lnTo>
                  <a:lnTo>
                    <a:pt x="2763" y="1460"/>
                  </a:lnTo>
                  <a:lnTo>
                    <a:pt x="2737" y="1447"/>
                  </a:lnTo>
                  <a:lnTo>
                    <a:pt x="2713" y="1434"/>
                  </a:lnTo>
                  <a:lnTo>
                    <a:pt x="2691" y="1418"/>
                  </a:lnTo>
                  <a:lnTo>
                    <a:pt x="2667" y="1402"/>
                  </a:lnTo>
                  <a:lnTo>
                    <a:pt x="2646" y="1385"/>
                  </a:lnTo>
                  <a:lnTo>
                    <a:pt x="2626" y="1366"/>
                  </a:lnTo>
                  <a:lnTo>
                    <a:pt x="2606" y="1346"/>
                  </a:lnTo>
                  <a:lnTo>
                    <a:pt x="2588" y="1326"/>
                  </a:lnTo>
                  <a:lnTo>
                    <a:pt x="2570" y="1305"/>
                  </a:lnTo>
                  <a:lnTo>
                    <a:pt x="2553" y="1281"/>
                  </a:lnTo>
                  <a:lnTo>
                    <a:pt x="2538" y="1258"/>
                  </a:lnTo>
                  <a:lnTo>
                    <a:pt x="2524" y="1233"/>
                  </a:lnTo>
                  <a:lnTo>
                    <a:pt x="2511" y="1207"/>
                  </a:lnTo>
                  <a:lnTo>
                    <a:pt x="2499" y="1181"/>
                  </a:lnTo>
                  <a:lnTo>
                    <a:pt x="2489" y="1153"/>
                  </a:lnTo>
                  <a:lnTo>
                    <a:pt x="2480" y="1125"/>
                  </a:lnTo>
                  <a:lnTo>
                    <a:pt x="2472" y="1095"/>
                  </a:lnTo>
                  <a:lnTo>
                    <a:pt x="2465" y="1065"/>
                  </a:lnTo>
                  <a:lnTo>
                    <a:pt x="2460" y="1033"/>
                  </a:lnTo>
                  <a:lnTo>
                    <a:pt x="2457" y="1001"/>
                  </a:lnTo>
                  <a:lnTo>
                    <a:pt x="2454" y="968"/>
                  </a:lnTo>
                  <a:lnTo>
                    <a:pt x="2454" y="933"/>
                  </a:lnTo>
                  <a:close/>
                  <a:moveTo>
                    <a:pt x="4047" y="933"/>
                  </a:moveTo>
                  <a:lnTo>
                    <a:pt x="4046" y="882"/>
                  </a:lnTo>
                  <a:lnTo>
                    <a:pt x="4042" y="831"/>
                  </a:lnTo>
                  <a:lnTo>
                    <a:pt x="4035" y="781"/>
                  </a:lnTo>
                  <a:lnTo>
                    <a:pt x="4026" y="733"/>
                  </a:lnTo>
                  <a:lnTo>
                    <a:pt x="4015" y="685"/>
                  </a:lnTo>
                  <a:lnTo>
                    <a:pt x="4002" y="640"/>
                  </a:lnTo>
                  <a:lnTo>
                    <a:pt x="3985" y="595"/>
                  </a:lnTo>
                  <a:lnTo>
                    <a:pt x="3967" y="551"/>
                  </a:lnTo>
                  <a:lnTo>
                    <a:pt x="3947" y="509"/>
                  </a:lnTo>
                  <a:lnTo>
                    <a:pt x="3924" y="469"/>
                  </a:lnTo>
                  <a:lnTo>
                    <a:pt x="3900" y="430"/>
                  </a:lnTo>
                  <a:lnTo>
                    <a:pt x="3874" y="392"/>
                  </a:lnTo>
                  <a:lnTo>
                    <a:pt x="3846" y="356"/>
                  </a:lnTo>
                  <a:lnTo>
                    <a:pt x="3815" y="321"/>
                  </a:lnTo>
                  <a:lnTo>
                    <a:pt x="3784" y="289"/>
                  </a:lnTo>
                  <a:lnTo>
                    <a:pt x="3751" y="257"/>
                  </a:lnTo>
                  <a:lnTo>
                    <a:pt x="3716" y="227"/>
                  </a:lnTo>
                  <a:lnTo>
                    <a:pt x="3679" y="199"/>
                  </a:lnTo>
                  <a:lnTo>
                    <a:pt x="3642" y="173"/>
                  </a:lnTo>
                  <a:lnTo>
                    <a:pt x="3603" y="147"/>
                  </a:lnTo>
                  <a:lnTo>
                    <a:pt x="3562" y="125"/>
                  </a:lnTo>
                  <a:lnTo>
                    <a:pt x="3521" y="104"/>
                  </a:lnTo>
                  <a:lnTo>
                    <a:pt x="3477" y="84"/>
                  </a:lnTo>
                  <a:lnTo>
                    <a:pt x="3433" y="67"/>
                  </a:lnTo>
                  <a:lnTo>
                    <a:pt x="3388" y="52"/>
                  </a:lnTo>
                  <a:lnTo>
                    <a:pt x="3342" y="39"/>
                  </a:lnTo>
                  <a:lnTo>
                    <a:pt x="3295" y="26"/>
                  </a:lnTo>
                  <a:lnTo>
                    <a:pt x="3247" y="17"/>
                  </a:lnTo>
                  <a:lnTo>
                    <a:pt x="3199" y="10"/>
                  </a:lnTo>
                  <a:lnTo>
                    <a:pt x="3149" y="4"/>
                  </a:lnTo>
                  <a:lnTo>
                    <a:pt x="3099" y="1"/>
                  </a:lnTo>
                  <a:lnTo>
                    <a:pt x="3049" y="0"/>
                  </a:lnTo>
                  <a:lnTo>
                    <a:pt x="2999" y="1"/>
                  </a:lnTo>
                  <a:lnTo>
                    <a:pt x="2949" y="4"/>
                  </a:lnTo>
                  <a:lnTo>
                    <a:pt x="2899" y="10"/>
                  </a:lnTo>
                  <a:lnTo>
                    <a:pt x="2851" y="17"/>
                  </a:lnTo>
                  <a:lnTo>
                    <a:pt x="2804" y="26"/>
                  </a:lnTo>
                  <a:lnTo>
                    <a:pt x="2756" y="39"/>
                  </a:lnTo>
                  <a:lnTo>
                    <a:pt x="2710" y="52"/>
                  </a:lnTo>
                  <a:lnTo>
                    <a:pt x="2665" y="67"/>
                  </a:lnTo>
                  <a:lnTo>
                    <a:pt x="2620" y="84"/>
                  </a:lnTo>
                  <a:lnTo>
                    <a:pt x="2578" y="104"/>
                  </a:lnTo>
                  <a:lnTo>
                    <a:pt x="2536" y="125"/>
                  </a:lnTo>
                  <a:lnTo>
                    <a:pt x="2495" y="147"/>
                  </a:lnTo>
                  <a:lnTo>
                    <a:pt x="2457" y="173"/>
                  </a:lnTo>
                  <a:lnTo>
                    <a:pt x="2418" y="199"/>
                  </a:lnTo>
                  <a:lnTo>
                    <a:pt x="2382" y="227"/>
                  </a:lnTo>
                  <a:lnTo>
                    <a:pt x="2347" y="257"/>
                  </a:lnTo>
                  <a:lnTo>
                    <a:pt x="2313" y="289"/>
                  </a:lnTo>
                  <a:lnTo>
                    <a:pt x="2282" y="321"/>
                  </a:lnTo>
                  <a:lnTo>
                    <a:pt x="2252" y="356"/>
                  </a:lnTo>
                  <a:lnTo>
                    <a:pt x="2224" y="392"/>
                  </a:lnTo>
                  <a:lnTo>
                    <a:pt x="2197" y="430"/>
                  </a:lnTo>
                  <a:lnTo>
                    <a:pt x="2173" y="469"/>
                  </a:lnTo>
                  <a:lnTo>
                    <a:pt x="2152" y="509"/>
                  </a:lnTo>
                  <a:lnTo>
                    <a:pt x="2131" y="551"/>
                  </a:lnTo>
                  <a:lnTo>
                    <a:pt x="2113" y="595"/>
                  </a:lnTo>
                  <a:lnTo>
                    <a:pt x="2097" y="640"/>
                  </a:lnTo>
                  <a:lnTo>
                    <a:pt x="2083" y="685"/>
                  </a:lnTo>
                  <a:lnTo>
                    <a:pt x="2071" y="733"/>
                  </a:lnTo>
                  <a:lnTo>
                    <a:pt x="2063" y="781"/>
                  </a:lnTo>
                  <a:lnTo>
                    <a:pt x="2056" y="831"/>
                  </a:lnTo>
                  <a:lnTo>
                    <a:pt x="2052" y="882"/>
                  </a:lnTo>
                  <a:lnTo>
                    <a:pt x="2051" y="933"/>
                  </a:lnTo>
                  <a:lnTo>
                    <a:pt x="2052" y="985"/>
                  </a:lnTo>
                  <a:lnTo>
                    <a:pt x="2056" y="1036"/>
                  </a:lnTo>
                  <a:lnTo>
                    <a:pt x="2063" y="1086"/>
                  </a:lnTo>
                  <a:lnTo>
                    <a:pt x="2071" y="1135"/>
                  </a:lnTo>
                  <a:lnTo>
                    <a:pt x="2083" y="1182"/>
                  </a:lnTo>
                  <a:lnTo>
                    <a:pt x="2097" y="1228"/>
                  </a:lnTo>
                  <a:lnTo>
                    <a:pt x="2113" y="1273"/>
                  </a:lnTo>
                  <a:lnTo>
                    <a:pt x="2131" y="1316"/>
                  </a:lnTo>
                  <a:lnTo>
                    <a:pt x="2152" y="1357"/>
                  </a:lnTo>
                  <a:lnTo>
                    <a:pt x="2173" y="1398"/>
                  </a:lnTo>
                  <a:lnTo>
                    <a:pt x="2197" y="1438"/>
                  </a:lnTo>
                  <a:lnTo>
                    <a:pt x="2224" y="1475"/>
                  </a:lnTo>
                  <a:lnTo>
                    <a:pt x="2252" y="1512"/>
                  </a:lnTo>
                  <a:lnTo>
                    <a:pt x="2282" y="1547"/>
                  </a:lnTo>
                  <a:lnTo>
                    <a:pt x="2313" y="1579"/>
                  </a:lnTo>
                  <a:lnTo>
                    <a:pt x="2347" y="1611"/>
                  </a:lnTo>
                  <a:lnTo>
                    <a:pt x="2382" y="1640"/>
                  </a:lnTo>
                  <a:lnTo>
                    <a:pt x="2418" y="1669"/>
                  </a:lnTo>
                  <a:lnTo>
                    <a:pt x="2457" y="1695"/>
                  </a:lnTo>
                  <a:lnTo>
                    <a:pt x="2495" y="1719"/>
                  </a:lnTo>
                  <a:lnTo>
                    <a:pt x="2536" y="1743"/>
                  </a:lnTo>
                  <a:lnTo>
                    <a:pt x="2578" y="1764"/>
                  </a:lnTo>
                  <a:lnTo>
                    <a:pt x="2620" y="1782"/>
                  </a:lnTo>
                  <a:lnTo>
                    <a:pt x="2665" y="1801"/>
                  </a:lnTo>
                  <a:lnTo>
                    <a:pt x="2710" y="1816"/>
                  </a:lnTo>
                  <a:lnTo>
                    <a:pt x="2756" y="1829"/>
                  </a:lnTo>
                  <a:lnTo>
                    <a:pt x="2804" y="1840"/>
                  </a:lnTo>
                  <a:lnTo>
                    <a:pt x="2851" y="1851"/>
                  </a:lnTo>
                  <a:lnTo>
                    <a:pt x="2899" y="1858"/>
                  </a:lnTo>
                  <a:lnTo>
                    <a:pt x="2949" y="1863"/>
                  </a:lnTo>
                  <a:lnTo>
                    <a:pt x="2999" y="1866"/>
                  </a:lnTo>
                  <a:lnTo>
                    <a:pt x="3049" y="1868"/>
                  </a:lnTo>
                  <a:lnTo>
                    <a:pt x="3099" y="1866"/>
                  </a:lnTo>
                  <a:lnTo>
                    <a:pt x="3149" y="1863"/>
                  </a:lnTo>
                  <a:lnTo>
                    <a:pt x="3199" y="1858"/>
                  </a:lnTo>
                  <a:lnTo>
                    <a:pt x="3247" y="1851"/>
                  </a:lnTo>
                  <a:lnTo>
                    <a:pt x="3295" y="1840"/>
                  </a:lnTo>
                  <a:lnTo>
                    <a:pt x="3342" y="1829"/>
                  </a:lnTo>
                  <a:lnTo>
                    <a:pt x="3388" y="1816"/>
                  </a:lnTo>
                  <a:lnTo>
                    <a:pt x="3433" y="1801"/>
                  </a:lnTo>
                  <a:lnTo>
                    <a:pt x="3477" y="1782"/>
                  </a:lnTo>
                  <a:lnTo>
                    <a:pt x="3521" y="1764"/>
                  </a:lnTo>
                  <a:lnTo>
                    <a:pt x="3562" y="1743"/>
                  </a:lnTo>
                  <a:lnTo>
                    <a:pt x="3603" y="1719"/>
                  </a:lnTo>
                  <a:lnTo>
                    <a:pt x="3642" y="1695"/>
                  </a:lnTo>
                  <a:lnTo>
                    <a:pt x="3679" y="1669"/>
                  </a:lnTo>
                  <a:lnTo>
                    <a:pt x="3716" y="1640"/>
                  </a:lnTo>
                  <a:lnTo>
                    <a:pt x="3751" y="1611"/>
                  </a:lnTo>
                  <a:lnTo>
                    <a:pt x="3784" y="1579"/>
                  </a:lnTo>
                  <a:lnTo>
                    <a:pt x="3815" y="1547"/>
                  </a:lnTo>
                  <a:lnTo>
                    <a:pt x="3846" y="1512"/>
                  </a:lnTo>
                  <a:lnTo>
                    <a:pt x="3874" y="1475"/>
                  </a:lnTo>
                  <a:lnTo>
                    <a:pt x="3900" y="1438"/>
                  </a:lnTo>
                  <a:lnTo>
                    <a:pt x="3924" y="1398"/>
                  </a:lnTo>
                  <a:lnTo>
                    <a:pt x="3947" y="1357"/>
                  </a:lnTo>
                  <a:lnTo>
                    <a:pt x="3967" y="1316"/>
                  </a:lnTo>
                  <a:lnTo>
                    <a:pt x="3985" y="1273"/>
                  </a:lnTo>
                  <a:lnTo>
                    <a:pt x="4002" y="1228"/>
                  </a:lnTo>
                  <a:lnTo>
                    <a:pt x="4015" y="1182"/>
                  </a:lnTo>
                  <a:lnTo>
                    <a:pt x="4026" y="1135"/>
                  </a:lnTo>
                  <a:lnTo>
                    <a:pt x="4035" y="1086"/>
                  </a:lnTo>
                  <a:lnTo>
                    <a:pt x="4042" y="1036"/>
                  </a:lnTo>
                  <a:lnTo>
                    <a:pt x="4046" y="985"/>
                  </a:lnTo>
                  <a:lnTo>
                    <a:pt x="4047" y="933"/>
                  </a:lnTo>
                  <a:close/>
                  <a:moveTo>
                    <a:pt x="4779" y="42"/>
                  </a:moveTo>
                  <a:lnTo>
                    <a:pt x="4540" y="1317"/>
                  </a:lnTo>
                  <a:lnTo>
                    <a:pt x="4535" y="1334"/>
                  </a:lnTo>
                  <a:lnTo>
                    <a:pt x="4530" y="1350"/>
                  </a:lnTo>
                  <a:lnTo>
                    <a:pt x="4524" y="1366"/>
                  </a:lnTo>
                  <a:lnTo>
                    <a:pt x="4517" y="1379"/>
                  </a:lnTo>
                  <a:lnTo>
                    <a:pt x="4510" y="1392"/>
                  </a:lnTo>
                  <a:lnTo>
                    <a:pt x="4501" y="1403"/>
                  </a:lnTo>
                  <a:lnTo>
                    <a:pt x="4491" y="1413"/>
                  </a:lnTo>
                  <a:lnTo>
                    <a:pt x="4481" y="1423"/>
                  </a:lnTo>
                  <a:lnTo>
                    <a:pt x="4469" y="1431"/>
                  </a:lnTo>
                  <a:lnTo>
                    <a:pt x="4457" y="1437"/>
                  </a:lnTo>
                  <a:lnTo>
                    <a:pt x="4444" y="1443"/>
                  </a:lnTo>
                  <a:lnTo>
                    <a:pt x="4430" y="1447"/>
                  </a:lnTo>
                  <a:lnTo>
                    <a:pt x="4415" y="1451"/>
                  </a:lnTo>
                  <a:lnTo>
                    <a:pt x="4399" y="1453"/>
                  </a:lnTo>
                  <a:lnTo>
                    <a:pt x="4383" y="1455"/>
                  </a:lnTo>
                  <a:lnTo>
                    <a:pt x="4366" y="1455"/>
                  </a:lnTo>
                  <a:lnTo>
                    <a:pt x="4172" y="1455"/>
                  </a:lnTo>
                  <a:lnTo>
                    <a:pt x="4172" y="1822"/>
                  </a:lnTo>
                  <a:lnTo>
                    <a:pt x="4385" y="1822"/>
                  </a:lnTo>
                  <a:lnTo>
                    <a:pt x="4412" y="1822"/>
                  </a:lnTo>
                  <a:lnTo>
                    <a:pt x="4439" y="1821"/>
                  </a:lnTo>
                  <a:lnTo>
                    <a:pt x="4465" y="1819"/>
                  </a:lnTo>
                  <a:lnTo>
                    <a:pt x="4491" y="1816"/>
                  </a:lnTo>
                  <a:lnTo>
                    <a:pt x="4515" y="1812"/>
                  </a:lnTo>
                  <a:lnTo>
                    <a:pt x="4540" y="1808"/>
                  </a:lnTo>
                  <a:lnTo>
                    <a:pt x="4563" y="1802"/>
                  </a:lnTo>
                  <a:lnTo>
                    <a:pt x="4586" y="1796"/>
                  </a:lnTo>
                  <a:lnTo>
                    <a:pt x="4609" y="1789"/>
                  </a:lnTo>
                  <a:lnTo>
                    <a:pt x="4630" y="1780"/>
                  </a:lnTo>
                  <a:lnTo>
                    <a:pt x="4651" y="1771"/>
                  </a:lnTo>
                  <a:lnTo>
                    <a:pt x="4672" y="1762"/>
                  </a:lnTo>
                  <a:lnTo>
                    <a:pt x="4692" y="1751"/>
                  </a:lnTo>
                  <a:lnTo>
                    <a:pt x="4710" y="1740"/>
                  </a:lnTo>
                  <a:lnTo>
                    <a:pt x="4730" y="1728"/>
                  </a:lnTo>
                  <a:lnTo>
                    <a:pt x="4747" y="1713"/>
                  </a:lnTo>
                  <a:lnTo>
                    <a:pt x="4764" y="1699"/>
                  </a:lnTo>
                  <a:lnTo>
                    <a:pt x="4781" y="1684"/>
                  </a:lnTo>
                  <a:lnTo>
                    <a:pt x="4796" y="1668"/>
                  </a:lnTo>
                  <a:lnTo>
                    <a:pt x="4811" y="1650"/>
                  </a:lnTo>
                  <a:lnTo>
                    <a:pt x="4825" y="1633"/>
                  </a:lnTo>
                  <a:lnTo>
                    <a:pt x="4839" y="1614"/>
                  </a:lnTo>
                  <a:lnTo>
                    <a:pt x="4852" y="1593"/>
                  </a:lnTo>
                  <a:lnTo>
                    <a:pt x="4864" y="1572"/>
                  </a:lnTo>
                  <a:lnTo>
                    <a:pt x="4875" y="1551"/>
                  </a:lnTo>
                  <a:lnTo>
                    <a:pt x="4885" y="1527"/>
                  </a:lnTo>
                  <a:lnTo>
                    <a:pt x="4895" y="1504"/>
                  </a:lnTo>
                  <a:lnTo>
                    <a:pt x="4905" y="1478"/>
                  </a:lnTo>
                  <a:lnTo>
                    <a:pt x="4913" y="1452"/>
                  </a:lnTo>
                  <a:lnTo>
                    <a:pt x="4920" y="1426"/>
                  </a:lnTo>
                  <a:lnTo>
                    <a:pt x="4927" y="1397"/>
                  </a:lnTo>
                  <a:lnTo>
                    <a:pt x="4932" y="1369"/>
                  </a:lnTo>
                  <a:lnTo>
                    <a:pt x="5113" y="403"/>
                  </a:lnTo>
                  <a:lnTo>
                    <a:pt x="5796" y="403"/>
                  </a:lnTo>
                  <a:lnTo>
                    <a:pt x="5796" y="1822"/>
                  </a:lnTo>
                  <a:lnTo>
                    <a:pt x="6198" y="1822"/>
                  </a:lnTo>
                  <a:lnTo>
                    <a:pt x="6198" y="42"/>
                  </a:lnTo>
                  <a:lnTo>
                    <a:pt x="4779" y="42"/>
                  </a:lnTo>
                  <a:close/>
                  <a:moveTo>
                    <a:pt x="6585" y="42"/>
                  </a:moveTo>
                  <a:lnTo>
                    <a:pt x="6585" y="1822"/>
                  </a:lnTo>
                  <a:lnTo>
                    <a:pt x="6980" y="1822"/>
                  </a:lnTo>
                  <a:lnTo>
                    <a:pt x="6980" y="1069"/>
                  </a:lnTo>
                  <a:lnTo>
                    <a:pt x="7251" y="1069"/>
                  </a:lnTo>
                  <a:lnTo>
                    <a:pt x="7258" y="1116"/>
                  </a:lnTo>
                  <a:lnTo>
                    <a:pt x="7266" y="1162"/>
                  </a:lnTo>
                  <a:lnTo>
                    <a:pt x="7277" y="1207"/>
                  </a:lnTo>
                  <a:lnTo>
                    <a:pt x="7290" y="1251"/>
                  </a:lnTo>
                  <a:lnTo>
                    <a:pt x="7304" y="1292"/>
                  </a:lnTo>
                  <a:lnTo>
                    <a:pt x="7320" y="1333"/>
                  </a:lnTo>
                  <a:lnTo>
                    <a:pt x="7338" y="1372"/>
                  </a:lnTo>
                  <a:lnTo>
                    <a:pt x="7358" y="1409"/>
                  </a:lnTo>
                  <a:lnTo>
                    <a:pt x="7379" y="1446"/>
                  </a:lnTo>
                  <a:lnTo>
                    <a:pt x="7402" y="1482"/>
                  </a:lnTo>
                  <a:lnTo>
                    <a:pt x="7427" y="1514"/>
                  </a:lnTo>
                  <a:lnTo>
                    <a:pt x="7452" y="1547"/>
                  </a:lnTo>
                  <a:lnTo>
                    <a:pt x="7480" y="1577"/>
                  </a:lnTo>
                  <a:lnTo>
                    <a:pt x="7509" y="1607"/>
                  </a:lnTo>
                  <a:lnTo>
                    <a:pt x="7540" y="1634"/>
                  </a:lnTo>
                  <a:lnTo>
                    <a:pt x="7571" y="1660"/>
                  </a:lnTo>
                  <a:lnTo>
                    <a:pt x="7604" y="1685"/>
                  </a:lnTo>
                  <a:lnTo>
                    <a:pt x="7637" y="1708"/>
                  </a:lnTo>
                  <a:lnTo>
                    <a:pt x="7673" y="1730"/>
                  </a:lnTo>
                  <a:lnTo>
                    <a:pt x="7710" y="1750"/>
                  </a:lnTo>
                  <a:lnTo>
                    <a:pt x="7747" y="1768"/>
                  </a:lnTo>
                  <a:lnTo>
                    <a:pt x="7786" y="1786"/>
                  </a:lnTo>
                  <a:lnTo>
                    <a:pt x="7824" y="1801"/>
                  </a:lnTo>
                  <a:lnTo>
                    <a:pt x="7865" y="1815"/>
                  </a:lnTo>
                  <a:lnTo>
                    <a:pt x="7907" y="1827"/>
                  </a:lnTo>
                  <a:lnTo>
                    <a:pt x="7949" y="1837"/>
                  </a:lnTo>
                  <a:lnTo>
                    <a:pt x="7991" y="1847"/>
                  </a:lnTo>
                  <a:lnTo>
                    <a:pt x="8035" y="1854"/>
                  </a:lnTo>
                  <a:lnTo>
                    <a:pt x="8080" y="1860"/>
                  </a:lnTo>
                  <a:lnTo>
                    <a:pt x="8124" y="1864"/>
                  </a:lnTo>
                  <a:lnTo>
                    <a:pt x="8170" y="1867"/>
                  </a:lnTo>
                  <a:lnTo>
                    <a:pt x="8217" y="1868"/>
                  </a:lnTo>
                  <a:lnTo>
                    <a:pt x="8267" y="1867"/>
                  </a:lnTo>
                  <a:lnTo>
                    <a:pt x="8317" y="1864"/>
                  </a:lnTo>
                  <a:lnTo>
                    <a:pt x="8364" y="1859"/>
                  </a:lnTo>
                  <a:lnTo>
                    <a:pt x="8413" y="1852"/>
                  </a:lnTo>
                  <a:lnTo>
                    <a:pt x="8460" y="1842"/>
                  </a:lnTo>
                  <a:lnTo>
                    <a:pt x="8506" y="1832"/>
                  </a:lnTo>
                  <a:lnTo>
                    <a:pt x="8552" y="1820"/>
                  </a:lnTo>
                  <a:lnTo>
                    <a:pt x="8595" y="1805"/>
                  </a:lnTo>
                  <a:lnTo>
                    <a:pt x="8639" y="1789"/>
                  </a:lnTo>
                  <a:lnTo>
                    <a:pt x="8681" y="1771"/>
                  </a:lnTo>
                  <a:lnTo>
                    <a:pt x="8721" y="1751"/>
                  </a:lnTo>
                  <a:lnTo>
                    <a:pt x="8761" y="1729"/>
                  </a:lnTo>
                  <a:lnTo>
                    <a:pt x="8799" y="1705"/>
                  </a:lnTo>
                  <a:lnTo>
                    <a:pt x="8835" y="1680"/>
                  </a:lnTo>
                  <a:lnTo>
                    <a:pt x="8871" y="1653"/>
                  </a:lnTo>
                  <a:lnTo>
                    <a:pt x="8905" y="1624"/>
                  </a:lnTo>
                  <a:lnTo>
                    <a:pt x="8937" y="1593"/>
                  </a:lnTo>
                  <a:lnTo>
                    <a:pt x="8968" y="1561"/>
                  </a:lnTo>
                  <a:lnTo>
                    <a:pt x="8996" y="1526"/>
                  </a:lnTo>
                  <a:lnTo>
                    <a:pt x="9023" y="1491"/>
                  </a:lnTo>
                  <a:lnTo>
                    <a:pt x="9049" y="1453"/>
                  </a:lnTo>
                  <a:lnTo>
                    <a:pt x="9072" y="1414"/>
                  </a:lnTo>
                  <a:lnTo>
                    <a:pt x="9094" y="1374"/>
                  </a:lnTo>
                  <a:lnTo>
                    <a:pt x="9113" y="1331"/>
                  </a:lnTo>
                  <a:lnTo>
                    <a:pt x="9130" y="1287"/>
                  </a:lnTo>
                  <a:lnTo>
                    <a:pt x="9146" y="1242"/>
                  </a:lnTo>
                  <a:lnTo>
                    <a:pt x="9159" y="1194"/>
                  </a:lnTo>
                  <a:lnTo>
                    <a:pt x="9169" y="1145"/>
                  </a:lnTo>
                  <a:lnTo>
                    <a:pt x="9178" y="1094"/>
                  </a:lnTo>
                  <a:lnTo>
                    <a:pt x="9184" y="1042"/>
                  </a:lnTo>
                  <a:lnTo>
                    <a:pt x="9188" y="988"/>
                  </a:lnTo>
                  <a:lnTo>
                    <a:pt x="9189" y="933"/>
                  </a:lnTo>
                  <a:lnTo>
                    <a:pt x="9188" y="879"/>
                  </a:lnTo>
                  <a:lnTo>
                    <a:pt x="9184" y="825"/>
                  </a:lnTo>
                  <a:lnTo>
                    <a:pt x="9178" y="773"/>
                  </a:lnTo>
                  <a:lnTo>
                    <a:pt x="9169" y="723"/>
                  </a:lnTo>
                  <a:lnTo>
                    <a:pt x="9159" y="674"/>
                  </a:lnTo>
                  <a:lnTo>
                    <a:pt x="9146" y="626"/>
                  </a:lnTo>
                  <a:lnTo>
                    <a:pt x="9130" y="581"/>
                  </a:lnTo>
                  <a:lnTo>
                    <a:pt x="9113" y="537"/>
                  </a:lnTo>
                  <a:lnTo>
                    <a:pt x="9094" y="494"/>
                  </a:lnTo>
                  <a:lnTo>
                    <a:pt x="9072" y="453"/>
                  </a:lnTo>
                  <a:lnTo>
                    <a:pt x="9049" y="414"/>
                  </a:lnTo>
                  <a:lnTo>
                    <a:pt x="9023" y="376"/>
                  </a:lnTo>
                  <a:lnTo>
                    <a:pt x="8996" y="341"/>
                  </a:lnTo>
                  <a:lnTo>
                    <a:pt x="8968" y="307"/>
                  </a:lnTo>
                  <a:lnTo>
                    <a:pt x="8937" y="275"/>
                  </a:lnTo>
                  <a:lnTo>
                    <a:pt x="8905" y="244"/>
                  </a:lnTo>
                  <a:lnTo>
                    <a:pt x="8871" y="215"/>
                  </a:lnTo>
                  <a:lnTo>
                    <a:pt x="8835" y="187"/>
                  </a:lnTo>
                  <a:lnTo>
                    <a:pt x="8799" y="162"/>
                  </a:lnTo>
                  <a:lnTo>
                    <a:pt x="8761" y="138"/>
                  </a:lnTo>
                  <a:lnTo>
                    <a:pt x="8721" y="117"/>
                  </a:lnTo>
                  <a:lnTo>
                    <a:pt x="8681" y="97"/>
                  </a:lnTo>
                  <a:lnTo>
                    <a:pt x="8639" y="78"/>
                  </a:lnTo>
                  <a:lnTo>
                    <a:pt x="8595" y="62"/>
                  </a:lnTo>
                  <a:lnTo>
                    <a:pt x="8552" y="48"/>
                  </a:lnTo>
                  <a:lnTo>
                    <a:pt x="8506" y="36"/>
                  </a:lnTo>
                  <a:lnTo>
                    <a:pt x="8460" y="24"/>
                  </a:lnTo>
                  <a:lnTo>
                    <a:pt x="8413" y="16"/>
                  </a:lnTo>
                  <a:lnTo>
                    <a:pt x="8364" y="9"/>
                  </a:lnTo>
                  <a:lnTo>
                    <a:pt x="8317" y="4"/>
                  </a:lnTo>
                  <a:lnTo>
                    <a:pt x="8267" y="1"/>
                  </a:lnTo>
                  <a:lnTo>
                    <a:pt x="8217" y="0"/>
                  </a:lnTo>
                  <a:lnTo>
                    <a:pt x="8173" y="1"/>
                  </a:lnTo>
                  <a:lnTo>
                    <a:pt x="8131" y="3"/>
                  </a:lnTo>
                  <a:lnTo>
                    <a:pt x="8088" y="7"/>
                  </a:lnTo>
                  <a:lnTo>
                    <a:pt x="8046" y="12"/>
                  </a:lnTo>
                  <a:lnTo>
                    <a:pt x="8004" y="18"/>
                  </a:lnTo>
                  <a:lnTo>
                    <a:pt x="7964" y="26"/>
                  </a:lnTo>
                  <a:lnTo>
                    <a:pt x="7924" y="36"/>
                  </a:lnTo>
                  <a:lnTo>
                    <a:pt x="7884" y="47"/>
                  </a:lnTo>
                  <a:lnTo>
                    <a:pt x="7846" y="59"/>
                  </a:lnTo>
                  <a:lnTo>
                    <a:pt x="7808" y="73"/>
                  </a:lnTo>
                  <a:lnTo>
                    <a:pt x="7772" y="88"/>
                  </a:lnTo>
                  <a:lnTo>
                    <a:pt x="7736" y="105"/>
                  </a:lnTo>
                  <a:lnTo>
                    <a:pt x="7700" y="122"/>
                  </a:lnTo>
                  <a:lnTo>
                    <a:pt x="7667" y="141"/>
                  </a:lnTo>
                  <a:lnTo>
                    <a:pt x="7633" y="162"/>
                  </a:lnTo>
                  <a:lnTo>
                    <a:pt x="7602" y="184"/>
                  </a:lnTo>
                  <a:lnTo>
                    <a:pt x="7571" y="207"/>
                  </a:lnTo>
                  <a:lnTo>
                    <a:pt x="7542" y="232"/>
                  </a:lnTo>
                  <a:lnTo>
                    <a:pt x="7512" y="257"/>
                  </a:lnTo>
                  <a:lnTo>
                    <a:pt x="7486" y="285"/>
                  </a:lnTo>
                  <a:lnTo>
                    <a:pt x="7459" y="313"/>
                  </a:lnTo>
                  <a:lnTo>
                    <a:pt x="7435" y="343"/>
                  </a:lnTo>
                  <a:lnTo>
                    <a:pt x="7412" y="374"/>
                  </a:lnTo>
                  <a:lnTo>
                    <a:pt x="7389" y="406"/>
                  </a:lnTo>
                  <a:lnTo>
                    <a:pt x="7369" y="439"/>
                  </a:lnTo>
                  <a:lnTo>
                    <a:pt x="7350" y="475"/>
                  </a:lnTo>
                  <a:lnTo>
                    <a:pt x="7331" y="510"/>
                  </a:lnTo>
                  <a:lnTo>
                    <a:pt x="7315" y="548"/>
                  </a:lnTo>
                  <a:lnTo>
                    <a:pt x="7301" y="586"/>
                  </a:lnTo>
                  <a:lnTo>
                    <a:pt x="7287" y="625"/>
                  </a:lnTo>
                  <a:lnTo>
                    <a:pt x="7276" y="666"/>
                  </a:lnTo>
                  <a:lnTo>
                    <a:pt x="7267" y="709"/>
                  </a:lnTo>
                  <a:lnTo>
                    <a:pt x="6980" y="709"/>
                  </a:lnTo>
                  <a:lnTo>
                    <a:pt x="6980" y="42"/>
                  </a:lnTo>
                  <a:lnTo>
                    <a:pt x="6585" y="42"/>
                  </a:lnTo>
                  <a:close/>
                  <a:moveTo>
                    <a:pt x="7643" y="933"/>
                  </a:moveTo>
                  <a:lnTo>
                    <a:pt x="7644" y="900"/>
                  </a:lnTo>
                  <a:lnTo>
                    <a:pt x="7645" y="866"/>
                  </a:lnTo>
                  <a:lnTo>
                    <a:pt x="7649" y="835"/>
                  </a:lnTo>
                  <a:lnTo>
                    <a:pt x="7653" y="803"/>
                  </a:lnTo>
                  <a:lnTo>
                    <a:pt x="7658" y="773"/>
                  </a:lnTo>
                  <a:lnTo>
                    <a:pt x="7664" y="743"/>
                  </a:lnTo>
                  <a:lnTo>
                    <a:pt x="7672" y="715"/>
                  </a:lnTo>
                  <a:lnTo>
                    <a:pt x="7680" y="686"/>
                  </a:lnTo>
                  <a:lnTo>
                    <a:pt x="7690" y="660"/>
                  </a:lnTo>
                  <a:lnTo>
                    <a:pt x="7700" y="634"/>
                  </a:lnTo>
                  <a:lnTo>
                    <a:pt x="7713" y="610"/>
                  </a:lnTo>
                  <a:lnTo>
                    <a:pt x="7726" y="586"/>
                  </a:lnTo>
                  <a:lnTo>
                    <a:pt x="7740" y="563"/>
                  </a:lnTo>
                  <a:lnTo>
                    <a:pt x="7755" y="542"/>
                  </a:lnTo>
                  <a:lnTo>
                    <a:pt x="7772" y="521"/>
                  </a:lnTo>
                  <a:lnTo>
                    <a:pt x="7789" y="501"/>
                  </a:lnTo>
                  <a:lnTo>
                    <a:pt x="7807" y="483"/>
                  </a:lnTo>
                  <a:lnTo>
                    <a:pt x="7828" y="466"/>
                  </a:lnTo>
                  <a:lnTo>
                    <a:pt x="7848" y="449"/>
                  </a:lnTo>
                  <a:lnTo>
                    <a:pt x="7870" y="434"/>
                  </a:lnTo>
                  <a:lnTo>
                    <a:pt x="7893" y="420"/>
                  </a:lnTo>
                  <a:lnTo>
                    <a:pt x="7917" y="408"/>
                  </a:lnTo>
                  <a:lnTo>
                    <a:pt x="7942" y="396"/>
                  </a:lnTo>
                  <a:lnTo>
                    <a:pt x="7968" y="385"/>
                  </a:lnTo>
                  <a:lnTo>
                    <a:pt x="7995" y="375"/>
                  </a:lnTo>
                  <a:lnTo>
                    <a:pt x="8024" y="367"/>
                  </a:lnTo>
                  <a:lnTo>
                    <a:pt x="8053" y="361"/>
                  </a:lnTo>
                  <a:lnTo>
                    <a:pt x="8084" y="355"/>
                  </a:lnTo>
                  <a:lnTo>
                    <a:pt x="8115" y="351"/>
                  </a:lnTo>
                  <a:lnTo>
                    <a:pt x="8148" y="347"/>
                  </a:lnTo>
                  <a:lnTo>
                    <a:pt x="8182" y="345"/>
                  </a:lnTo>
                  <a:lnTo>
                    <a:pt x="8217" y="345"/>
                  </a:lnTo>
                  <a:lnTo>
                    <a:pt x="8252" y="345"/>
                  </a:lnTo>
                  <a:lnTo>
                    <a:pt x="8285" y="347"/>
                  </a:lnTo>
                  <a:lnTo>
                    <a:pt x="8318" y="351"/>
                  </a:lnTo>
                  <a:lnTo>
                    <a:pt x="8349" y="355"/>
                  </a:lnTo>
                  <a:lnTo>
                    <a:pt x="8380" y="361"/>
                  </a:lnTo>
                  <a:lnTo>
                    <a:pt x="8409" y="367"/>
                  </a:lnTo>
                  <a:lnTo>
                    <a:pt x="8438" y="375"/>
                  </a:lnTo>
                  <a:lnTo>
                    <a:pt x="8465" y="385"/>
                  </a:lnTo>
                  <a:lnTo>
                    <a:pt x="8492" y="396"/>
                  </a:lnTo>
                  <a:lnTo>
                    <a:pt x="8517" y="408"/>
                  </a:lnTo>
                  <a:lnTo>
                    <a:pt x="8540" y="420"/>
                  </a:lnTo>
                  <a:lnTo>
                    <a:pt x="8564" y="434"/>
                  </a:lnTo>
                  <a:lnTo>
                    <a:pt x="8585" y="449"/>
                  </a:lnTo>
                  <a:lnTo>
                    <a:pt x="8607" y="466"/>
                  </a:lnTo>
                  <a:lnTo>
                    <a:pt x="8626" y="483"/>
                  </a:lnTo>
                  <a:lnTo>
                    <a:pt x="8644" y="501"/>
                  </a:lnTo>
                  <a:lnTo>
                    <a:pt x="8662" y="521"/>
                  </a:lnTo>
                  <a:lnTo>
                    <a:pt x="8679" y="542"/>
                  </a:lnTo>
                  <a:lnTo>
                    <a:pt x="8694" y="563"/>
                  </a:lnTo>
                  <a:lnTo>
                    <a:pt x="8708" y="586"/>
                  </a:lnTo>
                  <a:lnTo>
                    <a:pt x="8720" y="610"/>
                  </a:lnTo>
                  <a:lnTo>
                    <a:pt x="8733" y="634"/>
                  </a:lnTo>
                  <a:lnTo>
                    <a:pt x="8744" y="660"/>
                  </a:lnTo>
                  <a:lnTo>
                    <a:pt x="8753" y="686"/>
                  </a:lnTo>
                  <a:lnTo>
                    <a:pt x="8762" y="715"/>
                  </a:lnTo>
                  <a:lnTo>
                    <a:pt x="8769" y="743"/>
                  </a:lnTo>
                  <a:lnTo>
                    <a:pt x="8775" y="773"/>
                  </a:lnTo>
                  <a:lnTo>
                    <a:pt x="8780" y="803"/>
                  </a:lnTo>
                  <a:lnTo>
                    <a:pt x="8785" y="835"/>
                  </a:lnTo>
                  <a:lnTo>
                    <a:pt x="8788" y="866"/>
                  </a:lnTo>
                  <a:lnTo>
                    <a:pt x="8790" y="900"/>
                  </a:lnTo>
                  <a:lnTo>
                    <a:pt x="8790" y="933"/>
                  </a:lnTo>
                  <a:lnTo>
                    <a:pt x="8790" y="968"/>
                  </a:lnTo>
                  <a:lnTo>
                    <a:pt x="8788" y="1001"/>
                  </a:lnTo>
                  <a:lnTo>
                    <a:pt x="8785" y="1033"/>
                  </a:lnTo>
                  <a:lnTo>
                    <a:pt x="8780" y="1065"/>
                  </a:lnTo>
                  <a:lnTo>
                    <a:pt x="8775" y="1095"/>
                  </a:lnTo>
                  <a:lnTo>
                    <a:pt x="8769" y="1125"/>
                  </a:lnTo>
                  <a:lnTo>
                    <a:pt x="8762" y="1153"/>
                  </a:lnTo>
                  <a:lnTo>
                    <a:pt x="8753" y="1181"/>
                  </a:lnTo>
                  <a:lnTo>
                    <a:pt x="8744" y="1207"/>
                  </a:lnTo>
                  <a:lnTo>
                    <a:pt x="8733" y="1233"/>
                  </a:lnTo>
                  <a:lnTo>
                    <a:pt x="8720" y="1258"/>
                  </a:lnTo>
                  <a:lnTo>
                    <a:pt x="8708" y="1281"/>
                  </a:lnTo>
                  <a:lnTo>
                    <a:pt x="8694" y="1305"/>
                  </a:lnTo>
                  <a:lnTo>
                    <a:pt x="8679" y="1326"/>
                  </a:lnTo>
                  <a:lnTo>
                    <a:pt x="8662" y="1346"/>
                  </a:lnTo>
                  <a:lnTo>
                    <a:pt x="8644" y="1366"/>
                  </a:lnTo>
                  <a:lnTo>
                    <a:pt x="8626" y="1385"/>
                  </a:lnTo>
                  <a:lnTo>
                    <a:pt x="8607" y="1402"/>
                  </a:lnTo>
                  <a:lnTo>
                    <a:pt x="8585" y="1418"/>
                  </a:lnTo>
                  <a:lnTo>
                    <a:pt x="8564" y="1434"/>
                  </a:lnTo>
                  <a:lnTo>
                    <a:pt x="8540" y="1447"/>
                  </a:lnTo>
                  <a:lnTo>
                    <a:pt x="8517" y="1460"/>
                  </a:lnTo>
                  <a:lnTo>
                    <a:pt x="8492" y="1472"/>
                  </a:lnTo>
                  <a:lnTo>
                    <a:pt x="8465" y="1483"/>
                  </a:lnTo>
                  <a:lnTo>
                    <a:pt x="8438" y="1492"/>
                  </a:lnTo>
                  <a:lnTo>
                    <a:pt x="8409" y="1500"/>
                  </a:lnTo>
                  <a:lnTo>
                    <a:pt x="8380" y="1507"/>
                  </a:lnTo>
                  <a:lnTo>
                    <a:pt x="8349" y="1513"/>
                  </a:lnTo>
                  <a:lnTo>
                    <a:pt x="8318" y="1517"/>
                  </a:lnTo>
                  <a:lnTo>
                    <a:pt x="8285" y="1520"/>
                  </a:lnTo>
                  <a:lnTo>
                    <a:pt x="8252" y="1522"/>
                  </a:lnTo>
                  <a:lnTo>
                    <a:pt x="8217" y="1523"/>
                  </a:lnTo>
                  <a:lnTo>
                    <a:pt x="8182" y="1522"/>
                  </a:lnTo>
                  <a:lnTo>
                    <a:pt x="8148" y="1520"/>
                  </a:lnTo>
                  <a:lnTo>
                    <a:pt x="8115" y="1517"/>
                  </a:lnTo>
                  <a:lnTo>
                    <a:pt x="8084" y="1513"/>
                  </a:lnTo>
                  <a:lnTo>
                    <a:pt x="8053" y="1507"/>
                  </a:lnTo>
                  <a:lnTo>
                    <a:pt x="8024" y="1500"/>
                  </a:lnTo>
                  <a:lnTo>
                    <a:pt x="7995" y="1492"/>
                  </a:lnTo>
                  <a:lnTo>
                    <a:pt x="7968" y="1483"/>
                  </a:lnTo>
                  <a:lnTo>
                    <a:pt x="7942" y="1472"/>
                  </a:lnTo>
                  <a:lnTo>
                    <a:pt x="7917" y="1460"/>
                  </a:lnTo>
                  <a:lnTo>
                    <a:pt x="7893" y="1447"/>
                  </a:lnTo>
                  <a:lnTo>
                    <a:pt x="7870" y="1434"/>
                  </a:lnTo>
                  <a:lnTo>
                    <a:pt x="7848" y="1418"/>
                  </a:lnTo>
                  <a:lnTo>
                    <a:pt x="7828" y="1402"/>
                  </a:lnTo>
                  <a:lnTo>
                    <a:pt x="7807" y="1385"/>
                  </a:lnTo>
                  <a:lnTo>
                    <a:pt x="7789" y="1366"/>
                  </a:lnTo>
                  <a:lnTo>
                    <a:pt x="7772" y="1346"/>
                  </a:lnTo>
                  <a:lnTo>
                    <a:pt x="7755" y="1326"/>
                  </a:lnTo>
                  <a:lnTo>
                    <a:pt x="7740" y="1305"/>
                  </a:lnTo>
                  <a:lnTo>
                    <a:pt x="7726" y="1281"/>
                  </a:lnTo>
                  <a:lnTo>
                    <a:pt x="7713" y="1258"/>
                  </a:lnTo>
                  <a:lnTo>
                    <a:pt x="7700" y="1233"/>
                  </a:lnTo>
                  <a:lnTo>
                    <a:pt x="7690" y="1207"/>
                  </a:lnTo>
                  <a:lnTo>
                    <a:pt x="7680" y="1181"/>
                  </a:lnTo>
                  <a:lnTo>
                    <a:pt x="7672" y="1153"/>
                  </a:lnTo>
                  <a:lnTo>
                    <a:pt x="7664" y="1125"/>
                  </a:lnTo>
                  <a:lnTo>
                    <a:pt x="7658" y="1095"/>
                  </a:lnTo>
                  <a:lnTo>
                    <a:pt x="7653" y="1065"/>
                  </a:lnTo>
                  <a:lnTo>
                    <a:pt x="7649" y="1033"/>
                  </a:lnTo>
                  <a:lnTo>
                    <a:pt x="7645" y="1001"/>
                  </a:lnTo>
                  <a:lnTo>
                    <a:pt x="7644" y="968"/>
                  </a:lnTo>
                  <a:lnTo>
                    <a:pt x="7643" y="933"/>
                  </a:lnTo>
                  <a:close/>
                  <a:moveTo>
                    <a:pt x="11327" y="477"/>
                  </a:moveTo>
                  <a:lnTo>
                    <a:pt x="11310" y="447"/>
                  </a:lnTo>
                  <a:lnTo>
                    <a:pt x="11291" y="420"/>
                  </a:lnTo>
                  <a:lnTo>
                    <a:pt x="11272" y="392"/>
                  </a:lnTo>
                  <a:lnTo>
                    <a:pt x="11253" y="366"/>
                  </a:lnTo>
                  <a:lnTo>
                    <a:pt x="11232" y="341"/>
                  </a:lnTo>
                  <a:lnTo>
                    <a:pt x="11211" y="316"/>
                  </a:lnTo>
                  <a:lnTo>
                    <a:pt x="11190" y="293"/>
                  </a:lnTo>
                  <a:lnTo>
                    <a:pt x="11167" y="270"/>
                  </a:lnTo>
                  <a:lnTo>
                    <a:pt x="11144" y="248"/>
                  </a:lnTo>
                  <a:lnTo>
                    <a:pt x="11121" y="228"/>
                  </a:lnTo>
                  <a:lnTo>
                    <a:pt x="11096" y="207"/>
                  </a:lnTo>
                  <a:lnTo>
                    <a:pt x="11071" y="188"/>
                  </a:lnTo>
                  <a:lnTo>
                    <a:pt x="11045" y="171"/>
                  </a:lnTo>
                  <a:lnTo>
                    <a:pt x="11018" y="154"/>
                  </a:lnTo>
                  <a:lnTo>
                    <a:pt x="10991" y="136"/>
                  </a:lnTo>
                  <a:lnTo>
                    <a:pt x="10963" y="121"/>
                  </a:lnTo>
                  <a:lnTo>
                    <a:pt x="10934" y="107"/>
                  </a:lnTo>
                  <a:lnTo>
                    <a:pt x="10905" y="93"/>
                  </a:lnTo>
                  <a:lnTo>
                    <a:pt x="10875" y="80"/>
                  </a:lnTo>
                  <a:lnTo>
                    <a:pt x="10845" y="68"/>
                  </a:lnTo>
                  <a:lnTo>
                    <a:pt x="10813" y="58"/>
                  </a:lnTo>
                  <a:lnTo>
                    <a:pt x="10782" y="48"/>
                  </a:lnTo>
                  <a:lnTo>
                    <a:pt x="10749" y="39"/>
                  </a:lnTo>
                  <a:lnTo>
                    <a:pt x="10716" y="30"/>
                  </a:lnTo>
                  <a:lnTo>
                    <a:pt x="10682" y="23"/>
                  </a:lnTo>
                  <a:lnTo>
                    <a:pt x="10648" y="17"/>
                  </a:lnTo>
                  <a:lnTo>
                    <a:pt x="10612" y="12"/>
                  </a:lnTo>
                  <a:lnTo>
                    <a:pt x="10576" y="8"/>
                  </a:lnTo>
                  <a:lnTo>
                    <a:pt x="10540" y="4"/>
                  </a:lnTo>
                  <a:lnTo>
                    <a:pt x="10502" y="2"/>
                  </a:lnTo>
                  <a:lnTo>
                    <a:pt x="10465" y="1"/>
                  </a:lnTo>
                  <a:lnTo>
                    <a:pt x="10426" y="0"/>
                  </a:lnTo>
                  <a:lnTo>
                    <a:pt x="10373" y="1"/>
                  </a:lnTo>
                  <a:lnTo>
                    <a:pt x="10322" y="4"/>
                  </a:lnTo>
                  <a:lnTo>
                    <a:pt x="10271" y="9"/>
                  </a:lnTo>
                  <a:lnTo>
                    <a:pt x="10222" y="16"/>
                  </a:lnTo>
                  <a:lnTo>
                    <a:pt x="10174" y="25"/>
                  </a:lnTo>
                  <a:lnTo>
                    <a:pt x="10126" y="37"/>
                  </a:lnTo>
                  <a:lnTo>
                    <a:pt x="10079" y="50"/>
                  </a:lnTo>
                  <a:lnTo>
                    <a:pt x="10033" y="65"/>
                  </a:lnTo>
                  <a:lnTo>
                    <a:pt x="9990" y="81"/>
                  </a:lnTo>
                  <a:lnTo>
                    <a:pt x="9947" y="101"/>
                  </a:lnTo>
                  <a:lnTo>
                    <a:pt x="9905" y="121"/>
                  </a:lnTo>
                  <a:lnTo>
                    <a:pt x="9865" y="143"/>
                  </a:lnTo>
                  <a:lnTo>
                    <a:pt x="9826" y="168"/>
                  </a:lnTo>
                  <a:lnTo>
                    <a:pt x="9788" y="194"/>
                  </a:lnTo>
                  <a:lnTo>
                    <a:pt x="9753" y="222"/>
                  </a:lnTo>
                  <a:lnTo>
                    <a:pt x="9718" y="251"/>
                  </a:lnTo>
                  <a:lnTo>
                    <a:pt x="9686" y="282"/>
                  </a:lnTo>
                  <a:lnTo>
                    <a:pt x="9654" y="314"/>
                  </a:lnTo>
                  <a:lnTo>
                    <a:pt x="9626" y="349"/>
                  </a:lnTo>
                  <a:lnTo>
                    <a:pt x="9598" y="385"/>
                  </a:lnTo>
                  <a:lnTo>
                    <a:pt x="9572" y="423"/>
                  </a:lnTo>
                  <a:lnTo>
                    <a:pt x="9548" y="462"/>
                  </a:lnTo>
                  <a:lnTo>
                    <a:pt x="9527" y="502"/>
                  </a:lnTo>
                  <a:lnTo>
                    <a:pt x="9508" y="545"/>
                  </a:lnTo>
                  <a:lnTo>
                    <a:pt x="9489" y="589"/>
                  </a:lnTo>
                  <a:lnTo>
                    <a:pt x="9474" y="633"/>
                  </a:lnTo>
                  <a:lnTo>
                    <a:pt x="9461" y="680"/>
                  </a:lnTo>
                  <a:lnTo>
                    <a:pt x="9451" y="728"/>
                  </a:lnTo>
                  <a:lnTo>
                    <a:pt x="9441" y="778"/>
                  </a:lnTo>
                  <a:lnTo>
                    <a:pt x="9435" y="829"/>
                  </a:lnTo>
                  <a:lnTo>
                    <a:pt x="9432" y="881"/>
                  </a:lnTo>
                  <a:lnTo>
                    <a:pt x="9430" y="933"/>
                  </a:lnTo>
                  <a:lnTo>
                    <a:pt x="9431" y="987"/>
                  </a:lnTo>
                  <a:lnTo>
                    <a:pt x="9435" y="1039"/>
                  </a:lnTo>
                  <a:lnTo>
                    <a:pt x="9441" y="1090"/>
                  </a:lnTo>
                  <a:lnTo>
                    <a:pt x="9450" y="1139"/>
                  </a:lnTo>
                  <a:lnTo>
                    <a:pt x="9461" y="1188"/>
                  </a:lnTo>
                  <a:lnTo>
                    <a:pt x="9474" y="1234"/>
                  </a:lnTo>
                  <a:lnTo>
                    <a:pt x="9488" y="1279"/>
                  </a:lnTo>
                  <a:lnTo>
                    <a:pt x="9506" y="1323"/>
                  </a:lnTo>
                  <a:lnTo>
                    <a:pt x="9525" y="1365"/>
                  </a:lnTo>
                  <a:lnTo>
                    <a:pt x="9546" y="1405"/>
                  </a:lnTo>
                  <a:lnTo>
                    <a:pt x="9570" y="1445"/>
                  </a:lnTo>
                  <a:lnTo>
                    <a:pt x="9595" y="1483"/>
                  </a:lnTo>
                  <a:lnTo>
                    <a:pt x="9623" y="1518"/>
                  </a:lnTo>
                  <a:lnTo>
                    <a:pt x="9651" y="1553"/>
                  </a:lnTo>
                  <a:lnTo>
                    <a:pt x="9681" y="1585"/>
                  </a:lnTo>
                  <a:lnTo>
                    <a:pt x="9714" y="1617"/>
                  </a:lnTo>
                  <a:lnTo>
                    <a:pt x="9749" y="1646"/>
                  </a:lnTo>
                  <a:lnTo>
                    <a:pt x="9784" y="1674"/>
                  </a:lnTo>
                  <a:lnTo>
                    <a:pt x="9822" y="1700"/>
                  </a:lnTo>
                  <a:lnTo>
                    <a:pt x="9860" y="1724"/>
                  </a:lnTo>
                  <a:lnTo>
                    <a:pt x="9900" y="1746"/>
                  </a:lnTo>
                  <a:lnTo>
                    <a:pt x="9942" y="1767"/>
                  </a:lnTo>
                  <a:lnTo>
                    <a:pt x="9986" y="1786"/>
                  </a:lnTo>
                  <a:lnTo>
                    <a:pt x="10029" y="1803"/>
                  </a:lnTo>
                  <a:lnTo>
                    <a:pt x="10075" y="1818"/>
                  </a:lnTo>
                  <a:lnTo>
                    <a:pt x="10122" y="1830"/>
                  </a:lnTo>
                  <a:lnTo>
                    <a:pt x="10170" y="1841"/>
                  </a:lnTo>
                  <a:lnTo>
                    <a:pt x="10219" y="1851"/>
                  </a:lnTo>
                  <a:lnTo>
                    <a:pt x="10269" y="1858"/>
                  </a:lnTo>
                  <a:lnTo>
                    <a:pt x="10320" y="1863"/>
                  </a:lnTo>
                  <a:lnTo>
                    <a:pt x="10372" y="1867"/>
                  </a:lnTo>
                  <a:lnTo>
                    <a:pt x="10426" y="1868"/>
                  </a:lnTo>
                  <a:lnTo>
                    <a:pt x="10465" y="1867"/>
                  </a:lnTo>
                  <a:lnTo>
                    <a:pt x="10502" y="1866"/>
                  </a:lnTo>
                  <a:lnTo>
                    <a:pt x="10540" y="1863"/>
                  </a:lnTo>
                  <a:lnTo>
                    <a:pt x="10576" y="1860"/>
                  </a:lnTo>
                  <a:lnTo>
                    <a:pt x="10612" y="1856"/>
                  </a:lnTo>
                  <a:lnTo>
                    <a:pt x="10648" y="1851"/>
                  </a:lnTo>
                  <a:lnTo>
                    <a:pt x="10682" y="1845"/>
                  </a:lnTo>
                  <a:lnTo>
                    <a:pt x="10716" y="1837"/>
                  </a:lnTo>
                  <a:lnTo>
                    <a:pt x="10749" y="1829"/>
                  </a:lnTo>
                  <a:lnTo>
                    <a:pt x="10782" y="1820"/>
                  </a:lnTo>
                  <a:lnTo>
                    <a:pt x="10813" y="1810"/>
                  </a:lnTo>
                  <a:lnTo>
                    <a:pt x="10845" y="1799"/>
                  </a:lnTo>
                  <a:lnTo>
                    <a:pt x="10875" y="1788"/>
                  </a:lnTo>
                  <a:lnTo>
                    <a:pt x="10905" y="1774"/>
                  </a:lnTo>
                  <a:lnTo>
                    <a:pt x="10934" y="1761"/>
                  </a:lnTo>
                  <a:lnTo>
                    <a:pt x="10963" y="1746"/>
                  </a:lnTo>
                  <a:lnTo>
                    <a:pt x="10991" y="1731"/>
                  </a:lnTo>
                  <a:lnTo>
                    <a:pt x="11018" y="1714"/>
                  </a:lnTo>
                  <a:lnTo>
                    <a:pt x="11045" y="1697"/>
                  </a:lnTo>
                  <a:lnTo>
                    <a:pt x="11071" y="1679"/>
                  </a:lnTo>
                  <a:lnTo>
                    <a:pt x="11096" y="1659"/>
                  </a:lnTo>
                  <a:lnTo>
                    <a:pt x="11121" y="1640"/>
                  </a:lnTo>
                  <a:lnTo>
                    <a:pt x="11144" y="1619"/>
                  </a:lnTo>
                  <a:lnTo>
                    <a:pt x="11167" y="1597"/>
                  </a:lnTo>
                  <a:lnTo>
                    <a:pt x="11190" y="1574"/>
                  </a:lnTo>
                  <a:lnTo>
                    <a:pt x="11211" y="1551"/>
                  </a:lnTo>
                  <a:lnTo>
                    <a:pt x="11232" y="1526"/>
                  </a:lnTo>
                  <a:lnTo>
                    <a:pt x="11253" y="1501"/>
                  </a:lnTo>
                  <a:lnTo>
                    <a:pt x="11272" y="1474"/>
                  </a:lnTo>
                  <a:lnTo>
                    <a:pt x="11291" y="1448"/>
                  </a:lnTo>
                  <a:lnTo>
                    <a:pt x="11310" y="1419"/>
                  </a:lnTo>
                  <a:lnTo>
                    <a:pt x="11327" y="1391"/>
                  </a:lnTo>
                  <a:lnTo>
                    <a:pt x="11015" y="1211"/>
                  </a:lnTo>
                  <a:lnTo>
                    <a:pt x="11002" y="1228"/>
                  </a:lnTo>
                  <a:lnTo>
                    <a:pt x="10988" y="1246"/>
                  </a:lnTo>
                  <a:lnTo>
                    <a:pt x="10975" y="1263"/>
                  </a:lnTo>
                  <a:lnTo>
                    <a:pt x="10962" y="1279"/>
                  </a:lnTo>
                  <a:lnTo>
                    <a:pt x="10948" y="1294"/>
                  </a:lnTo>
                  <a:lnTo>
                    <a:pt x="10933" y="1310"/>
                  </a:lnTo>
                  <a:lnTo>
                    <a:pt x="10919" y="1325"/>
                  </a:lnTo>
                  <a:lnTo>
                    <a:pt x="10904" y="1339"/>
                  </a:lnTo>
                  <a:lnTo>
                    <a:pt x="10890" y="1352"/>
                  </a:lnTo>
                  <a:lnTo>
                    <a:pt x="10873" y="1366"/>
                  </a:lnTo>
                  <a:lnTo>
                    <a:pt x="10858" y="1378"/>
                  </a:lnTo>
                  <a:lnTo>
                    <a:pt x="10842" y="1390"/>
                  </a:lnTo>
                  <a:lnTo>
                    <a:pt x="10825" y="1402"/>
                  </a:lnTo>
                  <a:lnTo>
                    <a:pt x="10807" y="1412"/>
                  </a:lnTo>
                  <a:lnTo>
                    <a:pt x="10790" y="1423"/>
                  </a:lnTo>
                  <a:lnTo>
                    <a:pt x="10773" y="1433"/>
                  </a:lnTo>
                  <a:lnTo>
                    <a:pt x="10754" y="1442"/>
                  </a:lnTo>
                  <a:lnTo>
                    <a:pt x="10735" y="1451"/>
                  </a:lnTo>
                  <a:lnTo>
                    <a:pt x="10716" y="1459"/>
                  </a:lnTo>
                  <a:lnTo>
                    <a:pt x="10696" y="1466"/>
                  </a:lnTo>
                  <a:lnTo>
                    <a:pt x="10676" y="1473"/>
                  </a:lnTo>
                  <a:lnTo>
                    <a:pt x="10656" y="1479"/>
                  </a:lnTo>
                  <a:lnTo>
                    <a:pt x="10634" y="1486"/>
                  </a:lnTo>
                  <a:lnTo>
                    <a:pt x="10613" y="1491"/>
                  </a:lnTo>
                  <a:lnTo>
                    <a:pt x="10591" y="1495"/>
                  </a:lnTo>
                  <a:lnTo>
                    <a:pt x="10567" y="1499"/>
                  </a:lnTo>
                  <a:lnTo>
                    <a:pt x="10544" y="1502"/>
                  </a:lnTo>
                  <a:lnTo>
                    <a:pt x="10521" y="1505"/>
                  </a:lnTo>
                  <a:lnTo>
                    <a:pt x="10496" y="1507"/>
                  </a:lnTo>
                  <a:lnTo>
                    <a:pt x="10471" y="1509"/>
                  </a:lnTo>
                  <a:lnTo>
                    <a:pt x="10445" y="1510"/>
                  </a:lnTo>
                  <a:lnTo>
                    <a:pt x="10419" y="1510"/>
                  </a:lnTo>
                  <a:lnTo>
                    <a:pt x="10386" y="1509"/>
                  </a:lnTo>
                  <a:lnTo>
                    <a:pt x="10355" y="1507"/>
                  </a:lnTo>
                  <a:lnTo>
                    <a:pt x="10324" y="1504"/>
                  </a:lnTo>
                  <a:lnTo>
                    <a:pt x="10294" y="1500"/>
                  </a:lnTo>
                  <a:lnTo>
                    <a:pt x="10264" y="1494"/>
                  </a:lnTo>
                  <a:lnTo>
                    <a:pt x="10236" y="1487"/>
                  </a:lnTo>
                  <a:lnTo>
                    <a:pt x="10207" y="1478"/>
                  </a:lnTo>
                  <a:lnTo>
                    <a:pt x="10180" y="1468"/>
                  </a:lnTo>
                  <a:lnTo>
                    <a:pt x="10153" y="1458"/>
                  </a:lnTo>
                  <a:lnTo>
                    <a:pt x="10128" y="1446"/>
                  </a:lnTo>
                  <a:lnTo>
                    <a:pt x="10104" y="1433"/>
                  </a:lnTo>
                  <a:lnTo>
                    <a:pt x="10080" y="1418"/>
                  </a:lnTo>
                  <a:lnTo>
                    <a:pt x="10057" y="1403"/>
                  </a:lnTo>
                  <a:lnTo>
                    <a:pt x="10035" y="1387"/>
                  </a:lnTo>
                  <a:lnTo>
                    <a:pt x="10014" y="1370"/>
                  </a:lnTo>
                  <a:lnTo>
                    <a:pt x="9994" y="1351"/>
                  </a:lnTo>
                  <a:lnTo>
                    <a:pt x="9975" y="1332"/>
                  </a:lnTo>
                  <a:lnTo>
                    <a:pt x="9957" y="1312"/>
                  </a:lnTo>
                  <a:lnTo>
                    <a:pt x="9941" y="1289"/>
                  </a:lnTo>
                  <a:lnTo>
                    <a:pt x="9925" y="1268"/>
                  </a:lnTo>
                  <a:lnTo>
                    <a:pt x="9910" y="1245"/>
                  </a:lnTo>
                  <a:lnTo>
                    <a:pt x="9896" y="1220"/>
                  </a:lnTo>
                  <a:lnTo>
                    <a:pt x="9884" y="1195"/>
                  </a:lnTo>
                  <a:lnTo>
                    <a:pt x="9873" y="1169"/>
                  </a:lnTo>
                  <a:lnTo>
                    <a:pt x="9864" y="1143"/>
                  </a:lnTo>
                  <a:lnTo>
                    <a:pt x="9854" y="1114"/>
                  </a:lnTo>
                  <a:lnTo>
                    <a:pt x="9847" y="1087"/>
                  </a:lnTo>
                  <a:lnTo>
                    <a:pt x="9841" y="1057"/>
                  </a:lnTo>
                  <a:lnTo>
                    <a:pt x="9836" y="1028"/>
                  </a:lnTo>
                  <a:lnTo>
                    <a:pt x="9833" y="998"/>
                  </a:lnTo>
                  <a:lnTo>
                    <a:pt x="9831" y="966"/>
                  </a:lnTo>
                  <a:lnTo>
                    <a:pt x="9830" y="933"/>
                  </a:lnTo>
                  <a:lnTo>
                    <a:pt x="9831" y="901"/>
                  </a:lnTo>
                  <a:lnTo>
                    <a:pt x="9833" y="869"/>
                  </a:lnTo>
                  <a:lnTo>
                    <a:pt x="9836" y="839"/>
                  </a:lnTo>
                  <a:lnTo>
                    <a:pt x="9840" y="808"/>
                  </a:lnTo>
                  <a:lnTo>
                    <a:pt x="9846" y="779"/>
                  </a:lnTo>
                  <a:lnTo>
                    <a:pt x="9853" y="750"/>
                  </a:lnTo>
                  <a:lnTo>
                    <a:pt x="9863" y="723"/>
                  </a:lnTo>
                  <a:lnTo>
                    <a:pt x="9872" y="696"/>
                  </a:lnTo>
                  <a:lnTo>
                    <a:pt x="9883" y="670"/>
                  </a:lnTo>
                  <a:lnTo>
                    <a:pt x="9894" y="645"/>
                  </a:lnTo>
                  <a:lnTo>
                    <a:pt x="9907" y="620"/>
                  </a:lnTo>
                  <a:lnTo>
                    <a:pt x="9923" y="597"/>
                  </a:lnTo>
                  <a:lnTo>
                    <a:pt x="9938" y="575"/>
                  </a:lnTo>
                  <a:lnTo>
                    <a:pt x="9954" y="553"/>
                  </a:lnTo>
                  <a:lnTo>
                    <a:pt x="9971" y="533"/>
                  </a:lnTo>
                  <a:lnTo>
                    <a:pt x="9991" y="513"/>
                  </a:lnTo>
                  <a:lnTo>
                    <a:pt x="10010" y="496"/>
                  </a:lnTo>
                  <a:lnTo>
                    <a:pt x="10031" y="479"/>
                  </a:lnTo>
                  <a:lnTo>
                    <a:pt x="10053" y="463"/>
                  </a:lnTo>
                  <a:lnTo>
                    <a:pt x="10075" y="447"/>
                  </a:lnTo>
                  <a:lnTo>
                    <a:pt x="10099" y="433"/>
                  </a:lnTo>
                  <a:lnTo>
                    <a:pt x="10124" y="420"/>
                  </a:lnTo>
                  <a:lnTo>
                    <a:pt x="10149" y="409"/>
                  </a:lnTo>
                  <a:lnTo>
                    <a:pt x="10176" y="399"/>
                  </a:lnTo>
                  <a:lnTo>
                    <a:pt x="10203" y="388"/>
                  </a:lnTo>
                  <a:lnTo>
                    <a:pt x="10232" y="380"/>
                  </a:lnTo>
                  <a:lnTo>
                    <a:pt x="10261" y="373"/>
                  </a:lnTo>
                  <a:lnTo>
                    <a:pt x="10291" y="368"/>
                  </a:lnTo>
                  <a:lnTo>
                    <a:pt x="10322" y="363"/>
                  </a:lnTo>
                  <a:lnTo>
                    <a:pt x="10354" y="360"/>
                  </a:lnTo>
                  <a:lnTo>
                    <a:pt x="10386" y="358"/>
                  </a:lnTo>
                  <a:lnTo>
                    <a:pt x="10419" y="358"/>
                  </a:lnTo>
                  <a:lnTo>
                    <a:pt x="10445" y="358"/>
                  </a:lnTo>
                  <a:lnTo>
                    <a:pt x="10471" y="359"/>
                  </a:lnTo>
                  <a:lnTo>
                    <a:pt x="10496" y="360"/>
                  </a:lnTo>
                  <a:lnTo>
                    <a:pt x="10521" y="362"/>
                  </a:lnTo>
                  <a:lnTo>
                    <a:pt x="10544" y="365"/>
                  </a:lnTo>
                  <a:lnTo>
                    <a:pt x="10567" y="368"/>
                  </a:lnTo>
                  <a:lnTo>
                    <a:pt x="10591" y="372"/>
                  </a:lnTo>
                  <a:lnTo>
                    <a:pt x="10613" y="377"/>
                  </a:lnTo>
                  <a:lnTo>
                    <a:pt x="10634" y="382"/>
                  </a:lnTo>
                  <a:lnTo>
                    <a:pt x="10656" y="388"/>
                  </a:lnTo>
                  <a:lnTo>
                    <a:pt x="10676" y="395"/>
                  </a:lnTo>
                  <a:lnTo>
                    <a:pt x="10696" y="402"/>
                  </a:lnTo>
                  <a:lnTo>
                    <a:pt x="10716" y="409"/>
                  </a:lnTo>
                  <a:lnTo>
                    <a:pt x="10735" y="417"/>
                  </a:lnTo>
                  <a:lnTo>
                    <a:pt x="10754" y="425"/>
                  </a:lnTo>
                  <a:lnTo>
                    <a:pt x="10773" y="435"/>
                  </a:lnTo>
                  <a:lnTo>
                    <a:pt x="10790" y="444"/>
                  </a:lnTo>
                  <a:lnTo>
                    <a:pt x="10807" y="455"/>
                  </a:lnTo>
                  <a:lnTo>
                    <a:pt x="10825" y="466"/>
                  </a:lnTo>
                  <a:lnTo>
                    <a:pt x="10842" y="477"/>
                  </a:lnTo>
                  <a:lnTo>
                    <a:pt x="10858" y="489"/>
                  </a:lnTo>
                  <a:lnTo>
                    <a:pt x="10873" y="502"/>
                  </a:lnTo>
                  <a:lnTo>
                    <a:pt x="10890" y="515"/>
                  </a:lnTo>
                  <a:lnTo>
                    <a:pt x="10904" y="529"/>
                  </a:lnTo>
                  <a:lnTo>
                    <a:pt x="10919" y="543"/>
                  </a:lnTo>
                  <a:lnTo>
                    <a:pt x="10933" y="557"/>
                  </a:lnTo>
                  <a:lnTo>
                    <a:pt x="10948" y="572"/>
                  </a:lnTo>
                  <a:lnTo>
                    <a:pt x="10962" y="589"/>
                  </a:lnTo>
                  <a:lnTo>
                    <a:pt x="10975" y="605"/>
                  </a:lnTo>
                  <a:lnTo>
                    <a:pt x="10988" y="621"/>
                  </a:lnTo>
                  <a:lnTo>
                    <a:pt x="11002" y="639"/>
                  </a:lnTo>
                  <a:lnTo>
                    <a:pt x="11015" y="657"/>
                  </a:lnTo>
                  <a:lnTo>
                    <a:pt x="11327" y="4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490538" y="487363"/>
              <a:ext cx="466725" cy="455612"/>
            </a:xfrm>
            <a:custGeom>
              <a:avLst/>
              <a:gdLst>
                <a:gd name="T0" fmla="*/ 1853 w 3532"/>
                <a:gd name="T1" fmla="*/ 1336 h 3444"/>
                <a:gd name="T2" fmla="*/ 1828 w 3532"/>
                <a:gd name="T3" fmla="*/ 1351 h 3444"/>
                <a:gd name="T4" fmla="*/ 1795 w 3532"/>
                <a:gd name="T5" fmla="*/ 1349 h 3444"/>
                <a:gd name="T6" fmla="*/ 1104 w 3532"/>
                <a:gd name="T7" fmla="*/ 1069 h 3444"/>
                <a:gd name="T8" fmla="*/ 1071 w 3532"/>
                <a:gd name="T9" fmla="*/ 1010 h 3444"/>
                <a:gd name="T10" fmla="*/ 1204 w 3532"/>
                <a:gd name="T11" fmla="*/ 141 h 3444"/>
                <a:gd name="T12" fmla="*/ 1231 w 3532"/>
                <a:gd name="T13" fmla="*/ 77 h 3444"/>
                <a:gd name="T14" fmla="*/ 1287 w 3532"/>
                <a:gd name="T15" fmla="*/ 37 h 3444"/>
                <a:gd name="T16" fmla="*/ 2026 w 3532"/>
                <a:gd name="T17" fmla="*/ 0 h 3444"/>
                <a:gd name="T18" fmla="*/ 2055 w 3532"/>
                <a:gd name="T19" fmla="*/ 11 h 3444"/>
                <a:gd name="T20" fmla="*/ 2072 w 3532"/>
                <a:gd name="T21" fmla="*/ 37 h 3444"/>
                <a:gd name="T22" fmla="*/ 1399 w 3532"/>
                <a:gd name="T23" fmla="*/ 1554 h 3444"/>
                <a:gd name="T24" fmla="*/ 1417 w 3532"/>
                <a:gd name="T25" fmla="*/ 1578 h 3444"/>
                <a:gd name="T26" fmla="*/ 1414 w 3532"/>
                <a:gd name="T27" fmla="*/ 1610 h 3444"/>
                <a:gd name="T28" fmla="*/ 958 w 3532"/>
                <a:gd name="T29" fmla="*/ 2172 h 3444"/>
                <a:gd name="T30" fmla="*/ 893 w 3532"/>
                <a:gd name="T31" fmla="*/ 2208 h 3444"/>
                <a:gd name="T32" fmla="*/ 826 w 3532"/>
                <a:gd name="T33" fmla="*/ 2201 h 3444"/>
                <a:gd name="T34" fmla="*/ 45 w 3532"/>
                <a:gd name="T35" fmla="*/ 1796 h 3444"/>
                <a:gd name="T36" fmla="*/ 6 w 3532"/>
                <a:gd name="T37" fmla="*/ 1741 h 3444"/>
                <a:gd name="T38" fmla="*/ 4 w 3532"/>
                <a:gd name="T39" fmla="*/ 1664 h 3444"/>
                <a:gd name="T40" fmla="*/ 200 w 3532"/>
                <a:gd name="T41" fmla="*/ 976 h 3444"/>
                <a:gd name="T42" fmla="*/ 226 w 3532"/>
                <a:gd name="T43" fmla="*/ 959 h 3444"/>
                <a:gd name="T44" fmla="*/ 255 w 3532"/>
                <a:gd name="T45" fmla="*/ 963 h 3444"/>
                <a:gd name="T46" fmla="*/ 1491 w 3532"/>
                <a:gd name="T47" fmla="*/ 2055 h 3444"/>
                <a:gd name="T48" fmla="*/ 1521 w 3532"/>
                <a:gd name="T49" fmla="*/ 2057 h 3444"/>
                <a:gd name="T50" fmla="*/ 1546 w 3532"/>
                <a:gd name="T51" fmla="*/ 2077 h 3444"/>
                <a:gd name="T52" fmla="*/ 1940 w 3532"/>
                <a:gd name="T53" fmla="*/ 2711 h 3444"/>
                <a:gd name="T54" fmla="*/ 1933 w 3532"/>
                <a:gd name="T55" fmla="*/ 2779 h 3444"/>
                <a:gd name="T56" fmla="*/ 1315 w 3532"/>
                <a:gd name="T57" fmla="*/ 3402 h 3444"/>
                <a:gd name="T58" fmla="*/ 1256 w 3532"/>
                <a:gd name="T59" fmla="*/ 3439 h 3444"/>
                <a:gd name="T60" fmla="*/ 1187 w 3532"/>
                <a:gd name="T61" fmla="*/ 3439 h 3444"/>
                <a:gd name="T62" fmla="*/ 567 w 3532"/>
                <a:gd name="T63" fmla="*/ 3035 h 3444"/>
                <a:gd name="T64" fmla="*/ 549 w 3532"/>
                <a:gd name="T65" fmla="*/ 3009 h 3444"/>
                <a:gd name="T66" fmla="*/ 551 w 3532"/>
                <a:gd name="T67" fmla="*/ 2978 h 3444"/>
                <a:gd name="T68" fmla="*/ 1987 w 3532"/>
                <a:gd name="T69" fmla="*/ 2144 h 3444"/>
                <a:gd name="T70" fmla="*/ 1988 w 3532"/>
                <a:gd name="T71" fmla="*/ 2114 h 3444"/>
                <a:gd name="T72" fmla="*/ 2009 w 3532"/>
                <a:gd name="T73" fmla="*/ 2091 h 3444"/>
                <a:gd name="T74" fmla="*/ 2707 w 3532"/>
                <a:gd name="T75" fmla="*/ 1899 h 3444"/>
                <a:gd name="T76" fmla="*/ 2780 w 3532"/>
                <a:gd name="T77" fmla="*/ 1910 h 3444"/>
                <a:gd name="T78" fmla="*/ 2832 w 3532"/>
                <a:gd name="T79" fmla="*/ 1953 h 3444"/>
                <a:gd name="T80" fmla="*/ 3229 w 3532"/>
                <a:gd name="T81" fmla="*/ 2739 h 3444"/>
                <a:gd name="T82" fmla="*/ 3227 w 3532"/>
                <a:gd name="T83" fmla="*/ 2806 h 3444"/>
                <a:gd name="T84" fmla="*/ 3184 w 3532"/>
                <a:gd name="T85" fmla="*/ 2871 h 3444"/>
                <a:gd name="T86" fmla="*/ 2624 w 3532"/>
                <a:gd name="T87" fmla="*/ 3314 h 3444"/>
                <a:gd name="T88" fmla="*/ 2593 w 3532"/>
                <a:gd name="T89" fmla="*/ 3313 h 3444"/>
                <a:gd name="T90" fmla="*/ 2570 w 3532"/>
                <a:gd name="T91" fmla="*/ 3292 h 3444"/>
                <a:gd name="T92" fmla="*/ 2206 w 3532"/>
                <a:gd name="T93" fmla="*/ 1686 h 3444"/>
                <a:gd name="T94" fmla="*/ 2183 w 3532"/>
                <a:gd name="T95" fmla="*/ 1667 h 3444"/>
                <a:gd name="T96" fmla="*/ 2176 w 3532"/>
                <a:gd name="T97" fmla="*/ 1635 h 3444"/>
                <a:gd name="T98" fmla="*/ 2229 w 3532"/>
                <a:gd name="T99" fmla="*/ 892 h 3444"/>
                <a:gd name="T100" fmla="*/ 2275 w 3532"/>
                <a:gd name="T101" fmla="*/ 841 h 3444"/>
                <a:gd name="T102" fmla="*/ 3142 w 3532"/>
                <a:gd name="T103" fmla="*/ 700 h 3444"/>
                <a:gd name="T104" fmla="*/ 3211 w 3532"/>
                <a:gd name="T105" fmla="*/ 706 h 3444"/>
                <a:gd name="T106" fmla="*/ 3268 w 3532"/>
                <a:gd name="T107" fmla="*/ 746 h 3444"/>
                <a:gd name="T108" fmla="*/ 3530 w 3532"/>
                <a:gd name="T109" fmla="*/ 1438 h 3444"/>
                <a:gd name="T110" fmla="*/ 3529 w 3532"/>
                <a:gd name="T111" fmla="*/ 1469 h 3444"/>
                <a:gd name="T112" fmla="*/ 3510 w 3532"/>
                <a:gd name="T113" fmla="*/ 1493 h 3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32" h="3444">
                  <a:moveTo>
                    <a:pt x="2072" y="52"/>
                  </a:moveTo>
                  <a:lnTo>
                    <a:pt x="1861" y="1317"/>
                  </a:lnTo>
                  <a:lnTo>
                    <a:pt x="1860" y="1322"/>
                  </a:lnTo>
                  <a:lnTo>
                    <a:pt x="1858" y="1327"/>
                  </a:lnTo>
                  <a:lnTo>
                    <a:pt x="1856" y="1332"/>
                  </a:lnTo>
                  <a:lnTo>
                    <a:pt x="1853" y="1336"/>
                  </a:lnTo>
                  <a:lnTo>
                    <a:pt x="1849" y="1340"/>
                  </a:lnTo>
                  <a:lnTo>
                    <a:pt x="1846" y="1343"/>
                  </a:lnTo>
                  <a:lnTo>
                    <a:pt x="1842" y="1346"/>
                  </a:lnTo>
                  <a:lnTo>
                    <a:pt x="1837" y="1348"/>
                  </a:lnTo>
                  <a:lnTo>
                    <a:pt x="1833" y="1350"/>
                  </a:lnTo>
                  <a:lnTo>
                    <a:pt x="1828" y="1351"/>
                  </a:lnTo>
                  <a:lnTo>
                    <a:pt x="1822" y="1352"/>
                  </a:lnTo>
                  <a:lnTo>
                    <a:pt x="1817" y="1353"/>
                  </a:lnTo>
                  <a:lnTo>
                    <a:pt x="1811" y="1352"/>
                  </a:lnTo>
                  <a:lnTo>
                    <a:pt x="1806" y="1352"/>
                  </a:lnTo>
                  <a:lnTo>
                    <a:pt x="1801" y="1351"/>
                  </a:lnTo>
                  <a:lnTo>
                    <a:pt x="1795" y="1349"/>
                  </a:lnTo>
                  <a:lnTo>
                    <a:pt x="1163" y="1105"/>
                  </a:lnTo>
                  <a:lnTo>
                    <a:pt x="1149" y="1099"/>
                  </a:lnTo>
                  <a:lnTo>
                    <a:pt x="1136" y="1092"/>
                  </a:lnTo>
                  <a:lnTo>
                    <a:pt x="1125" y="1085"/>
                  </a:lnTo>
                  <a:lnTo>
                    <a:pt x="1114" y="1077"/>
                  </a:lnTo>
                  <a:lnTo>
                    <a:pt x="1104" y="1069"/>
                  </a:lnTo>
                  <a:lnTo>
                    <a:pt x="1096" y="1060"/>
                  </a:lnTo>
                  <a:lnTo>
                    <a:pt x="1089" y="1050"/>
                  </a:lnTo>
                  <a:lnTo>
                    <a:pt x="1083" y="1041"/>
                  </a:lnTo>
                  <a:lnTo>
                    <a:pt x="1078" y="1031"/>
                  </a:lnTo>
                  <a:lnTo>
                    <a:pt x="1074" y="1020"/>
                  </a:lnTo>
                  <a:lnTo>
                    <a:pt x="1071" y="1010"/>
                  </a:lnTo>
                  <a:lnTo>
                    <a:pt x="1068" y="999"/>
                  </a:lnTo>
                  <a:lnTo>
                    <a:pt x="1067" y="986"/>
                  </a:lnTo>
                  <a:lnTo>
                    <a:pt x="1067" y="975"/>
                  </a:lnTo>
                  <a:lnTo>
                    <a:pt x="1068" y="963"/>
                  </a:lnTo>
                  <a:lnTo>
                    <a:pt x="1069" y="951"/>
                  </a:lnTo>
                  <a:lnTo>
                    <a:pt x="1204" y="141"/>
                  </a:lnTo>
                  <a:lnTo>
                    <a:pt x="1206" y="130"/>
                  </a:lnTo>
                  <a:lnTo>
                    <a:pt x="1209" y="118"/>
                  </a:lnTo>
                  <a:lnTo>
                    <a:pt x="1213" y="107"/>
                  </a:lnTo>
                  <a:lnTo>
                    <a:pt x="1218" y="97"/>
                  </a:lnTo>
                  <a:lnTo>
                    <a:pt x="1224" y="86"/>
                  </a:lnTo>
                  <a:lnTo>
                    <a:pt x="1231" y="77"/>
                  </a:lnTo>
                  <a:lnTo>
                    <a:pt x="1238" y="69"/>
                  </a:lnTo>
                  <a:lnTo>
                    <a:pt x="1246" y="61"/>
                  </a:lnTo>
                  <a:lnTo>
                    <a:pt x="1255" y="54"/>
                  </a:lnTo>
                  <a:lnTo>
                    <a:pt x="1265" y="47"/>
                  </a:lnTo>
                  <a:lnTo>
                    <a:pt x="1275" y="42"/>
                  </a:lnTo>
                  <a:lnTo>
                    <a:pt x="1287" y="37"/>
                  </a:lnTo>
                  <a:lnTo>
                    <a:pt x="1300" y="33"/>
                  </a:lnTo>
                  <a:lnTo>
                    <a:pt x="1313" y="29"/>
                  </a:lnTo>
                  <a:lnTo>
                    <a:pt x="1327" y="27"/>
                  </a:lnTo>
                  <a:lnTo>
                    <a:pt x="1342" y="26"/>
                  </a:lnTo>
                  <a:lnTo>
                    <a:pt x="2020" y="0"/>
                  </a:lnTo>
                  <a:lnTo>
                    <a:pt x="2026" y="0"/>
                  </a:lnTo>
                  <a:lnTo>
                    <a:pt x="2031" y="1"/>
                  </a:lnTo>
                  <a:lnTo>
                    <a:pt x="2036" y="2"/>
                  </a:lnTo>
                  <a:lnTo>
                    <a:pt x="2042" y="3"/>
                  </a:lnTo>
                  <a:lnTo>
                    <a:pt x="2046" y="5"/>
                  </a:lnTo>
                  <a:lnTo>
                    <a:pt x="2051" y="8"/>
                  </a:lnTo>
                  <a:lnTo>
                    <a:pt x="2055" y="11"/>
                  </a:lnTo>
                  <a:lnTo>
                    <a:pt x="2059" y="14"/>
                  </a:lnTo>
                  <a:lnTo>
                    <a:pt x="2062" y="18"/>
                  </a:lnTo>
                  <a:lnTo>
                    <a:pt x="2066" y="22"/>
                  </a:lnTo>
                  <a:lnTo>
                    <a:pt x="2068" y="26"/>
                  </a:lnTo>
                  <a:lnTo>
                    <a:pt x="2070" y="32"/>
                  </a:lnTo>
                  <a:lnTo>
                    <a:pt x="2072" y="37"/>
                  </a:lnTo>
                  <a:lnTo>
                    <a:pt x="2072" y="42"/>
                  </a:lnTo>
                  <a:lnTo>
                    <a:pt x="2073" y="47"/>
                  </a:lnTo>
                  <a:lnTo>
                    <a:pt x="2072" y="52"/>
                  </a:lnTo>
                  <a:close/>
                  <a:moveTo>
                    <a:pt x="255" y="963"/>
                  </a:moveTo>
                  <a:lnTo>
                    <a:pt x="1394" y="1551"/>
                  </a:lnTo>
                  <a:lnTo>
                    <a:pt x="1399" y="1554"/>
                  </a:lnTo>
                  <a:lnTo>
                    <a:pt x="1403" y="1557"/>
                  </a:lnTo>
                  <a:lnTo>
                    <a:pt x="1408" y="1561"/>
                  </a:lnTo>
                  <a:lnTo>
                    <a:pt x="1411" y="1565"/>
                  </a:lnTo>
                  <a:lnTo>
                    <a:pt x="1413" y="1569"/>
                  </a:lnTo>
                  <a:lnTo>
                    <a:pt x="1415" y="1574"/>
                  </a:lnTo>
                  <a:lnTo>
                    <a:pt x="1417" y="1578"/>
                  </a:lnTo>
                  <a:lnTo>
                    <a:pt x="1418" y="1583"/>
                  </a:lnTo>
                  <a:lnTo>
                    <a:pt x="1418" y="1588"/>
                  </a:lnTo>
                  <a:lnTo>
                    <a:pt x="1418" y="1593"/>
                  </a:lnTo>
                  <a:lnTo>
                    <a:pt x="1417" y="1599"/>
                  </a:lnTo>
                  <a:lnTo>
                    <a:pt x="1416" y="1605"/>
                  </a:lnTo>
                  <a:lnTo>
                    <a:pt x="1414" y="1610"/>
                  </a:lnTo>
                  <a:lnTo>
                    <a:pt x="1412" y="1614"/>
                  </a:lnTo>
                  <a:lnTo>
                    <a:pt x="1409" y="1619"/>
                  </a:lnTo>
                  <a:lnTo>
                    <a:pt x="1405" y="1624"/>
                  </a:lnTo>
                  <a:lnTo>
                    <a:pt x="978" y="2151"/>
                  </a:lnTo>
                  <a:lnTo>
                    <a:pt x="969" y="2162"/>
                  </a:lnTo>
                  <a:lnTo>
                    <a:pt x="958" y="2172"/>
                  </a:lnTo>
                  <a:lnTo>
                    <a:pt x="948" y="2181"/>
                  </a:lnTo>
                  <a:lnTo>
                    <a:pt x="938" y="2188"/>
                  </a:lnTo>
                  <a:lnTo>
                    <a:pt x="926" y="2195"/>
                  </a:lnTo>
                  <a:lnTo>
                    <a:pt x="915" y="2200"/>
                  </a:lnTo>
                  <a:lnTo>
                    <a:pt x="904" y="2204"/>
                  </a:lnTo>
                  <a:lnTo>
                    <a:pt x="893" y="2208"/>
                  </a:lnTo>
                  <a:lnTo>
                    <a:pt x="882" y="2209"/>
                  </a:lnTo>
                  <a:lnTo>
                    <a:pt x="871" y="2210"/>
                  </a:lnTo>
                  <a:lnTo>
                    <a:pt x="859" y="2209"/>
                  </a:lnTo>
                  <a:lnTo>
                    <a:pt x="848" y="2208"/>
                  </a:lnTo>
                  <a:lnTo>
                    <a:pt x="837" y="2206"/>
                  </a:lnTo>
                  <a:lnTo>
                    <a:pt x="826" y="2201"/>
                  </a:lnTo>
                  <a:lnTo>
                    <a:pt x="815" y="2197"/>
                  </a:lnTo>
                  <a:lnTo>
                    <a:pt x="803" y="2192"/>
                  </a:lnTo>
                  <a:lnTo>
                    <a:pt x="74" y="1816"/>
                  </a:lnTo>
                  <a:lnTo>
                    <a:pt x="64" y="1810"/>
                  </a:lnTo>
                  <a:lnTo>
                    <a:pt x="54" y="1803"/>
                  </a:lnTo>
                  <a:lnTo>
                    <a:pt x="45" y="1796"/>
                  </a:lnTo>
                  <a:lnTo>
                    <a:pt x="37" y="1789"/>
                  </a:lnTo>
                  <a:lnTo>
                    <a:pt x="28" y="1779"/>
                  </a:lnTo>
                  <a:lnTo>
                    <a:pt x="21" y="1771"/>
                  </a:lnTo>
                  <a:lnTo>
                    <a:pt x="15" y="1761"/>
                  </a:lnTo>
                  <a:lnTo>
                    <a:pt x="10" y="1751"/>
                  </a:lnTo>
                  <a:lnTo>
                    <a:pt x="6" y="1741"/>
                  </a:lnTo>
                  <a:lnTo>
                    <a:pt x="3" y="1729"/>
                  </a:lnTo>
                  <a:lnTo>
                    <a:pt x="1" y="1717"/>
                  </a:lnTo>
                  <a:lnTo>
                    <a:pt x="0" y="1704"/>
                  </a:lnTo>
                  <a:lnTo>
                    <a:pt x="0" y="1691"/>
                  </a:lnTo>
                  <a:lnTo>
                    <a:pt x="1" y="1678"/>
                  </a:lnTo>
                  <a:lnTo>
                    <a:pt x="4" y="1664"/>
                  </a:lnTo>
                  <a:lnTo>
                    <a:pt x="7" y="1648"/>
                  </a:lnTo>
                  <a:lnTo>
                    <a:pt x="190" y="995"/>
                  </a:lnTo>
                  <a:lnTo>
                    <a:pt x="192" y="990"/>
                  </a:lnTo>
                  <a:lnTo>
                    <a:pt x="194" y="985"/>
                  </a:lnTo>
                  <a:lnTo>
                    <a:pt x="197" y="980"/>
                  </a:lnTo>
                  <a:lnTo>
                    <a:pt x="200" y="976"/>
                  </a:lnTo>
                  <a:lnTo>
                    <a:pt x="203" y="972"/>
                  </a:lnTo>
                  <a:lnTo>
                    <a:pt x="207" y="969"/>
                  </a:lnTo>
                  <a:lnTo>
                    <a:pt x="212" y="965"/>
                  </a:lnTo>
                  <a:lnTo>
                    <a:pt x="216" y="963"/>
                  </a:lnTo>
                  <a:lnTo>
                    <a:pt x="221" y="961"/>
                  </a:lnTo>
                  <a:lnTo>
                    <a:pt x="226" y="959"/>
                  </a:lnTo>
                  <a:lnTo>
                    <a:pt x="230" y="958"/>
                  </a:lnTo>
                  <a:lnTo>
                    <a:pt x="235" y="958"/>
                  </a:lnTo>
                  <a:lnTo>
                    <a:pt x="240" y="958"/>
                  </a:lnTo>
                  <a:lnTo>
                    <a:pt x="245" y="959"/>
                  </a:lnTo>
                  <a:lnTo>
                    <a:pt x="250" y="960"/>
                  </a:lnTo>
                  <a:lnTo>
                    <a:pt x="255" y="963"/>
                  </a:lnTo>
                  <a:close/>
                  <a:moveTo>
                    <a:pt x="560" y="2966"/>
                  </a:moveTo>
                  <a:lnTo>
                    <a:pt x="1474" y="2066"/>
                  </a:lnTo>
                  <a:lnTo>
                    <a:pt x="1478" y="2062"/>
                  </a:lnTo>
                  <a:lnTo>
                    <a:pt x="1482" y="2059"/>
                  </a:lnTo>
                  <a:lnTo>
                    <a:pt x="1487" y="2057"/>
                  </a:lnTo>
                  <a:lnTo>
                    <a:pt x="1491" y="2055"/>
                  </a:lnTo>
                  <a:lnTo>
                    <a:pt x="1496" y="2054"/>
                  </a:lnTo>
                  <a:lnTo>
                    <a:pt x="1501" y="2053"/>
                  </a:lnTo>
                  <a:lnTo>
                    <a:pt x="1506" y="2054"/>
                  </a:lnTo>
                  <a:lnTo>
                    <a:pt x="1511" y="2054"/>
                  </a:lnTo>
                  <a:lnTo>
                    <a:pt x="1516" y="2055"/>
                  </a:lnTo>
                  <a:lnTo>
                    <a:pt x="1521" y="2057"/>
                  </a:lnTo>
                  <a:lnTo>
                    <a:pt x="1526" y="2059"/>
                  </a:lnTo>
                  <a:lnTo>
                    <a:pt x="1531" y="2062"/>
                  </a:lnTo>
                  <a:lnTo>
                    <a:pt x="1535" y="2065"/>
                  </a:lnTo>
                  <a:lnTo>
                    <a:pt x="1539" y="2069"/>
                  </a:lnTo>
                  <a:lnTo>
                    <a:pt x="1543" y="2073"/>
                  </a:lnTo>
                  <a:lnTo>
                    <a:pt x="1546" y="2077"/>
                  </a:lnTo>
                  <a:lnTo>
                    <a:pt x="1914" y="2647"/>
                  </a:lnTo>
                  <a:lnTo>
                    <a:pt x="1922" y="2660"/>
                  </a:lnTo>
                  <a:lnTo>
                    <a:pt x="1928" y="2673"/>
                  </a:lnTo>
                  <a:lnTo>
                    <a:pt x="1933" y="2685"/>
                  </a:lnTo>
                  <a:lnTo>
                    <a:pt x="1937" y="2699"/>
                  </a:lnTo>
                  <a:lnTo>
                    <a:pt x="1940" y="2711"/>
                  </a:lnTo>
                  <a:lnTo>
                    <a:pt x="1941" y="2723"/>
                  </a:lnTo>
                  <a:lnTo>
                    <a:pt x="1942" y="2734"/>
                  </a:lnTo>
                  <a:lnTo>
                    <a:pt x="1941" y="2745"/>
                  </a:lnTo>
                  <a:lnTo>
                    <a:pt x="1939" y="2758"/>
                  </a:lnTo>
                  <a:lnTo>
                    <a:pt x="1936" y="2768"/>
                  </a:lnTo>
                  <a:lnTo>
                    <a:pt x="1933" y="2779"/>
                  </a:lnTo>
                  <a:lnTo>
                    <a:pt x="1928" y="2789"/>
                  </a:lnTo>
                  <a:lnTo>
                    <a:pt x="1922" y="2799"/>
                  </a:lnTo>
                  <a:lnTo>
                    <a:pt x="1915" y="2808"/>
                  </a:lnTo>
                  <a:lnTo>
                    <a:pt x="1908" y="2818"/>
                  </a:lnTo>
                  <a:lnTo>
                    <a:pt x="1900" y="2827"/>
                  </a:lnTo>
                  <a:lnTo>
                    <a:pt x="1315" y="3402"/>
                  </a:lnTo>
                  <a:lnTo>
                    <a:pt x="1307" y="3410"/>
                  </a:lnTo>
                  <a:lnTo>
                    <a:pt x="1297" y="3419"/>
                  </a:lnTo>
                  <a:lnTo>
                    <a:pt x="1288" y="3425"/>
                  </a:lnTo>
                  <a:lnTo>
                    <a:pt x="1277" y="3431"/>
                  </a:lnTo>
                  <a:lnTo>
                    <a:pt x="1267" y="3435"/>
                  </a:lnTo>
                  <a:lnTo>
                    <a:pt x="1256" y="3439"/>
                  </a:lnTo>
                  <a:lnTo>
                    <a:pt x="1245" y="3442"/>
                  </a:lnTo>
                  <a:lnTo>
                    <a:pt x="1234" y="3443"/>
                  </a:lnTo>
                  <a:lnTo>
                    <a:pt x="1222" y="3444"/>
                  </a:lnTo>
                  <a:lnTo>
                    <a:pt x="1211" y="3443"/>
                  </a:lnTo>
                  <a:lnTo>
                    <a:pt x="1199" y="3442"/>
                  </a:lnTo>
                  <a:lnTo>
                    <a:pt x="1187" y="3439"/>
                  </a:lnTo>
                  <a:lnTo>
                    <a:pt x="1174" y="3435"/>
                  </a:lnTo>
                  <a:lnTo>
                    <a:pt x="1161" y="3430"/>
                  </a:lnTo>
                  <a:lnTo>
                    <a:pt x="1148" y="3423"/>
                  </a:lnTo>
                  <a:lnTo>
                    <a:pt x="1136" y="3415"/>
                  </a:lnTo>
                  <a:lnTo>
                    <a:pt x="572" y="3038"/>
                  </a:lnTo>
                  <a:lnTo>
                    <a:pt x="567" y="3035"/>
                  </a:lnTo>
                  <a:lnTo>
                    <a:pt x="563" y="3031"/>
                  </a:lnTo>
                  <a:lnTo>
                    <a:pt x="559" y="3027"/>
                  </a:lnTo>
                  <a:lnTo>
                    <a:pt x="556" y="3023"/>
                  </a:lnTo>
                  <a:lnTo>
                    <a:pt x="553" y="3018"/>
                  </a:lnTo>
                  <a:lnTo>
                    <a:pt x="551" y="3014"/>
                  </a:lnTo>
                  <a:lnTo>
                    <a:pt x="549" y="3009"/>
                  </a:lnTo>
                  <a:lnTo>
                    <a:pt x="548" y="3004"/>
                  </a:lnTo>
                  <a:lnTo>
                    <a:pt x="548" y="2999"/>
                  </a:lnTo>
                  <a:lnTo>
                    <a:pt x="548" y="2994"/>
                  </a:lnTo>
                  <a:lnTo>
                    <a:pt x="548" y="2988"/>
                  </a:lnTo>
                  <a:lnTo>
                    <a:pt x="549" y="2983"/>
                  </a:lnTo>
                  <a:lnTo>
                    <a:pt x="551" y="2978"/>
                  </a:lnTo>
                  <a:lnTo>
                    <a:pt x="553" y="2974"/>
                  </a:lnTo>
                  <a:lnTo>
                    <a:pt x="556" y="2970"/>
                  </a:lnTo>
                  <a:lnTo>
                    <a:pt x="560" y="2966"/>
                  </a:lnTo>
                  <a:close/>
                  <a:moveTo>
                    <a:pt x="2570" y="3292"/>
                  </a:moveTo>
                  <a:lnTo>
                    <a:pt x="1990" y="2150"/>
                  </a:lnTo>
                  <a:lnTo>
                    <a:pt x="1987" y="2144"/>
                  </a:lnTo>
                  <a:lnTo>
                    <a:pt x="1986" y="2139"/>
                  </a:lnTo>
                  <a:lnTo>
                    <a:pt x="1985" y="2134"/>
                  </a:lnTo>
                  <a:lnTo>
                    <a:pt x="1985" y="2128"/>
                  </a:lnTo>
                  <a:lnTo>
                    <a:pt x="1986" y="2124"/>
                  </a:lnTo>
                  <a:lnTo>
                    <a:pt x="1987" y="2119"/>
                  </a:lnTo>
                  <a:lnTo>
                    <a:pt x="1988" y="2114"/>
                  </a:lnTo>
                  <a:lnTo>
                    <a:pt x="1990" y="2110"/>
                  </a:lnTo>
                  <a:lnTo>
                    <a:pt x="1993" y="2105"/>
                  </a:lnTo>
                  <a:lnTo>
                    <a:pt x="1996" y="2101"/>
                  </a:lnTo>
                  <a:lnTo>
                    <a:pt x="2000" y="2098"/>
                  </a:lnTo>
                  <a:lnTo>
                    <a:pt x="2003" y="2094"/>
                  </a:lnTo>
                  <a:lnTo>
                    <a:pt x="2009" y="2091"/>
                  </a:lnTo>
                  <a:lnTo>
                    <a:pt x="2013" y="2088"/>
                  </a:lnTo>
                  <a:lnTo>
                    <a:pt x="2018" y="2086"/>
                  </a:lnTo>
                  <a:lnTo>
                    <a:pt x="2024" y="2084"/>
                  </a:lnTo>
                  <a:lnTo>
                    <a:pt x="2678" y="1906"/>
                  </a:lnTo>
                  <a:lnTo>
                    <a:pt x="2693" y="1902"/>
                  </a:lnTo>
                  <a:lnTo>
                    <a:pt x="2707" y="1899"/>
                  </a:lnTo>
                  <a:lnTo>
                    <a:pt x="2720" y="1898"/>
                  </a:lnTo>
                  <a:lnTo>
                    <a:pt x="2734" y="1898"/>
                  </a:lnTo>
                  <a:lnTo>
                    <a:pt x="2746" y="1900"/>
                  </a:lnTo>
                  <a:lnTo>
                    <a:pt x="2758" y="1902"/>
                  </a:lnTo>
                  <a:lnTo>
                    <a:pt x="2769" y="1906"/>
                  </a:lnTo>
                  <a:lnTo>
                    <a:pt x="2780" y="1910"/>
                  </a:lnTo>
                  <a:lnTo>
                    <a:pt x="2791" y="1915"/>
                  </a:lnTo>
                  <a:lnTo>
                    <a:pt x="2800" y="1921"/>
                  </a:lnTo>
                  <a:lnTo>
                    <a:pt x="2809" y="1928"/>
                  </a:lnTo>
                  <a:lnTo>
                    <a:pt x="2817" y="1936"/>
                  </a:lnTo>
                  <a:lnTo>
                    <a:pt x="2825" y="1944"/>
                  </a:lnTo>
                  <a:lnTo>
                    <a:pt x="2832" y="1953"/>
                  </a:lnTo>
                  <a:lnTo>
                    <a:pt x="2838" y="1963"/>
                  </a:lnTo>
                  <a:lnTo>
                    <a:pt x="2845" y="1974"/>
                  </a:lnTo>
                  <a:lnTo>
                    <a:pt x="3216" y="2706"/>
                  </a:lnTo>
                  <a:lnTo>
                    <a:pt x="3221" y="2717"/>
                  </a:lnTo>
                  <a:lnTo>
                    <a:pt x="3225" y="2727"/>
                  </a:lnTo>
                  <a:lnTo>
                    <a:pt x="3229" y="2739"/>
                  </a:lnTo>
                  <a:lnTo>
                    <a:pt x="3231" y="2751"/>
                  </a:lnTo>
                  <a:lnTo>
                    <a:pt x="3232" y="2762"/>
                  </a:lnTo>
                  <a:lnTo>
                    <a:pt x="3233" y="2773"/>
                  </a:lnTo>
                  <a:lnTo>
                    <a:pt x="3232" y="2784"/>
                  </a:lnTo>
                  <a:lnTo>
                    <a:pt x="3230" y="2795"/>
                  </a:lnTo>
                  <a:lnTo>
                    <a:pt x="3227" y="2806"/>
                  </a:lnTo>
                  <a:lnTo>
                    <a:pt x="3223" y="2818"/>
                  </a:lnTo>
                  <a:lnTo>
                    <a:pt x="3218" y="2829"/>
                  </a:lnTo>
                  <a:lnTo>
                    <a:pt x="3212" y="2839"/>
                  </a:lnTo>
                  <a:lnTo>
                    <a:pt x="3204" y="2850"/>
                  </a:lnTo>
                  <a:lnTo>
                    <a:pt x="3194" y="2860"/>
                  </a:lnTo>
                  <a:lnTo>
                    <a:pt x="3184" y="2871"/>
                  </a:lnTo>
                  <a:lnTo>
                    <a:pt x="3173" y="2881"/>
                  </a:lnTo>
                  <a:lnTo>
                    <a:pt x="2643" y="3304"/>
                  </a:lnTo>
                  <a:lnTo>
                    <a:pt x="2638" y="3307"/>
                  </a:lnTo>
                  <a:lnTo>
                    <a:pt x="2633" y="3310"/>
                  </a:lnTo>
                  <a:lnTo>
                    <a:pt x="2629" y="3312"/>
                  </a:lnTo>
                  <a:lnTo>
                    <a:pt x="2624" y="3314"/>
                  </a:lnTo>
                  <a:lnTo>
                    <a:pt x="2619" y="3315"/>
                  </a:lnTo>
                  <a:lnTo>
                    <a:pt x="2613" y="3316"/>
                  </a:lnTo>
                  <a:lnTo>
                    <a:pt x="2608" y="3316"/>
                  </a:lnTo>
                  <a:lnTo>
                    <a:pt x="2603" y="3315"/>
                  </a:lnTo>
                  <a:lnTo>
                    <a:pt x="2598" y="3314"/>
                  </a:lnTo>
                  <a:lnTo>
                    <a:pt x="2593" y="3313"/>
                  </a:lnTo>
                  <a:lnTo>
                    <a:pt x="2588" y="3311"/>
                  </a:lnTo>
                  <a:lnTo>
                    <a:pt x="2584" y="3308"/>
                  </a:lnTo>
                  <a:lnTo>
                    <a:pt x="2580" y="3305"/>
                  </a:lnTo>
                  <a:lnTo>
                    <a:pt x="2576" y="3302"/>
                  </a:lnTo>
                  <a:lnTo>
                    <a:pt x="2573" y="3297"/>
                  </a:lnTo>
                  <a:lnTo>
                    <a:pt x="2570" y="3292"/>
                  </a:lnTo>
                  <a:close/>
                  <a:moveTo>
                    <a:pt x="3494" y="1498"/>
                  </a:moveTo>
                  <a:lnTo>
                    <a:pt x="2227" y="1688"/>
                  </a:lnTo>
                  <a:lnTo>
                    <a:pt x="2222" y="1688"/>
                  </a:lnTo>
                  <a:lnTo>
                    <a:pt x="2216" y="1688"/>
                  </a:lnTo>
                  <a:lnTo>
                    <a:pt x="2211" y="1687"/>
                  </a:lnTo>
                  <a:lnTo>
                    <a:pt x="2206" y="1686"/>
                  </a:lnTo>
                  <a:lnTo>
                    <a:pt x="2202" y="1684"/>
                  </a:lnTo>
                  <a:lnTo>
                    <a:pt x="2198" y="1681"/>
                  </a:lnTo>
                  <a:lnTo>
                    <a:pt x="2194" y="1678"/>
                  </a:lnTo>
                  <a:lnTo>
                    <a:pt x="2190" y="1675"/>
                  </a:lnTo>
                  <a:lnTo>
                    <a:pt x="2187" y="1671"/>
                  </a:lnTo>
                  <a:lnTo>
                    <a:pt x="2183" y="1667"/>
                  </a:lnTo>
                  <a:lnTo>
                    <a:pt x="2181" y="1661"/>
                  </a:lnTo>
                  <a:lnTo>
                    <a:pt x="2179" y="1657"/>
                  </a:lnTo>
                  <a:lnTo>
                    <a:pt x="2177" y="1652"/>
                  </a:lnTo>
                  <a:lnTo>
                    <a:pt x="2176" y="1646"/>
                  </a:lnTo>
                  <a:lnTo>
                    <a:pt x="2176" y="1641"/>
                  </a:lnTo>
                  <a:lnTo>
                    <a:pt x="2176" y="1635"/>
                  </a:lnTo>
                  <a:lnTo>
                    <a:pt x="2213" y="959"/>
                  </a:lnTo>
                  <a:lnTo>
                    <a:pt x="2214" y="944"/>
                  </a:lnTo>
                  <a:lnTo>
                    <a:pt x="2217" y="929"/>
                  </a:lnTo>
                  <a:lnTo>
                    <a:pt x="2220" y="915"/>
                  </a:lnTo>
                  <a:lnTo>
                    <a:pt x="2224" y="903"/>
                  </a:lnTo>
                  <a:lnTo>
                    <a:pt x="2229" y="892"/>
                  </a:lnTo>
                  <a:lnTo>
                    <a:pt x="2235" y="881"/>
                  </a:lnTo>
                  <a:lnTo>
                    <a:pt x="2241" y="871"/>
                  </a:lnTo>
                  <a:lnTo>
                    <a:pt x="2250" y="862"/>
                  </a:lnTo>
                  <a:lnTo>
                    <a:pt x="2257" y="854"/>
                  </a:lnTo>
                  <a:lnTo>
                    <a:pt x="2266" y="847"/>
                  </a:lnTo>
                  <a:lnTo>
                    <a:pt x="2275" y="841"/>
                  </a:lnTo>
                  <a:lnTo>
                    <a:pt x="2285" y="836"/>
                  </a:lnTo>
                  <a:lnTo>
                    <a:pt x="2296" y="831"/>
                  </a:lnTo>
                  <a:lnTo>
                    <a:pt x="2307" y="827"/>
                  </a:lnTo>
                  <a:lnTo>
                    <a:pt x="2319" y="824"/>
                  </a:lnTo>
                  <a:lnTo>
                    <a:pt x="2331" y="822"/>
                  </a:lnTo>
                  <a:lnTo>
                    <a:pt x="3142" y="700"/>
                  </a:lnTo>
                  <a:lnTo>
                    <a:pt x="3154" y="699"/>
                  </a:lnTo>
                  <a:lnTo>
                    <a:pt x="3166" y="699"/>
                  </a:lnTo>
                  <a:lnTo>
                    <a:pt x="3177" y="699"/>
                  </a:lnTo>
                  <a:lnTo>
                    <a:pt x="3189" y="700"/>
                  </a:lnTo>
                  <a:lnTo>
                    <a:pt x="3200" y="702"/>
                  </a:lnTo>
                  <a:lnTo>
                    <a:pt x="3211" y="706"/>
                  </a:lnTo>
                  <a:lnTo>
                    <a:pt x="3222" y="710"/>
                  </a:lnTo>
                  <a:lnTo>
                    <a:pt x="3232" y="715"/>
                  </a:lnTo>
                  <a:lnTo>
                    <a:pt x="3241" y="721"/>
                  </a:lnTo>
                  <a:lnTo>
                    <a:pt x="3250" y="728"/>
                  </a:lnTo>
                  <a:lnTo>
                    <a:pt x="3259" y="737"/>
                  </a:lnTo>
                  <a:lnTo>
                    <a:pt x="3268" y="746"/>
                  </a:lnTo>
                  <a:lnTo>
                    <a:pt x="3275" y="758"/>
                  </a:lnTo>
                  <a:lnTo>
                    <a:pt x="3282" y="769"/>
                  </a:lnTo>
                  <a:lnTo>
                    <a:pt x="3289" y="782"/>
                  </a:lnTo>
                  <a:lnTo>
                    <a:pt x="3294" y="796"/>
                  </a:lnTo>
                  <a:lnTo>
                    <a:pt x="3529" y="1433"/>
                  </a:lnTo>
                  <a:lnTo>
                    <a:pt x="3530" y="1438"/>
                  </a:lnTo>
                  <a:lnTo>
                    <a:pt x="3531" y="1443"/>
                  </a:lnTo>
                  <a:lnTo>
                    <a:pt x="3532" y="1449"/>
                  </a:lnTo>
                  <a:lnTo>
                    <a:pt x="3532" y="1454"/>
                  </a:lnTo>
                  <a:lnTo>
                    <a:pt x="3531" y="1459"/>
                  </a:lnTo>
                  <a:lnTo>
                    <a:pt x="3530" y="1464"/>
                  </a:lnTo>
                  <a:lnTo>
                    <a:pt x="3529" y="1469"/>
                  </a:lnTo>
                  <a:lnTo>
                    <a:pt x="3527" y="1474"/>
                  </a:lnTo>
                  <a:lnTo>
                    <a:pt x="3525" y="1478"/>
                  </a:lnTo>
                  <a:lnTo>
                    <a:pt x="3522" y="1483"/>
                  </a:lnTo>
                  <a:lnTo>
                    <a:pt x="3518" y="1487"/>
                  </a:lnTo>
                  <a:lnTo>
                    <a:pt x="3515" y="1490"/>
                  </a:lnTo>
                  <a:lnTo>
                    <a:pt x="3510" y="1493"/>
                  </a:lnTo>
                  <a:lnTo>
                    <a:pt x="3506" y="1495"/>
                  </a:lnTo>
                  <a:lnTo>
                    <a:pt x="3501" y="1497"/>
                  </a:lnTo>
                  <a:lnTo>
                    <a:pt x="3494" y="1498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616122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Вертикальный заголовок и текст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3"/>
          <p:cNvSpPr>
            <a:spLocks noChangeAspect="1" noChangeArrowheads="1" noTextEdit="1"/>
          </p:cNvSpPr>
          <p:nvPr userDrawn="1"/>
        </p:nvSpPr>
        <p:spPr bwMode="auto">
          <a:xfrm>
            <a:off x="1910701" y="1639888"/>
            <a:ext cx="7995311" cy="521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Freeform 6"/>
          <p:cNvSpPr>
            <a:spLocks/>
          </p:cNvSpPr>
          <p:nvPr userDrawn="1"/>
        </p:nvSpPr>
        <p:spPr bwMode="auto">
          <a:xfrm>
            <a:off x="7334927" y="3109913"/>
            <a:ext cx="797983" cy="1746250"/>
          </a:xfrm>
          <a:custGeom>
            <a:avLst/>
            <a:gdLst>
              <a:gd name="T0" fmla="*/ 1858 w 1858"/>
              <a:gd name="T1" fmla="*/ 4402 h 4402"/>
              <a:gd name="T2" fmla="*/ 382 w 1858"/>
              <a:gd name="T3" fmla="*/ 3832 h 4402"/>
              <a:gd name="T4" fmla="*/ 353 w 1858"/>
              <a:gd name="T5" fmla="*/ 3820 h 4402"/>
              <a:gd name="T6" fmla="*/ 327 w 1858"/>
              <a:gd name="T7" fmla="*/ 3807 h 4402"/>
              <a:gd name="T8" fmla="*/ 300 w 1858"/>
              <a:gd name="T9" fmla="*/ 3794 h 4402"/>
              <a:gd name="T10" fmla="*/ 276 w 1858"/>
              <a:gd name="T11" fmla="*/ 3782 h 4402"/>
              <a:gd name="T12" fmla="*/ 251 w 1858"/>
              <a:gd name="T13" fmla="*/ 3768 h 4402"/>
              <a:gd name="T14" fmla="*/ 229 w 1858"/>
              <a:gd name="T15" fmla="*/ 3753 h 4402"/>
              <a:gd name="T16" fmla="*/ 207 w 1858"/>
              <a:gd name="T17" fmla="*/ 3737 h 4402"/>
              <a:gd name="T18" fmla="*/ 187 w 1858"/>
              <a:gd name="T19" fmla="*/ 3721 h 4402"/>
              <a:gd name="T20" fmla="*/ 167 w 1858"/>
              <a:gd name="T21" fmla="*/ 3705 h 4402"/>
              <a:gd name="T22" fmla="*/ 150 w 1858"/>
              <a:gd name="T23" fmla="*/ 3689 h 4402"/>
              <a:gd name="T24" fmla="*/ 133 w 1858"/>
              <a:gd name="T25" fmla="*/ 3671 h 4402"/>
              <a:gd name="T26" fmla="*/ 116 w 1858"/>
              <a:gd name="T27" fmla="*/ 3653 h 4402"/>
              <a:gd name="T28" fmla="*/ 101 w 1858"/>
              <a:gd name="T29" fmla="*/ 3635 h 4402"/>
              <a:gd name="T30" fmla="*/ 87 w 1858"/>
              <a:gd name="T31" fmla="*/ 3615 h 4402"/>
              <a:gd name="T32" fmla="*/ 74 w 1858"/>
              <a:gd name="T33" fmla="*/ 3597 h 4402"/>
              <a:gd name="T34" fmla="*/ 63 w 1858"/>
              <a:gd name="T35" fmla="*/ 3577 h 4402"/>
              <a:gd name="T36" fmla="*/ 52 w 1858"/>
              <a:gd name="T37" fmla="*/ 3557 h 4402"/>
              <a:gd name="T38" fmla="*/ 43 w 1858"/>
              <a:gd name="T39" fmla="*/ 3536 h 4402"/>
              <a:gd name="T40" fmla="*/ 34 w 1858"/>
              <a:gd name="T41" fmla="*/ 3515 h 4402"/>
              <a:gd name="T42" fmla="*/ 27 w 1858"/>
              <a:gd name="T43" fmla="*/ 3495 h 4402"/>
              <a:gd name="T44" fmla="*/ 20 w 1858"/>
              <a:gd name="T45" fmla="*/ 3472 h 4402"/>
              <a:gd name="T46" fmla="*/ 14 w 1858"/>
              <a:gd name="T47" fmla="*/ 3452 h 4402"/>
              <a:gd name="T48" fmla="*/ 9 w 1858"/>
              <a:gd name="T49" fmla="*/ 3429 h 4402"/>
              <a:gd name="T50" fmla="*/ 6 w 1858"/>
              <a:gd name="T51" fmla="*/ 3406 h 4402"/>
              <a:gd name="T52" fmla="*/ 4 w 1858"/>
              <a:gd name="T53" fmla="*/ 3384 h 4402"/>
              <a:gd name="T54" fmla="*/ 1 w 1858"/>
              <a:gd name="T55" fmla="*/ 3361 h 4402"/>
              <a:gd name="T56" fmla="*/ 0 w 1858"/>
              <a:gd name="T57" fmla="*/ 3338 h 4402"/>
              <a:gd name="T58" fmla="*/ 0 w 1858"/>
              <a:gd name="T59" fmla="*/ 3314 h 4402"/>
              <a:gd name="T60" fmla="*/ 1 w 1858"/>
              <a:gd name="T61" fmla="*/ 3291 h 4402"/>
              <a:gd name="T62" fmla="*/ 4 w 1858"/>
              <a:gd name="T63" fmla="*/ 3267 h 4402"/>
              <a:gd name="T64" fmla="*/ 6 w 1858"/>
              <a:gd name="T65" fmla="*/ 3243 h 4402"/>
              <a:gd name="T66" fmla="*/ 9 w 1858"/>
              <a:gd name="T67" fmla="*/ 3219 h 4402"/>
              <a:gd name="T68" fmla="*/ 546 w 1858"/>
              <a:gd name="T69" fmla="*/ 0 h 4402"/>
              <a:gd name="T70" fmla="*/ 518 w 1858"/>
              <a:gd name="T71" fmla="*/ 3019 h 4402"/>
              <a:gd name="T72" fmla="*/ 520 w 1858"/>
              <a:gd name="T73" fmla="*/ 3047 h 4402"/>
              <a:gd name="T74" fmla="*/ 521 w 1858"/>
              <a:gd name="T75" fmla="*/ 3076 h 4402"/>
              <a:gd name="T76" fmla="*/ 524 w 1858"/>
              <a:gd name="T77" fmla="*/ 3104 h 4402"/>
              <a:gd name="T78" fmla="*/ 529 w 1858"/>
              <a:gd name="T79" fmla="*/ 3132 h 4402"/>
              <a:gd name="T80" fmla="*/ 535 w 1858"/>
              <a:gd name="T81" fmla="*/ 3161 h 4402"/>
              <a:gd name="T82" fmla="*/ 542 w 1858"/>
              <a:gd name="T83" fmla="*/ 3189 h 4402"/>
              <a:gd name="T84" fmla="*/ 550 w 1858"/>
              <a:gd name="T85" fmla="*/ 3217 h 4402"/>
              <a:gd name="T86" fmla="*/ 560 w 1858"/>
              <a:gd name="T87" fmla="*/ 3245 h 4402"/>
              <a:gd name="T88" fmla="*/ 571 w 1858"/>
              <a:gd name="T89" fmla="*/ 3270 h 4402"/>
              <a:gd name="T90" fmla="*/ 584 w 1858"/>
              <a:gd name="T91" fmla="*/ 3297 h 4402"/>
              <a:gd name="T92" fmla="*/ 597 w 1858"/>
              <a:gd name="T93" fmla="*/ 3321 h 4402"/>
              <a:gd name="T94" fmla="*/ 613 w 1858"/>
              <a:gd name="T95" fmla="*/ 3346 h 4402"/>
              <a:gd name="T96" fmla="*/ 629 w 1858"/>
              <a:gd name="T97" fmla="*/ 3369 h 4402"/>
              <a:gd name="T98" fmla="*/ 647 w 1858"/>
              <a:gd name="T99" fmla="*/ 3390 h 4402"/>
              <a:gd name="T100" fmla="*/ 666 w 1858"/>
              <a:gd name="T101" fmla="*/ 3410 h 4402"/>
              <a:gd name="T102" fmla="*/ 687 w 1858"/>
              <a:gd name="T103" fmla="*/ 3428 h 4402"/>
              <a:gd name="T104" fmla="*/ 1858 w 1858"/>
              <a:gd name="T105" fmla="*/ 4402 h 44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858" h="4402">
                <a:moveTo>
                  <a:pt x="1858" y="4402"/>
                </a:moveTo>
                <a:lnTo>
                  <a:pt x="382" y="3832"/>
                </a:lnTo>
                <a:lnTo>
                  <a:pt x="353" y="3820"/>
                </a:lnTo>
                <a:lnTo>
                  <a:pt x="327" y="3807"/>
                </a:lnTo>
                <a:lnTo>
                  <a:pt x="300" y="3794"/>
                </a:lnTo>
                <a:lnTo>
                  <a:pt x="276" y="3782"/>
                </a:lnTo>
                <a:lnTo>
                  <a:pt x="251" y="3768"/>
                </a:lnTo>
                <a:lnTo>
                  <a:pt x="229" y="3753"/>
                </a:lnTo>
                <a:lnTo>
                  <a:pt x="207" y="3737"/>
                </a:lnTo>
                <a:lnTo>
                  <a:pt x="187" y="3721"/>
                </a:lnTo>
                <a:lnTo>
                  <a:pt x="167" y="3705"/>
                </a:lnTo>
                <a:lnTo>
                  <a:pt x="150" y="3689"/>
                </a:lnTo>
                <a:lnTo>
                  <a:pt x="133" y="3671"/>
                </a:lnTo>
                <a:lnTo>
                  <a:pt x="116" y="3653"/>
                </a:lnTo>
                <a:lnTo>
                  <a:pt x="101" y="3635"/>
                </a:lnTo>
                <a:lnTo>
                  <a:pt x="87" y="3615"/>
                </a:lnTo>
                <a:lnTo>
                  <a:pt x="74" y="3597"/>
                </a:lnTo>
                <a:lnTo>
                  <a:pt x="63" y="3577"/>
                </a:lnTo>
                <a:lnTo>
                  <a:pt x="52" y="3557"/>
                </a:lnTo>
                <a:lnTo>
                  <a:pt x="43" y="3536"/>
                </a:lnTo>
                <a:lnTo>
                  <a:pt x="34" y="3515"/>
                </a:lnTo>
                <a:lnTo>
                  <a:pt x="27" y="3495"/>
                </a:lnTo>
                <a:lnTo>
                  <a:pt x="20" y="3472"/>
                </a:lnTo>
                <a:lnTo>
                  <a:pt x="14" y="3452"/>
                </a:lnTo>
                <a:lnTo>
                  <a:pt x="9" y="3429"/>
                </a:lnTo>
                <a:lnTo>
                  <a:pt x="6" y="3406"/>
                </a:lnTo>
                <a:lnTo>
                  <a:pt x="4" y="3384"/>
                </a:lnTo>
                <a:lnTo>
                  <a:pt x="1" y="3361"/>
                </a:lnTo>
                <a:lnTo>
                  <a:pt x="0" y="3338"/>
                </a:lnTo>
                <a:lnTo>
                  <a:pt x="0" y="3314"/>
                </a:lnTo>
                <a:lnTo>
                  <a:pt x="1" y="3291"/>
                </a:lnTo>
                <a:lnTo>
                  <a:pt x="4" y="3267"/>
                </a:lnTo>
                <a:lnTo>
                  <a:pt x="6" y="3243"/>
                </a:lnTo>
                <a:lnTo>
                  <a:pt x="9" y="3219"/>
                </a:lnTo>
                <a:lnTo>
                  <a:pt x="546" y="0"/>
                </a:lnTo>
                <a:lnTo>
                  <a:pt x="518" y="3019"/>
                </a:lnTo>
                <a:lnTo>
                  <a:pt x="520" y="3047"/>
                </a:lnTo>
                <a:lnTo>
                  <a:pt x="521" y="3076"/>
                </a:lnTo>
                <a:lnTo>
                  <a:pt x="524" y="3104"/>
                </a:lnTo>
                <a:lnTo>
                  <a:pt x="529" y="3132"/>
                </a:lnTo>
                <a:lnTo>
                  <a:pt x="535" y="3161"/>
                </a:lnTo>
                <a:lnTo>
                  <a:pt x="542" y="3189"/>
                </a:lnTo>
                <a:lnTo>
                  <a:pt x="550" y="3217"/>
                </a:lnTo>
                <a:lnTo>
                  <a:pt x="560" y="3245"/>
                </a:lnTo>
                <a:lnTo>
                  <a:pt x="571" y="3270"/>
                </a:lnTo>
                <a:lnTo>
                  <a:pt x="584" y="3297"/>
                </a:lnTo>
                <a:lnTo>
                  <a:pt x="597" y="3321"/>
                </a:lnTo>
                <a:lnTo>
                  <a:pt x="613" y="3346"/>
                </a:lnTo>
                <a:lnTo>
                  <a:pt x="629" y="3369"/>
                </a:lnTo>
                <a:lnTo>
                  <a:pt x="647" y="3390"/>
                </a:lnTo>
                <a:lnTo>
                  <a:pt x="666" y="3410"/>
                </a:lnTo>
                <a:lnTo>
                  <a:pt x="687" y="3428"/>
                </a:lnTo>
                <a:lnTo>
                  <a:pt x="1858" y="4402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Freeform 8"/>
          <p:cNvSpPr>
            <a:spLocks/>
          </p:cNvSpPr>
          <p:nvPr userDrawn="1"/>
        </p:nvSpPr>
        <p:spPr bwMode="auto">
          <a:xfrm>
            <a:off x="9257735" y="4125913"/>
            <a:ext cx="648361" cy="900112"/>
          </a:xfrm>
          <a:custGeom>
            <a:avLst/>
            <a:gdLst>
              <a:gd name="T0" fmla="*/ 0 w 1507"/>
              <a:gd name="T1" fmla="*/ 2267 h 2267"/>
              <a:gd name="T2" fmla="*/ 87 w 1507"/>
              <a:gd name="T3" fmla="*/ 687 h 2267"/>
              <a:gd name="T4" fmla="*/ 88 w 1507"/>
              <a:gd name="T5" fmla="*/ 656 h 2267"/>
              <a:gd name="T6" fmla="*/ 91 w 1507"/>
              <a:gd name="T7" fmla="*/ 626 h 2267"/>
              <a:gd name="T8" fmla="*/ 96 w 1507"/>
              <a:gd name="T9" fmla="*/ 598 h 2267"/>
              <a:gd name="T10" fmla="*/ 101 w 1507"/>
              <a:gd name="T11" fmla="*/ 570 h 2267"/>
              <a:gd name="T12" fmla="*/ 106 w 1507"/>
              <a:gd name="T13" fmla="*/ 542 h 2267"/>
              <a:gd name="T14" fmla="*/ 113 w 1507"/>
              <a:gd name="T15" fmla="*/ 516 h 2267"/>
              <a:gd name="T16" fmla="*/ 122 w 1507"/>
              <a:gd name="T17" fmla="*/ 491 h 2267"/>
              <a:gd name="T18" fmla="*/ 131 w 1507"/>
              <a:gd name="T19" fmla="*/ 466 h 2267"/>
              <a:gd name="T20" fmla="*/ 140 w 1507"/>
              <a:gd name="T21" fmla="*/ 443 h 2267"/>
              <a:gd name="T22" fmla="*/ 151 w 1507"/>
              <a:gd name="T23" fmla="*/ 421 h 2267"/>
              <a:gd name="T24" fmla="*/ 162 w 1507"/>
              <a:gd name="T25" fmla="*/ 399 h 2267"/>
              <a:gd name="T26" fmla="*/ 174 w 1507"/>
              <a:gd name="T27" fmla="*/ 378 h 2267"/>
              <a:gd name="T28" fmla="*/ 187 w 1507"/>
              <a:gd name="T29" fmla="*/ 358 h 2267"/>
              <a:gd name="T30" fmla="*/ 201 w 1507"/>
              <a:gd name="T31" fmla="*/ 340 h 2267"/>
              <a:gd name="T32" fmla="*/ 215 w 1507"/>
              <a:gd name="T33" fmla="*/ 322 h 2267"/>
              <a:gd name="T34" fmla="*/ 230 w 1507"/>
              <a:gd name="T35" fmla="*/ 305 h 2267"/>
              <a:gd name="T36" fmla="*/ 246 w 1507"/>
              <a:gd name="T37" fmla="*/ 289 h 2267"/>
              <a:gd name="T38" fmla="*/ 262 w 1507"/>
              <a:gd name="T39" fmla="*/ 272 h 2267"/>
              <a:gd name="T40" fmla="*/ 279 w 1507"/>
              <a:gd name="T41" fmla="*/ 258 h 2267"/>
              <a:gd name="T42" fmla="*/ 297 w 1507"/>
              <a:gd name="T43" fmla="*/ 244 h 2267"/>
              <a:gd name="T44" fmla="*/ 316 w 1507"/>
              <a:gd name="T45" fmla="*/ 232 h 2267"/>
              <a:gd name="T46" fmla="*/ 334 w 1507"/>
              <a:gd name="T47" fmla="*/ 219 h 2267"/>
              <a:gd name="T48" fmla="*/ 354 w 1507"/>
              <a:gd name="T49" fmla="*/ 208 h 2267"/>
              <a:gd name="T50" fmla="*/ 374 w 1507"/>
              <a:gd name="T51" fmla="*/ 198 h 2267"/>
              <a:gd name="T52" fmla="*/ 395 w 1507"/>
              <a:gd name="T53" fmla="*/ 188 h 2267"/>
              <a:gd name="T54" fmla="*/ 416 w 1507"/>
              <a:gd name="T55" fmla="*/ 179 h 2267"/>
              <a:gd name="T56" fmla="*/ 438 w 1507"/>
              <a:gd name="T57" fmla="*/ 171 h 2267"/>
              <a:gd name="T58" fmla="*/ 460 w 1507"/>
              <a:gd name="T59" fmla="*/ 164 h 2267"/>
              <a:gd name="T60" fmla="*/ 483 w 1507"/>
              <a:gd name="T61" fmla="*/ 157 h 2267"/>
              <a:gd name="T62" fmla="*/ 506 w 1507"/>
              <a:gd name="T63" fmla="*/ 152 h 2267"/>
              <a:gd name="T64" fmla="*/ 530 w 1507"/>
              <a:gd name="T65" fmla="*/ 147 h 2267"/>
              <a:gd name="T66" fmla="*/ 554 w 1507"/>
              <a:gd name="T67" fmla="*/ 143 h 2267"/>
              <a:gd name="T68" fmla="*/ 1507 w 1507"/>
              <a:gd name="T69" fmla="*/ 0 h 2267"/>
              <a:gd name="T70" fmla="*/ 1507 w 1507"/>
              <a:gd name="T71" fmla="*/ 375 h 2267"/>
              <a:gd name="T72" fmla="*/ 900 w 1507"/>
              <a:gd name="T73" fmla="*/ 565 h 2267"/>
              <a:gd name="T74" fmla="*/ 875 w 1507"/>
              <a:gd name="T75" fmla="*/ 575 h 2267"/>
              <a:gd name="T76" fmla="*/ 848 w 1507"/>
              <a:gd name="T77" fmla="*/ 585 h 2267"/>
              <a:gd name="T78" fmla="*/ 822 w 1507"/>
              <a:gd name="T79" fmla="*/ 597 h 2267"/>
              <a:gd name="T80" fmla="*/ 796 w 1507"/>
              <a:gd name="T81" fmla="*/ 609 h 2267"/>
              <a:gd name="T82" fmla="*/ 771 w 1507"/>
              <a:gd name="T83" fmla="*/ 625 h 2267"/>
              <a:gd name="T84" fmla="*/ 747 w 1507"/>
              <a:gd name="T85" fmla="*/ 640 h 2267"/>
              <a:gd name="T86" fmla="*/ 722 w 1507"/>
              <a:gd name="T87" fmla="*/ 656 h 2267"/>
              <a:gd name="T88" fmla="*/ 699 w 1507"/>
              <a:gd name="T89" fmla="*/ 675 h 2267"/>
              <a:gd name="T90" fmla="*/ 678 w 1507"/>
              <a:gd name="T91" fmla="*/ 693 h 2267"/>
              <a:gd name="T92" fmla="*/ 657 w 1507"/>
              <a:gd name="T93" fmla="*/ 713 h 2267"/>
              <a:gd name="T94" fmla="*/ 638 w 1507"/>
              <a:gd name="T95" fmla="*/ 734 h 2267"/>
              <a:gd name="T96" fmla="*/ 619 w 1507"/>
              <a:gd name="T97" fmla="*/ 756 h 2267"/>
              <a:gd name="T98" fmla="*/ 603 w 1507"/>
              <a:gd name="T99" fmla="*/ 779 h 2267"/>
              <a:gd name="T100" fmla="*/ 588 w 1507"/>
              <a:gd name="T101" fmla="*/ 802 h 2267"/>
              <a:gd name="T102" fmla="*/ 575 w 1507"/>
              <a:gd name="T103" fmla="*/ 827 h 2267"/>
              <a:gd name="T104" fmla="*/ 563 w 1507"/>
              <a:gd name="T105" fmla="*/ 852 h 2267"/>
              <a:gd name="T106" fmla="*/ 0 w 1507"/>
              <a:gd name="T107" fmla="*/ 2267 h 22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507" h="2267">
                <a:moveTo>
                  <a:pt x="0" y="2267"/>
                </a:moveTo>
                <a:lnTo>
                  <a:pt x="87" y="687"/>
                </a:lnTo>
                <a:lnTo>
                  <a:pt x="88" y="656"/>
                </a:lnTo>
                <a:lnTo>
                  <a:pt x="91" y="626"/>
                </a:lnTo>
                <a:lnTo>
                  <a:pt x="96" y="598"/>
                </a:lnTo>
                <a:lnTo>
                  <a:pt x="101" y="570"/>
                </a:lnTo>
                <a:lnTo>
                  <a:pt x="106" y="542"/>
                </a:lnTo>
                <a:lnTo>
                  <a:pt x="113" y="516"/>
                </a:lnTo>
                <a:lnTo>
                  <a:pt x="122" y="491"/>
                </a:lnTo>
                <a:lnTo>
                  <a:pt x="131" y="466"/>
                </a:lnTo>
                <a:lnTo>
                  <a:pt x="140" y="443"/>
                </a:lnTo>
                <a:lnTo>
                  <a:pt x="151" y="421"/>
                </a:lnTo>
                <a:lnTo>
                  <a:pt x="162" y="399"/>
                </a:lnTo>
                <a:lnTo>
                  <a:pt x="174" y="378"/>
                </a:lnTo>
                <a:lnTo>
                  <a:pt x="187" y="358"/>
                </a:lnTo>
                <a:lnTo>
                  <a:pt x="201" y="340"/>
                </a:lnTo>
                <a:lnTo>
                  <a:pt x="215" y="322"/>
                </a:lnTo>
                <a:lnTo>
                  <a:pt x="230" y="305"/>
                </a:lnTo>
                <a:lnTo>
                  <a:pt x="246" y="289"/>
                </a:lnTo>
                <a:lnTo>
                  <a:pt x="262" y="272"/>
                </a:lnTo>
                <a:lnTo>
                  <a:pt x="279" y="258"/>
                </a:lnTo>
                <a:lnTo>
                  <a:pt x="297" y="244"/>
                </a:lnTo>
                <a:lnTo>
                  <a:pt x="316" y="232"/>
                </a:lnTo>
                <a:lnTo>
                  <a:pt x="334" y="219"/>
                </a:lnTo>
                <a:lnTo>
                  <a:pt x="354" y="208"/>
                </a:lnTo>
                <a:lnTo>
                  <a:pt x="374" y="198"/>
                </a:lnTo>
                <a:lnTo>
                  <a:pt x="395" y="188"/>
                </a:lnTo>
                <a:lnTo>
                  <a:pt x="416" y="179"/>
                </a:lnTo>
                <a:lnTo>
                  <a:pt x="438" y="171"/>
                </a:lnTo>
                <a:lnTo>
                  <a:pt x="460" y="164"/>
                </a:lnTo>
                <a:lnTo>
                  <a:pt x="483" y="157"/>
                </a:lnTo>
                <a:lnTo>
                  <a:pt x="506" y="152"/>
                </a:lnTo>
                <a:lnTo>
                  <a:pt x="530" y="147"/>
                </a:lnTo>
                <a:lnTo>
                  <a:pt x="554" y="143"/>
                </a:lnTo>
                <a:lnTo>
                  <a:pt x="1507" y="0"/>
                </a:lnTo>
                <a:lnTo>
                  <a:pt x="1507" y="375"/>
                </a:lnTo>
                <a:lnTo>
                  <a:pt x="900" y="565"/>
                </a:lnTo>
                <a:lnTo>
                  <a:pt x="875" y="575"/>
                </a:lnTo>
                <a:lnTo>
                  <a:pt x="848" y="585"/>
                </a:lnTo>
                <a:lnTo>
                  <a:pt x="822" y="597"/>
                </a:lnTo>
                <a:lnTo>
                  <a:pt x="796" y="609"/>
                </a:lnTo>
                <a:lnTo>
                  <a:pt x="771" y="625"/>
                </a:lnTo>
                <a:lnTo>
                  <a:pt x="747" y="640"/>
                </a:lnTo>
                <a:lnTo>
                  <a:pt x="722" y="656"/>
                </a:lnTo>
                <a:lnTo>
                  <a:pt x="699" y="675"/>
                </a:lnTo>
                <a:lnTo>
                  <a:pt x="678" y="693"/>
                </a:lnTo>
                <a:lnTo>
                  <a:pt x="657" y="713"/>
                </a:lnTo>
                <a:lnTo>
                  <a:pt x="638" y="734"/>
                </a:lnTo>
                <a:lnTo>
                  <a:pt x="619" y="756"/>
                </a:lnTo>
                <a:lnTo>
                  <a:pt x="603" y="779"/>
                </a:lnTo>
                <a:lnTo>
                  <a:pt x="588" y="802"/>
                </a:lnTo>
                <a:lnTo>
                  <a:pt x="575" y="827"/>
                </a:lnTo>
                <a:lnTo>
                  <a:pt x="563" y="852"/>
                </a:lnTo>
                <a:lnTo>
                  <a:pt x="0" y="2267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1" name="Freeform 10"/>
          <p:cNvSpPr>
            <a:spLocks/>
          </p:cNvSpPr>
          <p:nvPr userDrawn="1"/>
        </p:nvSpPr>
        <p:spPr bwMode="auto">
          <a:xfrm>
            <a:off x="9433058" y="5940425"/>
            <a:ext cx="472942" cy="144462"/>
          </a:xfrm>
          <a:custGeom>
            <a:avLst/>
            <a:gdLst>
              <a:gd name="T0" fmla="*/ 0 w 1098"/>
              <a:gd name="T1" fmla="*/ 298 h 363"/>
              <a:gd name="T2" fmla="*/ 1098 w 1098"/>
              <a:gd name="T3" fmla="*/ 0 h 363"/>
              <a:gd name="T4" fmla="*/ 1098 w 1098"/>
              <a:gd name="T5" fmla="*/ 363 h 363"/>
              <a:gd name="T6" fmla="*/ 0 w 1098"/>
              <a:gd name="T7" fmla="*/ 298 h 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98" h="363">
                <a:moveTo>
                  <a:pt x="0" y="298"/>
                </a:moveTo>
                <a:lnTo>
                  <a:pt x="1098" y="0"/>
                </a:lnTo>
                <a:lnTo>
                  <a:pt x="1098" y="363"/>
                </a:lnTo>
                <a:lnTo>
                  <a:pt x="0" y="298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3" name="Freeform 12"/>
          <p:cNvSpPr>
            <a:spLocks/>
          </p:cNvSpPr>
          <p:nvPr userDrawn="1"/>
        </p:nvSpPr>
        <p:spPr bwMode="auto">
          <a:xfrm>
            <a:off x="8415037" y="6537504"/>
            <a:ext cx="223573" cy="320675"/>
          </a:xfrm>
          <a:custGeom>
            <a:avLst/>
            <a:gdLst>
              <a:gd name="T0" fmla="*/ 0 w 520"/>
              <a:gd name="T1" fmla="*/ 0 h 807"/>
              <a:gd name="T2" fmla="*/ 520 w 520"/>
              <a:gd name="T3" fmla="*/ 807 h 807"/>
              <a:gd name="T4" fmla="*/ 205 w 520"/>
              <a:gd name="T5" fmla="*/ 807 h 807"/>
              <a:gd name="T6" fmla="*/ 0 w 520"/>
              <a:gd name="T7" fmla="*/ 0 h 8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20" h="807">
                <a:moveTo>
                  <a:pt x="0" y="0"/>
                </a:moveTo>
                <a:lnTo>
                  <a:pt x="520" y="807"/>
                </a:lnTo>
                <a:lnTo>
                  <a:pt x="205" y="807"/>
                </a:lnTo>
                <a:lnTo>
                  <a:pt x="0" y="0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5" name="Freeform 14"/>
          <p:cNvSpPr>
            <a:spLocks/>
          </p:cNvSpPr>
          <p:nvPr userDrawn="1"/>
        </p:nvSpPr>
        <p:spPr bwMode="auto">
          <a:xfrm>
            <a:off x="5637492" y="5753100"/>
            <a:ext cx="1974321" cy="620712"/>
          </a:xfrm>
          <a:custGeom>
            <a:avLst/>
            <a:gdLst>
              <a:gd name="T0" fmla="*/ 4593 w 4593"/>
              <a:gd name="T1" fmla="*/ 102 h 1567"/>
              <a:gd name="T2" fmla="*/ 3597 w 4593"/>
              <a:gd name="T3" fmla="*/ 1332 h 1567"/>
              <a:gd name="T4" fmla="*/ 3577 w 4593"/>
              <a:gd name="T5" fmla="*/ 1355 h 1567"/>
              <a:gd name="T6" fmla="*/ 3558 w 4593"/>
              <a:gd name="T7" fmla="*/ 1379 h 1567"/>
              <a:gd name="T8" fmla="*/ 3538 w 4593"/>
              <a:gd name="T9" fmla="*/ 1399 h 1567"/>
              <a:gd name="T10" fmla="*/ 3517 w 4593"/>
              <a:gd name="T11" fmla="*/ 1418 h 1567"/>
              <a:gd name="T12" fmla="*/ 3496 w 4593"/>
              <a:gd name="T13" fmla="*/ 1437 h 1567"/>
              <a:gd name="T14" fmla="*/ 3475 w 4593"/>
              <a:gd name="T15" fmla="*/ 1454 h 1567"/>
              <a:gd name="T16" fmla="*/ 3454 w 4593"/>
              <a:gd name="T17" fmla="*/ 1470 h 1567"/>
              <a:gd name="T18" fmla="*/ 3433 w 4593"/>
              <a:gd name="T19" fmla="*/ 1484 h 1567"/>
              <a:gd name="T20" fmla="*/ 3411 w 4593"/>
              <a:gd name="T21" fmla="*/ 1498 h 1567"/>
              <a:gd name="T22" fmla="*/ 3390 w 4593"/>
              <a:gd name="T23" fmla="*/ 1510 h 1567"/>
              <a:gd name="T24" fmla="*/ 3368 w 4593"/>
              <a:gd name="T25" fmla="*/ 1520 h 1567"/>
              <a:gd name="T26" fmla="*/ 3346 w 4593"/>
              <a:gd name="T27" fmla="*/ 1531 h 1567"/>
              <a:gd name="T28" fmla="*/ 3324 w 4593"/>
              <a:gd name="T29" fmla="*/ 1539 h 1567"/>
              <a:gd name="T30" fmla="*/ 3302 w 4593"/>
              <a:gd name="T31" fmla="*/ 1546 h 1567"/>
              <a:gd name="T32" fmla="*/ 3280 w 4593"/>
              <a:gd name="T33" fmla="*/ 1553 h 1567"/>
              <a:gd name="T34" fmla="*/ 3258 w 4593"/>
              <a:gd name="T35" fmla="*/ 1558 h 1567"/>
              <a:gd name="T36" fmla="*/ 3236 w 4593"/>
              <a:gd name="T37" fmla="*/ 1562 h 1567"/>
              <a:gd name="T38" fmla="*/ 3212 w 4593"/>
              <a:gd name="T39" fmla="*/ 1565 h 1567"/>
              <a:gd name="T40" fmla="*/ 3190 w 4593"/>
              <a:gd name="T41" fmla="*/ 1567 h 1567"/>
              <a:gd name="T42" fmla="*/ 3168 w 4593"/>
              <a:gd name="T43" fmla="*/ 1567 h 1567"/>
              <a:gd name="T44" fmla="*/ 3145 w 4593"/>
              <a:gd name="T45" fmla="*/ 1567 h 1567"/>
              <a:gd name="T46" fmla="*/ 3123 w 4593"/>
              <a:gd name="T47" fmla="*/ 1566 h 1567"/>
              <a:gd name="T48" fmla="*/ 3101 w 4593"/>
              <a:gd name="T49" fmla="*/ 1563 h 1567"/>
              <a:gd name="T50" fmla="*/ 3078 w 4593"/>
              <a:gd name="T51" fmla="*/ 1560 h 1567"/>
              <a:gd name="T52" fmla="*/ 3055 w 4593"/>
              <a:gd name="T53" fmla="*/ 1555 h 1567"/>
              <a:gd name="T54" fmla="*/ 3033 w 4593"/>
              <a:gd name="T55" fmla="*/ 1551 h 1567"/>
              <a:gd name="T56" fmla="*/ 3010 w 4593"/>
              <a:gd name="T57" fmla="*/ 1544 h 1567"/>
              <a:gd name="T58" fmla="*/ 2988 w 4593"/>
              <a:gd name="T59" fmla="*/ 1537 h 1567"/>
              <a:gd name="T60" fmla="*/ 2966 w 4593"/>
              <a:gd name="T61" fmla="*/ 1528 h 1567"/>
              <a:gd name="T62" fmla="*/ 2944 w 4593"/>
              <a:gd name="T63" fmla="*/ 1519 h 1567"/>
              <a:gd name="T64" fmla="*/ 2922 w 4593"/>
              <a:gd name="T65" fmla="*/ 1510 h 1567"/>
              <a:gd name="T66" fmla="*/ 2900 w 4593"/>
              <a:gd name="T67" fmla="*/ 1499 h 1567"/>
              <a:gd name="T68" fmla="*/ 0 w 4593"/>
              <a:gd name="T69" fmla="*/ 0 h 1567"/>
              <a:gd name="T70" fmla="*/ 2867 w 4593"/>
              <a:gd name="T71" fmla="*/ 953 h 1567"/>
              <a:gd name="T72" fmla="*/ 2893 w 4593"/>
              <a:gd name="T73" fmla="*/ 961 h 1567"/>
              <a:gd name="T74" fmla="*/ 2921 w 4593"/>
              <a:gd name="T75" fmla="*/ 968 h 1567"/>
              <a:gd name="T76" fmla="*/ 2949 w 4593"/>
              <a:gd name="T77" fmla="*/ 974 h 1567"/>
              <a:gd name="T78" fmla="*/ 2978 w 4593"/>
              <a:gd name="T79" fmla="*/ 979 h 1567"/>
              <a:gd name="T80" fmla="*/ 3005 w 4593"/>
              <a:gd name="T81" fmla="*/ 981 h 1567"/>
              <a:gd name="T82" fmla="*/ 3035 w 4593"/>
              <a:gd name="T83" fmla="*/ 983 h 1567"/>
              <a:gd name="T84" fmla="*/ 3064 w 4593"/>
              <a:gd name="T85" fmla="*/ 983 h 1567"/>
              <a:gd name="T86" fmla="*/ 3093 w 4593"/>
              <a:gd name="T87" fmla="*/ 983 h 1567"/>
              <a:gd name="T88" fmla="*/ 3122 w 4593"/>
              <a:gd name="T89" fmla="*/ 980 h 1567"/>
              <a:gd name="T90" fmla="*/ 3151 w 4593"/>
              <a:gd name="T91" fmla="*/ 976 h 1567"/>
              <a:gd name="T92" fmla="*/ 3179 w 4593"/>
              <a:gd name="T93" fmla="*/ 971 h 1567"/>
              <a:gd name="T94" fmla="*/ 3207 w 4593"/>
              <a:gd name="T95" fmla="*/ 964 h 1567"/>
              <a:gd name="T96" fmla="*/ 3233 w 4593"/>
              <a:gd name="T97" fmla="*/ 956 h 1567"/>
              <a:gd name="T98" fmla="*/ 3259 w 4593"/>
              <a:gd name="T99" fmla="*/ 945 h 1567"/>
              <a:gd name="T100" fmla="*/ 3283 w 4593"/>
              <a:gd name="T101" fmla="*/ 932 h 1567"/>
              <a:gd name="T102" fmla="*/ 3308 w 4593"/>
              <a:gd name="T103" fmla="*/ 918 h 1567"/>
              <a:gd name="T104" fmla="*/ 4593 w 4593"/>
              <a:gd name="T105" fmla="*/ 102 h 15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593" h="1567">
                <a:moveTo>
                  <a:pt x="4593" y="102"/>
                </a:moveTo>
                <a:lnTo>
                  <a:pt x="3597" y="1332"/>
                </a:lnTo>
                <a:lnTo>
                  <a:pt x="3577" y="1355"/>
                </a:lnTo>
                <a:lnTo>
                  <a:pt x="3558" y="1379"/>
                </a:lnTo>
                <a:lnTo>
                  <a:pt x="3538" y="1399"/>
                </a:lnTo>
                <a:lnTo>
                  <a:pt x="3517" y="1418"/>
                </a:lnTo>
                <a:lnTo>
                  <a:pt x="3496" y="1437"/>
                </a:lnTo>
                <a:lnTo>
                  <a:pt x="3475" y="1454"/>
                </a:lnTo>
                <a:lnTo>
                  <a:pt x="3454" y="1470"/>
                </a:lnTo>
                <a:lnTo>
                  <a:pt x="3433" y="1484"/>
                </a:lnTo>
                <a:lnTo>
                  <a:pt x="3411" y="1498"/>
                </a:lnTo>
                <a:lnTo>
                  <a:pt x="3390" y="1510"/>
                </a:lnTo>
                <a:lnTo>
                  <a:pt x="3368" y="1520"/>
                </a:lnTo>
                <a:lnTo>
                  <a:pt x="3346" y="1531"/>
                </a:lnTo>
                <a:lnTo>
                  <a:pt x="3324" y="1539"/>
                </a:lnTo>
                <a:lnTo>
                  <a:pt x="3302" y="1546"/>
                </a:lnTo>
                <a:lnTo>
                  <a:pt x="3280" y="1553"/>
                </a:lnTo>
                <a:lnTo>
                  <a:pt x="3258" y="1558"/>
                </a:lnTo>
                <a:lnTo>
                  <a:pt x="3236" y="1562"/>
                </a:lnTo>
                <a:lnTo>
                  <a:pt x="3212" y="1565"/>
                </a:lnTo>
                <a:lnTo>
                  <a:pt x="3190" y="1567"/>
                </a:lnTo>
                <a:lnTo>
                  <a:pt x="3168" y="1567"/>
                </a:lnTo>
                <a:lnTo>
                  <a:pt x="3145" y="1567"/>
                </a:lnTo>
                <a:lnTo>
                  <a:pt x="3123" y="1566"/>
                </a:lnTo>
                <a:lnTo>
                  <a:pt x="3101" y="1563"/>
                </a:lnTo>
                <a:lnTo>
                  <a:pt x="3078" y="1560"/>
                </a:lnTo>
                <a:lnTo>
                  <a:pt x="3055" y="1555"/>
                </a:lnTo>
                <a:lnTo>
                  <a:pt x="3033" y="1551"/>
                </a:lnTo>
                <a:lnTo>
                  <a:pt x="3010" y="1544"/>
                </a:lnTo>
                <a:lnTo>
                  <a:pt x="2988" y="1537"/>
                </a:lnTo>
                <a:lnTo>
                  <a:pt x="2966" y="1528"/>
                </a:lnTo>
                <a:lnTo>
                  <a:pt x="2944" y="1519"/>
                </a:lnTo>
                <a:lnTo>
                  <a:pt x="2922" y="1510"/>
                </a:lnTo>
                <a:lnTo>
                  <a:pt x="2900" y="1499"/>
                </a:lnTo>
                <a:lnTo>
                  <a:pt x="0" y="0"/>
                </a:lnTo>
                <a:lnTo>
                  <a:pt x="2867" y="953"/>
                </a:lnTo>
                <a:lnTo>
                  <a:pt x="2893" y="961"/>
                </a:lnTo>
                <a:lnTo>
                  <a:pt x="2921" y="968"/>
                </a:lnTo>
                <a:lnTo>
                  <a:pt x="2949" y="974"/>
                </a:lnTo>
                <a:lnTo>
                  <a:pt x="2978" y="979"/>
                </a:lnTo>
                <a:lnTo>
                  <a:pt x="3005" y="981"/>
                </a:lnTo>
                <a:lnTo>
                  <a:pt x="3035" y="983"/>
                </a:lnTo>
                <a:lnTo>
                  <a:pt x="3064" y="983"/>
                </a:lnTo>
                <a:lnTo>
                  <a:pt x="3093" y="983"/>
                </a:lnTo>
                <a:lnTo>
                  <a:pt x="3122" y="980"/>
                </a:lnTo>
                <a:lnTo>
                  <a:pt x="3151" y="976"/>
                </a:lnTo>
                <a:lnTo>
                  <a:pt x="3179" y="971"/>
                </a:lnTo>
                <a:lnTo>
                  <a:pt x="3207" y="964"/>
                </a:lnTo>
                <a:lnTo>
                  <a:pt x="3233" y="956"/>
                </a:lnTo>
                <a:lnTo>
                  <a:pt x="3259" y="945"/>
                </a:lnTo>
                <a:lnTo>
                  <a:pt x="3283" y="932"/>
                </a:lnTo>
                <a:lnTo>
                  <a:pt x="3308" y="918"/>
                </a:lnTo>
                <a:lnTo>
                  <a:pt x="4593" y="102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Freeform 5"/>
          <p:cNvSpPr>
            <a:spLocks/>
          </p:cNvSpPr>
          <p:nvPr userDrawn="1"/>
        </p:nvSpPr>
        <p:spPr bwMode="auto">
          <a:xfrm>
            <a:off x="7334912" y="2886077"/>
            <a:ext cx="1719792" cy="2135187"/>
          </a:xfrm>
          <a:custGeom>
            <a:avLst/>
            <a:gdLst>
              <a:gd name="T0" fmla="*/ 3159 w 4000"/>
              <a:gd name="T1" fmla="*/ 5238 h 5382"/>
              <a:gd name="T2" fmla="*/ 3155 w 4000"/>
              <a:gd name="T3" fmla="*/ 5259 h 5382"/>
              <a:gd name="T4" fmla="*/ 3146 w 4000"/>
              <a:gd name="T5" fmla="*/ 5280 h 5382"/>
              <a:gd name="T6" fmla="*/ 3137 w 4000"/>
              <a:gd name="T7" fmla="*/ 5299 h 5382"/>
              <a:gd name="T8" fmla="*/ 3126 w 4000"/>
              <a:gd name="T9" fmla="*/ 5315 h 5382"/>
              <a:gd name="T10" fmla="*/ 3113 w 4000"/>
              <a:gd name="T11" fmla="*/ 5330 h 5382"/>
              <a:gd name="T12" fmla="*/ 3098 w 4000"/>
              <a:gd name="T13" fmla="*/ 5343 h 5382"/>
              <a:gd name="T14" fmla="*/ 3064 w 4000"/>
              <a:gd name="T15" fmla="*/ 5364 h 5382"/>
              <a:gd name="T16" fmla="*/ 3024 w 4000"/>
              <a:gd name="T17" fmla="*/ 5378 h 5382"/>
              <a:gd name="T18" fmla="*/ 2984 w 4000"/>
              <a:gd name="T19" fmla="*/ 5382 h 5382"/>
              <a:gd name="T20" fmla="*/ 2941 w 4000"/>
              <a:gd name="T21" fmla="*/ 5380 h 5382"/>
              <a:gd name="T22" fmla="*/ 2898 w 4000"/>
              <a:gd name="T23" fmla="*/ 5368 h 5382"/>
              <a:gd name="T24" fmla="*/ 354 w 4000"/>
              <a:gd name="T25" fmla="*/ 4384 h 5382"/>
              <a:gd name="T26" fmla="*/ 300 w 4000"/>
              <a:gd name="T27" fmla="*/ 4358 h 5382"/>
              <a:gd name="T28" fmla="*/ 250 w 4000"/>
              <a:gd name="T29" fmla="*/ 4332 h 5382"/>
              <a:gd name="T30" fmla="*/ 206 w 4000"/>
              <a:gd name="T31" fmla="*/ 4301 h 5382"/>
              <a:gd name="T32" fmla="*/ 166 w 4000"/>
              <a:gd name="T33" fmla="*/ 4269 h 5382"/>
              <a:gd name="T34" fmla="*/ 132 w 4000"/>
              <a:gd name="T35" fmla="*/ 4235 h 5382"/>
              <a:gd name="T36" fmla="*/ 100 w 4000"/>
              <a:gd name="T37" fmla="*/ 4198 h 5382"/>
              <a:gd name="T38" fmla="*/ 75 w 4000"/>
              <a:gd name="T39" fmla="*/ 4161 h 5382"/>
              <a:gd name="T40" fmla="*/ 51 w 4000"/>
              <a:gd name="T41" fmla="*/ 4121 h 5382"/>
              <a:gd name="T42" fmla="*/ 34 w 4000"/>
              <a:gd name="T43" fmla="*/ 4079 h 5382"/>
              <a:gd name="T44" fmla="*/ 19 w 4000"/>
              <a:gd name="T45" fmla="*/ 4036 h 5382"/>
              <a:gd name="T46" fmla="*/ 8 w 4000"/>
              <a:gd name="T47" fmla="*/ 3993 h 5382"/>
              <a:gd name="T48" fmla="*/ 3 w 4000"/>
              <a:gd name="T49" fmla="*/ 3948 h 5382"/>
              <a:gd name="T50" fmla="*/ 0 w 4000"/>
              <a:gd name="T51" fmla="*/ 3902 h 5382"/>
              <a:gd name="T52" fmla="*/ 0 w 4000"/>
              <a:gd name="T53" fmla="*/ 3855 h 5382"/>
              <a:gd name="T54" fmla="*/ 5 w 4000"/>
              <a:gd name="T55" fmla="*/ 3807 h 5382"/>
              <a:gd name="T56" fmla="*/ 545 w 4000"/>
              <a:gd name="T57" fmla="*/ 564 h 5382"/>
              <a:gd name="T58" fmla="*/ 555 w 4000"/>
              <a:gd name="T59" fmla="*/ 516 h 5382"/>
              <a:gd name="T60" fmla="*/ 567 w 4000"/>
              <a:gd name="T61" fmla="*/ 471 h 5382"/>
              <a:gd name="T62" fmla="*/ 583 w 4000"/>
              <a:gd name="T63" fmla="*/ 427 h 5382"/>
              <a:gd name="T64" fmla="*/ 602 w 4000"/>
              <a:gd name="T65" fmla="*/ 385 h 5382"/>
              <a:gd name="T66" fmla="*/ 624 w 4000"/>
              <a:gd name="T67" fmla="*/ 345 h 5382"/>
              <a:gd name="T68" fmla="*/ 650 w 4000"/>
              <a:gd name="T69" fmla="*/ 308 h 5382"/>
              <a:gd name="T70" fmla="*/ 679 w 4000"/>
              <a:gd name="T71" fmla="*/ 274 h 5382"/>
              <a:gd name="T72" fmla="*/ 712 w 4000"/>
              <a:gd name="T73" fmla="*/ 242 h 5382"/>
              <a:gd name="T74" fmla="*/ 746 w 4000"/>
              <a:gd name="T75" fmla="*/ 214 h 5382"/>
              <a:gd name="T76" fmla="*/ 786 w 4000"/>
              <a:gd name="T77" fmla="*/ 187 h 5382"/>
              <a:gd name="T78" fmla="*/ 829 w 4000"/>
              <a:gd name="T79" fmla="*/ 165 h 5382"/>
              <a:gd name="T80" fmla="*/ 875 w 4000"/>
              <a:gd name="T81" fmla="*/ 145 h 5382"/>
              <a:gd name="T82" fmla="*/ 924 w 4000"/>
              <a:gd name="T83" fmla="*/ 130 h 5382"/>
              <a:gd name="T84" fmla="*/ 978 w 4000"/>
              <a:gd name="T85" fmla="*/ 117 h 5382"/>
              <a:gd name="T86" fmla="*/ 1035 w 4000"/>
              <a:gd name="T87" fmla="*/ 109 h 5382"/>
              <a:gd name="T88" fmla="*/ 1096 w 4000"/>
              <a:gd name="T89" fmla="*/ 105 h 5382"/>
              <a:gd name="T90" fmla="*/ 3814 w 4000"/>
              <a:gd name="T91" fmla="*/ 0 h 5382"/>
              <a:gd name="T92" fmla="*/ 3857 w 4000"/>
              <a:gd name="T93" fmla="*/ 7 h 5382"/>
              <a:gd name="T94" fmla="*/ 3897 w 4000"/>
              <a:gd name="T95" fmla="*/ 22 h 5382"/>
              <a:gd name="T96" fmla="*/ 3932 w 4000"/>
              <a:gd name="T97" fmla="*/ 44 h 5382"/>
              <a:gd name="T98" fmla="*/ 3960 w 4000"/>
              <a:gd name="T99" fmla="*/ 72 h 5382"/>
              <a:gd name="T100" fmla="*/ 3977 w 4000"/>
              <a:gd name="T101" fmla="*/ 97 h 5382"/>
              <a:gd name="T102" fmla="*/ 3987 w 4000"/>
              <a:gd name="T103" fmla="*/ 115 h 5382"/>
              <a:gd name="T104" fmla="*/ 3993 w 4000"/>
              <a:gd name="T105" fmla="*/ 134 h 5382"/>
              <a:gd name="T106" fmla="*/ 3997 w 4000"/>
              <a:gd name="T107" fmla="*/ 154 h 5382"/>
              <a:gd name="T108" fmla="*/ 4000 w 4000"/>
              <a:gd name="T109" fmla="*/ 174 h 5382"/>
              <a:gd name="T110" fmla="*/ 3998 w 4000"/>
              <a:gd name="T111" fmla="*/ 197 h 5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000" h="5382">
                <a:moveTo>
                  <a:pt x="3997" y="207"/>
                </a:moveTo>
                <a:lnTo>
                  <a:pt x="3159" y="5238"/>
                </a:lnTo>
                <a:lnTo>
                  <a:pt x="3157" y="5249"/>
                </a:lnTo>
                <a:lnTo>
                  <a:pt x="3155" y="5259"/>
                </a:lnTo>
                <a:lnTo>
                  <a:pt x="3151" y="5270"/>
                </a:lnTo>
                <a:lnTo>
                  <a:pt x="3146" y="5280"/>
                </a:lnTo>
                <a:lnTo>
                  <a:pt x="3143" y="5289"/>
                </a:lnTo>
                <a:lnTo>
                  <a:pt x="3137" y="5299"/>
                </a:lnTo>
                <a:lnTo>
                  <a:pt x="3132" y="5307"/>
                </a:lnTo>
                <a:lnTo>
                  <a:pt x="3126" y="5315"/>
                </a:lnTo>
                <a:lnTo>
                  <a:pt x="3120" y="5323"/>
                </a:lnTo>
                <a:lnTo>
                  <a:pt x="3113" y="5330"/>
                </a:lnTo>
                <a:lnTo>
                  <a:pt x="3106" y="5337"/>
                </a:lnTo>
                <a:lnTo>
                  <a:pt x="3098" y="5343"/>
                </a:lnTo>
                <a:lnTo>
                  <a:pt x="3081" y="5354"/>
                </a:lnTo>
                <a:lnTo>
                  <a:pt x="3064" y="5364"/>
                </a:lnTo>
                <a:lnTo>
                  <a:pt x="3044" y="5372"/>
                </a:lnTo>
                <a:lnTo>
                  <a:pt x="3024" y="5378"/>
                </a:lnTo>
                <a:lnTo>
                  <a:pt x="3005" y="5381"/>
                </a:lnTo>
                <a:lnTo>
                  <a:pt x="2984" y="5382"/>
                </a:lnTo>
                <a:lnTo>
                  <a:pt x="2962" y="5382"/>
                </a:lnTo>
                <a:lnTo>
                  <a:pt x="2941" y="5380"/>
                </a:lnTo>
                <a:lnTo>
                  <a:pt x="2920" y="5375"/>
                </a:lnTo>
                <a:lnTo>
                  <a:pt x="2898" y="5368"/>
                </a:lnTo>
                <a:lnTo>
                  <a:pt x="381" y="4396"/>
                </a:lnTo>
                <a:lnTo>
                  <a:pt x="354" y="4384"/>
                </a:lnTo>
                <a:lnTo>
                  <a:pt x="326" y="4371"/>
                </a:lnTo>
                <a:lnTo>
                  <a:pt x="300" y="4358"/>
                </a:lnTo>
                <a:lnTo>
                  <a:pt x="275" y="4346"/>
                </a:lnTo>
                <a:lnTo>
                  <a:pt x="250" y="4332"/>
                </a:lnTo>
                <a:lnTo>
                  <a:pt x="228" y="4317"/>
                </a:lnTo>
                <a:lnTo>
                  <a:pt x="206" y="4301"/>
                </a:lnTo>
                <a:lnTo>
                  <a:pt x="186" y="4285"/>
                </a:lnTo>
                <a:lnTo>
                  <a:pt x="166" y="4269"/>
                </a:lnTo>
                <a:lnTo>
                  <a:pt x="149" y="4253"/>
                </a:lnTo>
                <a:lnTo>
                  <a:pt x="132" y="4235"/>
                </a:lnTo>
                <a:lnTo>
                  <a:pt x="115" y="4217"/>
                </a:lnTo>
                <a:lnTo>
                  <a:pt x="100" y="4198"/>
                </a:lnTo>
                <a:lnTo>
                  <a:pt x="87" y="4179"/>
                </a:lnTo>
                <a:lnTo>
                  <a:pt x="75" y="4161"/>
                </a:lnTo>
                <a:lnTo>
                  <a:pt x="62" y="4141"/>
                </a:lnTo>
                <a:lnTo>
                  <a:pt x="51" y="4121"/>
                </a:lnTo>
                <a:lnTo>
                  <a:pt x="42" y="4100"/>
                </a:lnTo>
                <a:lnTo>
                  <a:pt x="34" y="4079"/>
                </a:lnTo>
                <a:lnTo>
                  <a:pt x="26" y="4059"/>
                </a:lnTo>
                <a:lnTo>
                  <a:pt x="19" y="4036"/>
                </a:lnTo>
                <a:lnTo>
                  <a:pt x="13" y="4016"/>
                </a:lnTo>
                <a:lnTo>
                  <a:pt x="8" y="3993"/>
                </a:lnTo>
                <a:lnTo>
                  <a:pt x="5" y="3970"/>
                </a:lnTo>
                <a:lnTo>
                  <a:pt x="3" y="3948"/>
                </a:lnTo>
                <a:lnTo>
                  <a:pt x="0" y="3925"/>
                </a:lnTo>
                <a:lnTo>
                  <a:pt x="0" y="3902"/>
                </a:lnTo>
                <a:lnTo>
                  <a:pt x="0" y="3878"/>
                </a:lnTo>
                <a:lnTo>
                  <a:pt x="0" y="3855"/>
                </a:lnTo>
                <a:lnTo>
                  <a:pt x="3" y="3831"/>
                </a:lnTo>
                <a:lnTo>
                  <a:pt x="5" y="3807"/>
                </a:lnTo>
                <a:lnTo>
                  <a:pt x="8" y="3783"/>
                </a:lnTo>
                <a:lnTo>
                  <a:pt x="545" y="564"/>
                </a:lnTo>
                <a:lnTo>
                  <a:pt x="549" y="539"/>
                </a:lnTo>
                <a:lnTo>
                  <a:pt x="555" y="516"/>
                </a:lnTo>
                <a:lnTo>
                  <a:pt x="560" y="493"/>
                </a:lnTo>
                <a:lnTo>
                  <a:pt x="567" y="471"/>
                </a:lnTo>
                <a:lnTo>
                  <a:pt x="574" y="449"/>
                </a:lnTo>
                <a:lnTo>
                  <a:pt x="583" y="427"/>
                </a:lnTo>
                <a:lnTo>
                  <a:pt x="592" y="406"/>
                </a:lnTo>
                <a:lnTo>
                  <a:pt x="602" y="385"/>
                </a:lnTo>
                <a:lnTo>
                  <a:pt x="613" y="365"/>
                </a:lnTo>
                <a:lnTo>
                  <a:pt x="624" y="345"/>
                </a:lnTo>
                <a:lnTo>
                  <a:pt x="637" y="327"/>
                </a:lnTo>
                <a:lnTo>
                  <a:pt x="650" y="308"/>
                </a:lnTo>
                <a:lnTo>
                  <a:pt x="664" y="291"/>
                </a:lnTo>
                <a:lnTo>
                  <a:pt x="679" y="274"/>
                </a:lnTo>
                <a:lnTo>
                  <a:pt x="695" y="258"/>
                </a:lnTo>
                <a:lnTo>
                  <a:pt x="712" y="242"/>
                </a:lnTo>
                <a:lnTo>
                  <a:pt x="729" y="228"/>
                </a:lnTo>
                <a:lnTo>
                  <a:pt x="746" y="214"/>
                </a:lnTo>
                <a:lnTo>
                  <a:pt x="766" y="200"/>
                </a:lnTo>
                <a:lnTo>
                  <a:pt x="786" y="187"/>
                </a:lnTo>
                <a:lnTo>
                  <a:pt x="807" y="176"/>
                </a:lnTo>
                <a:lnTo>
                  <a:pt x="829" y="165"/>
                </a:lnTo>
                <a:lnTo>
                  <a:pt x="851" y="155"/>
                </a:lnTo>
                <a:lnTo>
                  <a:pt x="875" y="145"/>
                </a:lnTo>
                <a:lnTo>
                  <a:pt x="900" y="137"/>
                </a:lnTo>
                <a:lnTo>
                  <a:pt x="924" y="130"/>
                </a:lnTo>
                <a:lnTo>
                  <a:pt x="951" y="123"/>
                </a:lnTo>
                <a:lnTo>
                  <a:pt x="978" y="117"/>
                </a:lnTo>
                <a:lnTo>
                  <a:pt x="1007" y="113"/>
                </a:lnTo>
                <a:lnTo>
                  <a:pt x="1035" y="109"/>
                </a:lnTo>
                <a:lnTo>
                  <a:pt x="1065" y="107"/>
                </a:lnTo>
                <a:lnTo>
                  <a:pt x="1096" y="105"/>
                </a:lnTo>
                <a:lnTo>
                  <a:pt x="3791" y="0"/>
                </a:lnTo>
                <a:lnTo>
                  <a:pt x="3814" y="0"/>
                </a:lnTo>
                <a:lnTo>
                  <a:pt x="3836" y="2"/>
                </a:lnTo>
                <a:lnTo>
                  <a:pt x="3857" y="7"/>
                </a:lnTo>
                <a:lnTo>
                  <a:pt x="3877" y="14"/>
                </a:lnTo>
                <a:lnTo>
                  <a:pt x="3897" y="22"/>
                </a:lnTo>
                <a:lnTo>
                  <a:pt x="3915" y="33"/>
                </a:lnTo>
                <a:lnTo>
                  <a:pt x="3932" y="44"/>
                </a:lnTo>
                <a:lnTo>
                  <a:pt x="3947" y="57"/>
                </a:lnTo>
                <a:lnTo>
                  <a:pt x="3960" y="72"/>
                </a:lnTo>
                <a:lnTo>
                  <a:pt x="3973" y="88"/>
                </a:lnTo>
                <a:lnTo>
                  <a:pt x="3977" y="97"/>
                </a:lnTo>
                <a:lnTo>
                  <a:pt x="3982" y="106"/>
                </a:lnTo>
                <a:lnTo>
                  <a:pt x="3987" y="115"/>
                </a:lnTo>
                <a:lnTo>
                  <a:pt x="3990" y="124"/>
                </a:lnTo>
                <a:lnTo>
                  <a:pt x="3993" y="134"/>
                </a:lnTo>
                <a:lnTo>
                  <a:pt x="3996" y="143"/>
                </a:lnTo>
                <a:lnTo>
                  <a:pt x="3997" y="154"/>
                </a:lnTo>
                <a:lnTo>
                  <a:pt x="3998" y="164"/>
                </a:lnTo>
                <a:lnTo>
                  <a:pt x="4000" y="174"/>
                </a:lnTo>
                <a:lnTo>
                  <a:pt x="4000" y="185"/>
                </a:lnTo>
                <a:lnTo>
                  <a:pt x="3998" y="197"/>
                </a:lnTo>
                <a:lnTo>
                  <a:pt x="3997" y="207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Freeform 7"/>
          <p:cNvSpPr>
            <a:spLocks/>
          </p:cNvSpPr>
          <p:nvPr userDrawn="1"/>
        </p:nvSpPr>
        <p:spPr bwMode="auto">
          <a:xfrm>
            <a:off x="9231842" y="4125920"/>
            <a:ext cx="674158" cy="1425575"/>
          </a:xfrm>
          <a:custGeom>
            <a:avLst/>
            <a:gdLst>
              <a:gd name="T0" fmla="*/ 1569 w 1569"/>
              <a:gd name="T1" fmla="*/ 3384 h 3590"/>
              <a:gd name="T2" fmla="*/ 205 w 1569"/>
              <a:gd name="T3" fmla="*/ 3589 h 3590"/>
              <a:gd name="T4" fmla="*/ 194 w 1569"/>
              <a:gd name="T5" fmla="*/ 3590 h 3590"/>
              <a:gd name="T6" fmla="*/ 182 w 1569"/>
              <a:gd name="T7" fmla="*/ 3590 h 3590"/>
              <a:gd name="T8" fmla="*/ 172 w 1569"/>
              <a:gd name="T9" fmla="*/ 3590 h 3590"/>
              <a:gd name="T10" fmla="*/ 162 w 1569"/>
              <a:gd name="T11" fmla="*/ 3590 h 3590"/>
              <a:gd name="T12" fmla="*/ 151 w 1569"/>
              <a:gd name="T13" fmla="*/ 3588 h 3590"/>
              <a:gd name="T14" fmla="*/ 141 w 1569"/>
              <a:gd name="T15" fmla="*/ 3587 h 3590"/>
              <a:gd name="T16" fmla="*/ 131 w 1569"/>
              <a:gd name="T17" fmla="*/ 3584 h 3590"/>
              <a:gd name="T18" fmla="*/ 121 w 1569"/>
              <a:gd name="T19" fmla="*/ 3581 h 3590"/>
              <a:gd name="T20" fmla="*/ 112 w 1569"/>
              <a:gd name="T21" fmla="*/ 3577 h 3590"/>
              <a:gd name="T22" fmla="*/ 103 w 1569"/>
              <a:gd name="T23" fmla="*/ 3573 h 3590"/>
              <a:gd name="T24" fmla="*/ 94 w 1569"/>
              <a:gd name="T25" fmla="*/ 3568 h 3590"/>
              <a:gd name="T26" fmla="*/ 86 w 1569"/>
              <a:gd name="T27" fmla="*/ 3563 h 3590"/>
              <a:gd name="T28" fmla="*/ 70 w 1569"/>
              <a:gd name="T29" fmla="*/ 3551 h 3590"/>
              <a:gd name="T30" fmla="*/ 56 w 1569"/>
              <a:gd name="T31" fmla="*/ 3537 h 3590"/>
              <a:gd name="T32" fmla="*/ 42 w 1569"/>
              <a:gd name="T33" fmla="*/ 3521 h 3590"/>
              <a:gd name="T34" fmla="*/ 30 w 1569"/>
              <a:gd name="T35" fmla="*/ 3504 h 3590"/>
              <a:gd name="T36" fmla="*/ 21 w 1569"/>
              <a:gd name="T37" fmla="*/ 3486 h 3590"/>
              <a:gd name="T38" fmla="*/ 13 w 1569"/>
              <a:gd name="T39" fmla="*/ 3466 h 3590"/>
              <a:gd name="T40" fmla="*/ 7 w 1569"/>
              <a:gd name="T41" fmla="*/ 3446 h 3590"/>
              <a:gd name="T42" fmla="*/ 2 w 1569"/>
              <a:gd name="T43" fmla="*/ 3424 h 3590"/>
              <a:gd name="T44" fmla="*/ 0 w 1569"/>
              <a:gd name="T45" fmla="*/ 3403 h 3590"/>
              <a:gd name="T46" fmla="*/ 0 w 1569"/>
              <a:gd name="T47" fmla="*/ 3380 h 3590"/>
              <a:gd name="T48" fmla="*/ 149 w 1569"/>
              <a:gd name="T49" fmla="*/ 687 h 3590"/>
              <a:gd name="T50" fmla="*/ 150 w 1569"/>
              <a:gd name="T51" fmla="*/ 656 h 3590"/>
              <a:gd name="T52" fmla="*/ 153 w 1569"/>
              <a:gd name="T53" fmla="*/ 627 h 3590"/>
              <a:gd name="T54" fmla="*/ 158 w 1569"/>
              <a:gd name="T55" fmla="*/ 598 h 3590"/>
              <a:gd name="T56" fmla="*/ 163 w 1569"/>
              <a:gd name="T57" fmla="*/ 570 h 3590"/>
              <a:gd name="T58" fmla="*/ 168 w 1569"/>
              <a:gd name="T59" fmla="*/ 542 h 3590"/>
              <a:gd name="T60" fmla="*/ 175 w 1569"/>
              <a:gd name="T61" fmla="*/ 516 h 3590"/>
              <a:gd name="T62" fmla="*/ 184 w 1569"/>
              <a:gd name="T63" fmla="*/ 491 h 3590"/>
              <a:gd name="T64" fmla="*/ 193 w 1569"/>
              <a:gd name="T65" fmla="*/ 466 h 3590"/>
              <a:gd name="T66" fmla="*/ 202 w 1569"/>
              <a:gd name="T67" fmla="*/ 443 h 3590"/>
              <a:gd name="T68" fmla="*/ 213 w 1569"/>
              <a:gd name="T69" fmla="*/ 421 h 3590"/>
              <a:gd name="T70" fmla="*/ 224 w 1569"/>
              <a:gd name="T71" fmla="*/ 399 h 3590"/>
              <a:gd name="T72" fmla="*/ 236 w 1569"/>
              <a:gd name="T73" fmla="*/ 378 h 3590"/>
              <a:gd name="T74" fmla="*/ 249 w 1569"/>
              <a:gd name="T75" fmla="*/ 358 h 3590"/>
              <a:gd name="T76" fmla="*/ 263 w 1569"/>
              <a:gd name="T77" fmla="*/ 340 h 3590"/>
              <a:gd name="T78" fmla="*/ 277 w 1569"/>
              <a:gd name="T79" fmla="*/ 322 h 3590"/>
              <a:gd name="T80" fmla="*/ 292 w 1569"/>
              <a:gd name="T81" fmla="*/ 305 h 3590"/>
              <a:gd name="T82" fmla="*/ 308 w 1569"/>
              <a:gd name="T83" fmla="*/ 289 h 3590"/>
              <a:gd name="T84" fmla="*/ 324 w 1569"/>
              <a:gd name="T85" fmla="*/ 272 h 3590"/>
              <a:gd name="T86" fmla="*/ 342 w 1569"/>
              <a:gd name="T87" fmla="*/ 258 h 3590"/>
              <a:gd name="T88" fmla="*/ 359 w 1569"/>
              <a:gd name="T89" fmla="*/ 244 h 3590"/>
              <a:gd name="T90" fmla="*/ 378 w 1569"/>
              <a:gd name="T91" fmla="*/ 232 h 3590"/>
              <a:gd name="T92" fmla="*/ 396 w 1569"/>
              <a:gd name="T93" fmla="*/ 219 h 3590"/>
              <a:gd name="T94" fmla="*/ 416 w 1569"/>
              <a:gd name="T95" fmla="*/ 208 h 3590"/>
              <a:gd name="T96" fmla="*/ 436 w 1569"/>
              <a:gd name="T97" fmla="*/ 198 h 3590"/>
              <a:gd name="T98" fmla="*/ 457 w 1569"/>
              <a:gd name="T99" fmla="*/ 188 h 3590"/>
              <a:gd name="T100" fmla="*/ 478 w 1569"/>
              <a:gd name="T101" fmla="*/ 179 h 3590"/>
              <a:gd name="T102" fmla="*/ 500 w 1569"/>
              <a:gd name="T103" fmla="*/ 171 h 3590"/>
              <a:gd name="T104" fmla="*/ 522 w 1569"/>
              <a:gd name="T105" fmla="*/ 164 h 3590"/>
              <a:gd name="T106" fmla="*/ 545 w 1569"/>
              <a:gd name="T107" fmla="*/ 157 h 3590"/>
              <a:gd name="T108" fmla="*/ 568 w 1569"/>
              <a:gd name="T109" fmla="*/ 152 h 3590"/>
              <a:gd name="T110" fmla="*/ 592 w 1569"/>
              <a:gd name="T111" fmla="*/ 147 h 3590"/>
              <a:gd name="T112" fmla="*/ 616 w 1569"/>
              <a:gd name="T113" fmla="*/ 143 h 3590"/>
              <a:gd name="T114" fmla="*/ 1569 w 1569"/>
              <a:gd name="T115" fmla="*/ 0 h 3590"/>
              <a:gd name="T116" fmla="*/ 1569 w 1569"/>
              <a:gd name="T117" fmla="*/ 3384 h 35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569" h="3590">
                <a:moveTo>
                  <a:pt x="1569" y="3384"/>
                </a:moveTo>
                <a:lnTo>
                  <a:pt x="205" y="3589"/>
                </a:lnTo>
                <a:lnTo>
                  <a:pt x="194" y="3590"/>
                </a:lnTo>
                <a:lnTo>
                  <a:pt x="182" y="3590"/>
                </a:lnTo>
                <a:lnTo>
                  <a:pt x="172" y="3590"/>
                </a:lnTo>
                <a:lnTo>
                  <a:pt x="162" y="3590"/>
                </a:lnTo>
                <a:lnTo>
                  <a:pt x="151" y="3588"/>
                </a:lnTo>
                <a:lnTo>
                  <a:pt x="141" y="3587"/>
                </a:lnTo>
                <a:lnTo>
                  <a:pt x="131" y="3584"/>
                </a:lnTo>
                <a:lnTo>
                  <a:pt x="121" y="3581"/>
                </a:lnTo>
                <a:lnTo>
                  <a:pt x="112" y="3577"/>
                </a:lnTo>
                <a:lnTo>
                  <a:pt x="103" y="3573"/>
                </a:lnTo>
                <a:lnTo>
                  <a:pt x="94" y="3568"/>
                </a:lnTo>
                <a:lnTo>
                  <a:pt x="86" y="3563"/>
                </a:lnTo>
                <a:lnTo>
                  <a:pt x="70" y="3551"/>
                </a:lnTo>
                <a:lnTo>
                  <a:pt x="56" y="3537"/>
                </a:lnTo>
                <a:lnTo>
                  <a:pt x="42" y="3521"/>
                </a:lnTo>
                <a:lnTo>
                  <a:pt x="30" y="3504"/>
                </a:lnTo>
                <a:lnTo>
                  <a:pt x="21" y="3486"/>
                </a:lnTo>
                <a:lnTo>
                  <a:pt x="13" y="3466"/>
                </a:lnTo>
                <a:lnTo>
                  <a:pt x="7" y="3446"/>
                </a:lnTo>
                <a:lnTo>
                  <a:pt x="2" y="3424"/>
                </a:lnTo>
                <a:lnTo>
                  <a:pt x="0" y="3403"/>
                </a:lnTo>
                <a:lnTo>
                  <a:pt x="0" y="3380"/>
                </a:lnTo>
                <a:lnTo>
                  <a:pt x="149" y="687"/>
                </a:lnTo>
                <a:lnTo>
                  <a:pt x="150" y="656"/>
                </a:lnTo>
                <a:lnTo>
                  <a:pt x="153" y="627"/>
                </a:lnTo>
                <a:lnTo>
                  <a:pt x="158" y="598"/>
                </a:lnTo>
                <a:lnTo>
                  <a:pt x="163" y="570"/>
                </a:lnTo>
                <a:lnTo>
                  <a:pt x="168" y="542"/>
                </a:lnTo>
                <a:lnTo>
                  <a:pt x="175" y="516"/>
                </a:lnTo>
                <a:lnTo>
                  <a:pt x="184" y="491"/>
                </a:lnTo>
                <a:lnTo>
                  <a:pt x="193" y="466"/>
                </a:lnTo>
                <a:lnTo>
                  <a:pt x="202" y="443"/>
                </a:lnTo>
                <a:lnTo>
                  <a:pt x="213" y="421"/>
                </a:lnTo>
                <a:lnTo>
                  <a:pt x="224" y="399"/>
                </a:lnTo>
                <a:lnTo>
                  <a:pt x="236" y="378"/>
                </a:lnTo>
                <a:lnTo>
                  <a:pt x="249" y="358"/>
                </a:lnTo>
                <a:lnTo>
                  <a:pt x="263" y="340"/>
                </a:lnTo>
                <a:lnTo>
                  <a:pt x="277" y="322"/>
                </a:lnTo>
                <a:lnTo>
                  <a:pt x="292" y="305"/>
                </a:lnTo>
                <a:lnTo>
                  <a:pt x="308" y="289"/>
                </a:lnTo>
                <a:lnTo>
                  <a:pt x="324" y="272"/>
                </a:lnTo>
                <a:lnTo>
                  <a:pt x="342" y="258"/>
                </a:lnTo>
                <a:lnTo>
                  <a:pt x="359" y="244"/>
                </a:lnTo>
                <a:lnTo>
                  <a:pt x="378" y="232"/>
                </a:lnTo>
                <a:lnTo>
                  <a:pt x="396" y="219"/>
                </a:lnTo>
                <a:lnTo>
                  <a:pt x="416" y="208"/>
                </a:lnTo>
                <a:lnTo>
                  <a:pt x="436" y="198"/>
                </a:lnTo>
                <a:lnTo>
                  <a:pt x="457" y="188"/>
                </a:lnTo>
                <a:lnTo>
                  <a:pt x="478" y="179"/>
                </a:lnTo>
                <a:lnTo>
                  <a:pt x="500" y="171"/>
                </a:lnTo>
                <a:lnTo>
                  <a:pt x="522" y="164"/>
                </a:lnTo>
                <a:lnTo>
                  <a:pt x="545" y="157"/>
                </a:lnTo>
                <a:lnTo>
                  <a:pt x="568" y="152"/>
                </a:lnTo>
                <a:lnTo>
                  <a:pt x="592" y="147"/>
                </a:lnTo>
                <a:lnTo>
                  <a:pt x="616" y="143"/>
                </a:lnTo>
                <a:lnTo>
                  <a:pt x="1569" y="0"/>
                </a:lnTo>
                <a:lnTo>
                  <a:pt x="1569" y="3384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0" name="Freeform 9"/>
          <p:cNvSpPr>
            <a:spLocks/>
          </p:cNvSpPr>
          <p:nvPr userDrawn="1"/>
        </p:nvSpPr>
        <p:spPr bwMode="auto">
          <a:xfrm>
            <a:off x="8905177" y="5940604"/>
            <a:ext cx="1000919" cy="917575"/>
          </a:xfrm>
          <a:custGeom>
            <a:avLst/>
            <a:gdLst>
              <a:gd name="T0" fmla="*/ 759 w 2327"/>
              <a:gd name="T1" fmla="*/ 2310 h 2310"/>
              <a:gd name="T2" fmla="*/ 19 w 2327"/>
              <a:gd name="T3" fmla="*/ 851 h 2310"/>
              <a:gd name="T4" fmla="*/ 14 w 2327"/>
              <a:gd name="T5" fmla="*/ 841 h 2310"/>
              <a:gd name="T6" fmla="*/ 9 w 2327"/>
              <a:gd name="T7" fmla="*/ 832 h 2310"/>
              <a:gd name="T8" fmla="*/ 6 w 2327"/>
              <a:gd name="T9" fmla="*/ 821 h 2310"/>
              <a:gd name="T10" fmla="*/ 4 w 2327"/>
              <a:gd name="T11" fmla="*/ 811 h 2310"/>
              <a:gd name="T12" fmla="*/ 1 w 2327"/>
              <a:gd name="T13" fmla="*/ 800 h 2310"/>
              <a:gd name="T14" fmla="*/ 0 w 2327"/>
              <a:gd name="T15" fmla="*/ 790 h 2310"/>
              <a:gd name="T16" fmla="*/ 0 w 2327"/>
              <a:gd name="T17" fmla="*/ 781 h 2310"/>
              <a:gd name="T18" fmla="*/ 0 w 2327"/>
              <a:gd name="T19" fmla="*/ 770 h 2310"/>
              <a:gd name="T20" fmla="*/ 0 w 2327"/>
              <a:gd name="T21" fmla="*/ 760 h 2310"/>
              <a:gd name="T22" fmla="*/ 1 w 2327"/>
              <a:gd name="T23" fmla="*/ 750 h 2310"/>
              <a:gd name="T24" fmla="*/ 4 w 2327"/>
              <a:gd name="T25" fmla="*/ 740 h 2310"/>
              <a:gd name="T26" fmla="*/ 6 w 2327"/>
              <a:gd name="T27" fmla="*/ 731 h 2310"/>
              <a:gd name="T28" fmla="*/ 13 w 2327"/>
              <a:gd name="T29" fmla="*/ 712 h 2310"/>
              <a:gd name="T30" fmla="*/ 21 w 2327"/>
              <a:gd name="T31" fmla="*/ 693 h 2310"/>
              <a:gd name="T32" fmla="*/ 32 w 2327"/>
              <a:gd name="T33" fmla="*/ 676 h 2310"/>
              <a:gd name="T34" fmla="*/ 44 w 2327"/>
              <a:gd name="T35" fmla="*/ 660 h 2310"/>
              <a:gd name="T36" fmla="*/ 58 w 2327"/>
              <a:gd name="T37" fmla="*/ 645 h 2310"/>
              <a:gd name="T38" fmla="*/ 75 w 2327"/>
              <a:gd name="T39" fmla="*/ 631 h 2310"/>
              <a:gd name="T40" fmla="*/ 92 w 2327"/>
              <a:gd name="T41" fmla="*/ 619 h 2310"/>
              <a:gd name="T42" fmla="*/ 111 w 2327"/>
              <a:gd name="T43" fmla="*/ 607 h 2310"/>
              <a:gd name="T44" fmla="*/ 130 w 2327"/>
              <a:gd name="T45" fmla="*/ 599 h 2310"/>
              <a:gd name="T46" fmla="*/ 152 w 2327"/>
              <a:gd name="T47" fmla="*/ 592 h 2310"/>
              <a:gd name="T48" fmla="*/ 2327 w 2327"/>
              <a:gd name="T49" fmla="*/ 0 h 2310"/>
              <a:gd name="T50" fmla="*/ 2327 w 2327"/>
              <a:gd name="T51" fmla="*/ 2310 h 2310"/>
              <a:gd name="T52" fmla="*/ 759 w 2327"/>
              <a:gd name="T53" fmla="*/ 2310 h 2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2327" h="2310">
                <a:moveTo>
                  <a:pt x="759" y="2310"/>
                </a:moveTo>
                <a:lnTo>
                  <a:pt x="19" y="851"/>
                </a:lnTo>
                <a:lnTo>
                  <a:pt x="14" y="841"/>
                </a:lnTo>
                <a:lnTo>
                  <a:pt x="9" y="832"/>
                </a:lnTo>
                <a:lnTo>
                  <a:pt x="6" y="821"/>
                </a:lnTo>
                <a:lnTo>
                  <a:pt x="4" y="811"/>
                </a:lnTo>
                <a:lnTo>
                  <a:pt x="1" y="800"/>
                </a:lnTo>
                <a:lnTo>
                  <a:pt x="0" y="790"/>
                </a:lnTo>
                <a:lnTo>
                  <a:pt x="0" y="781"/>
                </a:lnTo>
                <a:lnTo>
                  <a:pt x="0" y="770"/>
                </a:lnTo>
                <a:lnTo>
                  <a:pt x="0" y="760"/>
                </a:lnTo>
                <a:lnTo>
                  <a:pt x="1" y="750"/>
                </a:lnTo>
                <a:lnTo>
                  <a:pt x="4" y="740"/>
                </a:lnTo>
                <a:lnTo>
                  <a:pt x="6" y="731"/>
                </a:lnTo>
                <a:lnTo>
                  <a:pt x="13" y="712"/>
                </a:lnTo>
                <a:lnTo>
                  <a:pt x="21" y="693"/>
                </a:lnTo>
                <a:lnTo>
                  <a:pt x="32" y="676"/>
                </a:lnTo>
                <a:lnTo>
                  <a:pt x="44" y="660"/>
                </a:lnTo>
                <a:lnTo>
                  <a:pt x="58" y="645"/>
                </a:lnTo>
                <a:lnTo>
                  <a:pt x="75" y="631"/>
                </a:lnTo>
                <a:lnTo>
                  <a:pt x="92" y="619"/>
                </a:lnTo>
                <a:lnTo>
                  <a:pt x="111" y="607"/>
                </a:lnTo>
                <a:lnTo>
                  <a:pt x="130" y="599"/>
                </a:lnTo>
                <a:lnTo>
                  <a:pt x="152" y="592"/>
                </a:lnTo>
                <a:lnTo>
                  <a:pt x="2327" y="0"/>
                </a:lnTo>
                <a:lnTo>
                  <a:pt x="2327" y="2310"/>
                </a:lnTo>
                <a:lnTo>
                  <a:pt x="759" y="2310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2" name="Freeform 11"/>
          <p:cNvSpPr>
            <a:spLocks/>
          </p:cNvSpPr>
          <p:nvPr userDrawn="1"/>
        </p:nvSpPr>
        <p:spPr bwMode="auto">
          <a:xfrm>
            <a:off x="7248937" y="6127750"/>
            <a:ext cx="1389592" cy="730250"/>
          </a:xfrm>
          <a:custGeom>
            <a:avLst/>
            <a:gdLst>
              <a:gd name="T0" fmla="*/ 0 w 3232"/>
              <a:gd name="T1" fmla="*/ 1840 h 1840"/>
              <a:gd name="T2" fmla="*/ 1817 w 3232"/>
              <a:gd name="T3" fmla="*/ 49 h 1840"/>
              <a:gd name="T4" fmla="*/ 1825 w 3232"/>
              <a:gd name="T5" fmla="*/ 42 h 1840"/>
              <a:gd name="T6" fmla="*/ 1834 w 3232"/>
              <a:gd name="T7" fmla="*/ 35 h 1840"/>
              <a:gd name="T8" fmla="*/ 1842 w 3232"/>
              <a:gd name="T9" fmla="*/ 28 h 1840"/>
              <a:gd name="T10" fmla="*/ 1852 w 3232"/>
              <a:gd name="T11" fmla="*/ 22 h 1840"/>
              <a:gd name="T12" fmla="*/ 1861 w 3232"/>
              <a:gd name="T13" fmla="*/ 18 h 1840"/>
              <a:gd name="T14" fmla="*/ 1870 w 3232"/>
              <a:gd name="T15" fmla="*/ 13 h 1840"/>
              <a:gd name="T16" fmla="*/ 1880 w 3232"/>
              <a:gd name="T17" fmla="*/ 10 h 1840"/>
              <a:gd name="T18" fmla="*/ 1889 w 3232"/>
              <a:gd name="T19" fmla="*/ 7 h 1840"/>
              <a:gd name="T20" fmla="*/ 1899 w 3232"/>
              <a:gd name="T21" fmla="*/ 4 h 1840"/>
              <a:gd name="T22" fmla="*/ 1909 w 3232"/>
              <a:gd name="T23" fmla="*/ 3 h 1840"/>
              <a:gd name="T24" fmla="*/ 1919 w 3232"/>
              <a:gd name="T25" fmla="*/ 1 h 1840"/>
              <a:gd name="T26" fmla="*/ 1928 w 3232"/>
              <a:gd name="T27" fmla="*/ 0 h 1840"/>
              <a:gd name="T28" fmla="*/ 1949 w 3232"/>
              <a:gd name="T29" fmla="*/ 0 h 1840"/>
              <a:gd name="T30" fmla="*/ 1969 w 3232"/>
              <a:gd name="T31" fmla="*/ 4 h 1840"/>
              <a:gd name="T32" fmla="*/ 1989 w 3232"/>
              <a:gd name="T33" fmla="*/ 8 h 1840"/>
              <a:gd name="T34" fmla="*/ 2007 w 3232"/>
              <a:gd name="T35" fmla="*/ 15 h 1840"/>
              <a:gd name="T36" fmla="*/ 2026 w 3232"/>
              <a:gd name="T37" fmla="*/ 25 h 1840"/>
              <a:gd name="T38" fmla="*/ 2045 w 3232"/>
              <a:gd name="T39" fmla="*/ 35 h 1840"/>
              <a:gd name="T40" fmla="*/ 2061 w 3232"/>
              <a:gd name="T41" fmla="*/ 48 h 1840"/>
              <a:gd name="T42" fmla="*/ 2077 w 3232"/>
              <a:gd name="T43" fmla="*/ 63 h 1840"/>
              <a:gd name="T44" fmla="*/ 2092 w 3232"/>
              <a:gd name="T45" fmla="*/ 79 h 1840"/>
              <a:gd name="T46" fmla="*/ 2105 w 3232"/>
              <a:gd name="T47" fmla="*/ 98 h 1840"/>
              <a:gd name="T48" fmla="*/ 3232 w 3232"/>
              <a:gd name="T49" fmla="*/ 1840 h 1840"/>
              <a:gd name="T50" fmla="*/ 0 w 3232"/>
              <a:gd name="T51" fmla="*/ 1840 h 18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232" h="1840">
                <a:moveTo>
                  <a:pt x="0" y="1840"/>
                </a:moveTo>
                <a:lnTo>
                  <a:pt x="1817" y="49"/>
                </a:lnTo>
                <a:lnTo>
                  <a:pt x="1825" y="42"/>
                </a:lnTo>
                <a:lnTo>
                  <a:pt x="1834" y="35"/>
                </a:lnTo>
                <a:lnTo>
                  <a:pt x="1842" y="28"/>
                </a:lnTo>
                <a:lnTo>
                  <a:pt x="1852" y="22"/>
                </a:lnTo>
                <a:lnTo>
                  <a:pt x="1861" y="18"/>
                </a:lnTo>
                <a:lnTo>
                  <a:pt x="1870" y="13"/>
                </a:lnTo>
                <a:lnTo>
                  <a:pt x="1880" y="10"/>
                </a:lnTo>
                <a:lnTo>
                  <a:pt x="1889" y="7"/>
                </a:lnTo>
                <a:lnTo>
                  <a:pt x="1899" y="4"/>
                </a:lnTo>
                <a:lnTo>
                  <a:pt x="1909" y="3"/>
                </a:lnTo>
                <a:lnTo>
                  <a:pt x="1919" y="1"/>
                </a:lnTo>
                <a:lnTo>
                  <a:pt x="1928" y="0"/>
                </a:lnTo>
                <a:lnTo>
                  <a:pt x="1949" y="0"/>
                </a:lnTo>
                <a:lnTo>
                  <a:pt x="1969" y="4"/>
                </a:lnTo>
                <a:lnTo>
                  <a:pt x="1989" y="8"/>
                </a:lnTo>
                <a:lnTo>
                  <a:pt x="2007" y="15"/>
                </a:lnTo>
                <a:lnTo>
                  <a:pt x="2026" y="25"/>
                </a:lnTo>
                <a:lnTo>
                  <a:pt x="2045" y="35"/>
                </a:lnTo>
                <a:lnTo>
                  <a:pt x="2061" y="48"/>
                </a:lnTo>
                <a:lnTo>
                  <a:pt x="2077" y="63"/>
                </a:lnTo>
                <a:lnTo>
                  <a:pt x="2092" y="79"/>
                </a:lnTo>
                <a:lnTo>
                  <a:pt x="2105" y="98"/>
                </a:lnTo>
                <a:lnTo>
                  <a:pt x="3232" y="1840"/>
                </a:lnTo>
                <a:lnTo>
                  <a:pt x="0" y="1840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4" name="Freeform 13"/>
          <p:cNvSpPr>
            <a:spLocks/>
          </p:cNvSpPr>
          <p:nvPr userDrawn="1"/>
        </p:nvSpPr>
        <p:spPr bwMode="auto">
          <a:xfrm>
            <a:off x="5510213" y="4397554"/>
            <a:ext cx="2424906" cy="1976437"/>
          </a:xfrm>
          <a:custGeom>
            <a:avLst/>
            <a:gdLst>
              <a:gd name="T0" fmla="*/ 5548 w 5640"/>
              <a:gd name="T1" fmla="*/ 2360 h 4980"/>
              <a:gd name="T2" fmla="*/ 5567 w 5640"/>
              <a:gd name="T3" fmla="*/ 2372 h 4980"/>
              <a:gd name="T4" fmla="*/ 5584 w 5640"/>
              <a:gd name="T5" fmla="*/ 2385 h 4980"/>
              <a:gd name="T6" fmla="*/ 5598 w 5640"/>
              <a:gd name="T7" fmla="*/ 2400 h 4980"/>
              <a:gd name="T8" fmla="*/ 5611 w 5640"/>
              <a:gd name="T9" fmla="*/ 2415 h 4980"/>
              <a:gd name="T10" fmla="*/ 5621 w 5640"/>
              <a:gd name="T11" fmla="*/ 2432 h 4980"/>
              <a:gd name="T12" fmla="*/ 5629 w 5640"/>
              <a:gd name="T13" fmla="*/ 2451 h 4980"/>
              <a:gd name="T14" fmla="*/ 5639 w 5640"/>
              <a:gd name="T15" fmla="*/ 2490 h 4980"/>
              <a:gd name="T16" fmla="*/ 5640 w 5640"/>
              <a:gd name="T17" fmla="*/ 2531 h 4980"/>
              <a:gd name="T18" fmla="*/ 5632 w 5640"/>
              <a:gd name="T19" fmla="*/ 2572 h 4980"/>
              <a:gd name="T20" fmla="*/ 5616 w 5640"/>
              <a:gd name="T21" fmla="*/ 2611 h 4980"/>
              <a:gd name="T22" fmla="*/ 5591 w 5640"/>
              <a:gd name="T23" fmla="*/ 2648 h 4980"/>
              <a:gd name="T24" fmla="*/ 3873 w 5640"/>
              <a:gd name="T25" fmla="*/ 4768 h 4980"/>
              <a:gd name="T26" fmla="*/ 3834 w 5640"/>
              <a:gd name="T27" fmla="*/ 4811 h 4980"/>
              <a:gd name="T28" fmla="*/ 3792 w 5640"/>
              <a:gd name="T29" fmla="*/ 4850 h 4980"/>
              <a:gd name="T30" fmla="*/ 3750 w 5640"/>
              <a:gd name="T31" fmla="*/ 4882 h 4980"/>
              <a:gd name="T32" fmla="*/ 3707 w 5640"/>
              <a:gd name="T33" fmla="*/ 4910 h 4980"/>
              <a:gd name="T34" fmla="*/ 3664 w 5640"/>
              <a:gd name="T35" fmla="*/ 4933 h 4980"/>
              <a:gd name="T36" fmla="*/ 3620 w 5640"/>
              <a:gd name="T37" fmla="*/ 4952 h 4980"/>
              <a:gd name="T38" fmla="*/ 3576 w 5640"/>
              <a:gd name="T39" fmla="*/ 4966 h 4980"/>
              <a:gd name="T40" fmla="*/ 3530 w 5640"/>
              <a:gd name="T41" fmla="*/ 4975 h 4980"/>
              <a:gd name="T42" fmla="*/ 3486 w 5640"/>
              <a:gd name="T43" fmla="*/ 4980 h 4980"/>
              <a:gd name="T44" fmla="*/ 3441 w 5640"/>
              <a:gd name="T45" fmla="*/ 4980 h 4980"/>
              <a:gd name="T46" fmla="*/ 3397 w 5640"/>
              <a:gd name="T47" fmla="*/ 4976 h 4980"/>
              <a:gd name="T48" fmla="*/ 3351 w 5640"/>
              <a:gd name="T49" fmla="*/ 4968 h 4980"/>
              <a:gd name="T50" fmla="*/ 3306 w 5640"/>
              <a:gd name="T51" fmla="*/ 4957 h 4980"/>
              <a:gd name="T52" fmla="*/ 3262 w 5640"/>
              <a:gd name="T53" fmla="*/ 4941 h 4980"/>
              <a:gd name="T54" fmla="*/ 3218 w 5640"/>
              <a:gd name="T55" fmla="*/ 4923 h 4980"/>
              <a:gd name="T56" fmla="*/ 297 w 5640"/>
              <a:gd name="T57" fmla="*/ 3413 h 4980"/>
              <a:gd name="T58" fmla="*/ 254 w 5640"/>
              <a:gd name="T59" fmla="*/ 3390 h 4980"/>
              <a:gd name="T60" fmla="*/ 215 w 5640"/>
              <a:gd name="T61" fmla="*/ 3363 h 4980"/>
              <a:gd name="T62" fmla="*/ 179 w 5640"/>
              <a:gd name="T63" fmla="*/ 3335 h 4980"/>
              <a:gd name="T64" fmla="*/ 144 w 5640"/>
              <a:gd name="T65" fmla="*/ 3304 h 4980"/>
              <a:gd name="T66" fmla="*/ 113 w 5640"/>
              <a:gd name="T67" fmla="*/ 3270 h 4980"/>
              <a:gd name="T68" fmla="*/ 87 w 5640"/>
              <a:gd name="T69" fmla="*/ 3235 h 4980"/>
              <a:gd name="T70" fmla="*/ 62 w 5640"/>
              <a:gd name="T71" fmla="*/ 3197 h 4980"/>
              <a:gd name="T72" fmla="*/ 43 w 5640"/>
              <a:gd name="T73" fmla="*/ 3156 h 4980"/>
              <a:gd name="T74" fmla="*/ 25 w 5640"/>
              <a:gd name="T75" fmla="*/ 3113 h 4980"/>
              <a:gd name="T76" fmla="*/ 13 w 5640"/>
              <a:gd name="T77" fmla="*/ 3068 h 4980"/>
              <a:gd name="T78" fmla="*/ 4 w 5640"/>
              <a:gd name="T79" fmla="*/ 3020 h 4980"/>
              <a:gd name="T80" fmla="*/ 1 w 5640"/>
              <a:gd name="T81" fmla="*/ 2972 h 4980"/>
              <a:gd name="T82" fmla="*/ 1 w 5640"/>
              <a:gd name="T83" fmla="*/ 2919 h 4980"/>
              <a:gd name="T84" fmla="*/ 5 w 5640"/>
              <a:gd name="T85" fmla="*/ 2865 h 4980"/>
              <a:gd name="T86" fmla="*/ 15 w 5640"/>
              <a:gd name="T87" fmla="*/ 2808 h 4980"/>
              <a:gd name="T88" fmla="*/ 30 w 5640"/>
              <a:gd name="T89" fmla="*/ 2748 h 4980"/>
              <a:gd name="T90" fmla="*/ 764 w 5640"/>
              <a:gd name="T91" fmla="*/ 130 h 4980"/>
              <a:gd name="T92" fmla="*/ 784 w 5640"/>
              <a:gd name="T93" fmla="*/ 90 h 4980"/>
              <a:gd name="T94" fmla="*/ 810 w 5640"/>
              <a:gd name="T95" fmla="*/ 58 h 4980"/>
              <a:gd name="T96" fmla="*/ 841 w 5640"/>
              <a:gd name="T97" fmla="*/ 31 h 4980"/>
              <a:gd name="T98" fmla="*/ 877 w 5640"/>
              <a:gd name="T99" fmla="*/ 11 h 4980"/>
              <a:gd name="T100" fmla="*/ 906 w 5640"/>
              <a:gd name="T101" fmla="*/ 3 h 4980"/>
              <a:gd name="T102" fmla="*/ 926 w 5640"/>
              <a:gd name="T103" fmla="*/ 1 h 4980"/>
              <a:gd name="T104" fmla="*/ 946 w 5640"/>
              <a:gd name="T105" fmla="*/ 0 h 4980"/>
              <a:gd name="T106" fmla="*/ 967 w 5640"/>
              <a:gd name="T107" fmla="*/ 2 h 4980"/>
              <a:gd name="T108" fmla="*/ 986 w 5640"/>
              <a:gd name="T109" fmla="*/ 7 h 4980"/>
              <a:gd name="T110" fmla="*/ 1007 w 5640"/>
              <a:gd name="T111" fmla="*/ 14 h 49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640" h="4980">
                <a:moveTo>
                  <a:pt x="1018" y="20"/>
                </a:moveTo>
                <a:lnTo>
                  <a:pt x="5548" y="2360"/>
                </a:lnTo>
                <a:lnTo>
                  <a:pt x="5557" y="2366"/>
                </a:lnTo>
                <a:lnTo>
                  <a:pt x="5567" y="2372"/>
                </a:lnTo>
                <a:lnTo>
                  <a:pt x="5576" y="2378"/>
                </a:lnTo>
                <a:lnTo>
                  <a:pt x="5584" y="2385"/>
                </a:lnTo>
                <a:lnTo>
                  <a:pt x="5591" y="2392"/>
                </a:lnTo>
                <a:lnTo>
                  <a:pt x="5598" y="2400"/>
                </a:lnTo>
                <a:lnTo>
                  <a:pt x="5605" y="2407"/>
                </a:lnTo>
                <a:lnTo>
                  <a:pt x="5611" y="2415"/>
                </a:lnTo>
                <a:lnTo>
                  <a:pt x="5617" y="2424"/>
                </a:lnTo>
                <a:lnTo>
                  <a:pt x="5621" y="2432"/>
                </a:lnTo>
                <a:lnTo>
                  <a:pt x="5626" y="2442"/>
                </a:lnTo>
                <a:lnTo>
                  <a:pt x="5629" y="2451"/>
                </a:lnTo>
                <a:lnTo>
                  <a:pt x="5635" y="2471"/>
                </a:lnTo>
                <a:lnTo>
                  <a:pt x="5639" y="2490"/>
                </a:lnTo>
                <a:lnTo>
                  <a:pt x="5640" y="2510"/>
                </a:lnTo>
                <a:lnTo>
                  <a:pt x="5640" y="2531"/>
                </a:lnTo>
                <a:lnTo>
                  <a:pt x="5636" y="2551"/>
                </a:lnTo>
                <a:lnTo>
                  <a:pt x="5632" y="2572"/>
                </a:lnTo>
                <a:lnTo>
                  <a:pt x="5625" y="2592"/>
                </a:lnTo>
                <a:lnTo>
                  <a:pt x="5616" y="2611"/>
                </a:lnTo>
                <a:lnTo>
                  <a:pt x="5605" y="2631"/>
                </a:lnTo>
                <a:lnTo>
                  <a:pt x="5591" y="2648"/>
                </a:lnTo>
                <a:lnTo>
                  <a:pt x="3894" y="4745"/>
                </a:lnTo>
                <a:lnTo>
                  <a:pt x="3873" y="4768"/>
                </a:lnTo>
                <a:lnTo>
                  <a:pt x="3854" y="4790"/>
                </a:lnTo>
                <a:lnTo>
                  <a:pt x="3834" y="4811"/>
                </a:lnTo>
                <a:lnTo>
                  <a:pt x="3813" y="4831"/>
                </a:lnTo>
                <a:lnTo>
                  <a:pt x="3792" y="4850"/>
                </a:lnTo>
                <a:lnTo>
                  <a:pt x="3771" y="4867"/>
                </a:lnTo>
                <a:lnTo>
                  <a:pt x="3750" y="4882"/>
                </a:lnTo>
                <a:lnTo>
                  <a:pt x="3729" y="4897"/>
                </a:lnTo>
                <a:lnTo>
                  <a:pt x="3707" y="4910"/>
                </a:lnTo>
                <a:lnTo>
                  <a:pt x="3686" y="4923"/>
                </a:lnTo>
                <a:lnTo>
                  <a:pt x="3664" y="4933"/>
                </a:lnTo>
                <a:lnTo>
                  <a:pt x="3642" y="4944"/>
                </a:lnTo>
                <a:lnTo>
                  <a:pt x="3620" y="4952"/>
                </a:lnTo>
                <a:lnTo>
                  <a:pt x="3598" y="4959"/>
                </a:lnTo>
                <a:lnTo>
                  <a:pt x="3576" y="4966"/>
                </a:lnTo>
                <a:lnTo>
                  <a:pt x="3554" y="4971"/>
                </a:lnTo>
                <a:lnTo>
                  <a:pt x="3530" y="4975"/>
                </a:lnTo>
                <a:lnTo>
                  <a:pt x="3508" y="4978"/>
                </a:lnTo>
                <a:lnTo>
                  <a:pt x="3486" y="4980"/>
                </a:lnTo>
                <a:lnTo>
                  <a:pt x="3464" y="4980"/>
                </a:lnTo>
                <a:lnTo>
                  <a:pt x="3441" y="4980"/>
                </a:lnTo>
                <a:lnTo>
                  <a:pt x="3419" y="4979"/>
                </a:lnTo>
                <a:lnTo>
                  <a:pt x="3397" y="4976"/>
                </a:lnTo>
                <a:lnTo>
                  <a:pt x="3374" y="4973"/>
                </a:lnTo>
                <a:lnTo>
                  <a:pt x="3351" y="4968"/>
                </a:lnTo>
                <a:lnTo>
                  <a:pt x="3329" y="4964"/>
                </a:lnTo>
                <a:lnTo>
                  <a:pt x="3306" y="4957"/>
                </a:lnTo>
                <a:lnTo>
                  <a:pt x="3284" y="4950"/>
                </a:lnTo>
                <a:lnTo>
                  <a:pt x="3262" y="4941"/>
                </a:lnTo>
                <a:lnTo>
                  <a:pt x="3240" y="4932"/>
                </a:lnTo>
                <a:lnTo>
                  <a:pt x="3218" y="4923"/>
                </a:lnTo>
                <a:lnTo>
                  <a:pt x="3196" y="4911"/>
                </a:lnTo>
                <a:lnTo>
                  <a:pt x="297" y="3413"/>
                </a:lnTo>
                <a:lnTo>
                  <a:pt x="275" y="3402"/>
                </a:lnTo>
                <a:lnTo>
                  <a:pt x="254" y="3390"/>
                </a:lnTo>
                <a:lnTo>
                  <a:pt x="234" y="3377"/>
                </a:lnTo>
                <a:lnTo>
                  <a:pt x="215" y="3363"/>
                </a:lnTo>
                <a:lnTo>
                  <a:pt x="196" y="3349"/>
                </a:lnTo>
                <a:lnTo>
                  <a:pt x="179" y="3335"/>
                </a:lnTo>
                <a:lnTo>
                  <a:pt x="161" y="3320"/>
                </a:lnTo>
                <a:lnTo>
                  <a:pt x="144" y="3304"/>
                </a:lnTo>
                <a:lnTo>
                  <a:pt x="129" y="3288"/>
                </a:lnTo>
                <a:lnTo>
                  <a:pt x="113" y="3270"/>
                </a:lnTo>
                <a:lnTo>
                  <a:pt x="99" y="3253"/>
                </a:lnTo>
                <a:lnTo>
                  <a:pt x="87" y="3235"/>
                </a:lnTo>
                <a:lnTo>
                  <a:pt x="74" y="3217"/>
                </a:lnTo>
                <a:lnTo>
                  <a:pt x="62" y="3197"/>
                </a:lnTo>
                <a:lnTo>
                  <a:pt x="52" y="3177"/>
                </a:lnTo>
                <a:lnTo>
                  <a:pt x="43" y="3156"/>
                </a:lnTo>
                <a:lnTo>
                  <a:pt x="33" y="3135"/>
                </a:lnTo>
                <a:lnTo>
                  <a:pt x="25" y="3113"/>
                </a:lnTo>
                <a:lnTo>
                  <a:pt x="18" y="3091"/>
                </a:lnTo>
                <a:lnTo>
                  <a:pt x="13" y="3068"/>
                </a:lnTo>
                <a:lnTo>
                  <a:pt x="8" y="3045"/>
                </a:lnTo>
                <a:lnTo>
                  <a:pt x="4" y="3020"/>
                </a:lnTo>
                <a:lnTo>
                  <a:pt x="2" y="2996"/>
                </a:lnTo>
                <a:lnTo>
                  <a:pt x="1" y="2972"/>
                </a:lnTo>
                <a:lnTo>
                  <a:pt x="0" y="2945"/>
                </a:lnTo>
                <a:lnTo>
                  <a:pt x="1" y="2919"/>
                </a:lnTo>
                <a:lnTo>
                  <a:pt x="2" y="2891"/>
                </a:lnTo>
                <a:lnTo>
                  <a:pt x="5" y="2865"/>
                </a:lnTo>
                <a:lnTo>
                  <a:pt x="10" y="2836"/>
                </a:lnTo>
                <a:lnTo>
                  <a:pt x="15" y="2808"/>
                </a:lnTo>
                <a:lnTo>
                  <a:pt x="22" y="2779"/>
                </a:lnTo>
                <a:lnTo>
                  <a:pt x="30" y="2748"/>
                </a:lnTo>
                <a:lnTo>
                  <a:pt x="757" y="151"/>
                </a:lnTo>
                <a:lnTo>
                  <a:pt x="764" y="130"/>
                </a:lnTo>
                <a:lnTo>
                  <a:pt x="772" y="109"/>
                </a:lnTo>
                <a:lnTo>
                  <a:pt x="784" y="90"/>
                </a:lnTo>
                <a:lnTo>
                  <a:pt x="796" y="73"/>
                </a:lnTo>
                <a:lnTo>
                  <a:pt x="810" y="58"/>
                </a:lnTo>
                <a:lnTo>
                  <a:pt x="825" y="43"/>
                </a:lnTo>
                <a:lnTo>
                  <a:pt x="841" y="31"/>
                </a:lnTo>
                <a:lnTo>
                  <a:pt x="858" y="21"/>
                </a:lnTo>
                <a:lnTo>
                  <a:pt x="877" y="11"/>
                </a:lnTo>
                <a:lnTo>
                  <a:pt x="896" y="6"/>
                </a:lnTo>
                <a:lnTo>
                  <a:pt x="906" y="3"/>
                </a:lnTo>
                <a:lnTo>
                  <a:pt x="915" y="2"/>
                </a:lnTo>
                <a:lnTo>
                  <a:pt x="926" y="1"/>
                </a:lnTo>
                <a:lnTo>
                  <a:pt x="936" y="0"/>
                </a:lnTo>
                <a:lnTo>
                  <a:pt x="946" y="0"/>
                </a:lnTo>
                <a:lnTo>
                  <a:pt x="956" y="1"/>
                </a:lnTo>
                <a:lnTo>
                  <a:pt x="967" y="2"/>
                </a:lnTo>
                <a:lnTo>
                  <a:pt x="977" y="4"/>
                </a:lnTo>
                <a:lnTo>
                  <a:pt x="986" y="7"/>
                </a:lnTo>
                <a:lnTo>
                  <a:pt x="997" y="10"/>
                </a:lnTo>
                <a:lnTo>
                  <a:pt x="1007" y="14"/>
                </a:lnTo>
                <a:lnTo>
                  <a:pt x="1018" y="20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6" name="Группа 15"/>
          <p:cNvGrpSpPr/>
          <p:nvPr userDrawn="1"/>
        </p:nvGrpSpPr>
        <p:grpSpPr>
          <a:xfrm>
            <a:off x="531416" y="487363"/>
            <a:ext cx="2332038" cy="455612"/>
            <a:chOff x="490538" y="487363"/>
            <a:chExt cx="2152650" cy="455612"/>
          </a:xfrm>
        </p:grpSpPr>
        <p:sp>
          <p:nvSpPr>
            <p:cNvPr id="17" name="Freeform 5"/>
            <p:cNvSpPr>
              <a:spLocks noEditPoints="1"/>
            </p:cNvSpPr>
            <p:nvPr userDrawn="1"/>
          </p:nvSpPr>
          <p:spPr bwMode="auto">
            <a:xfrm>
              <a:off x="1144588" y="590550"/>
              <a:ext cx="1498600" cy="247650"/>
            </a:xfrm>
            <a:custGeom>
              <a:avLst/>
              <a:gdLst>
                <a:gd name="T0" fmla="*/ 2465 w 11327"/>
                <a:gd name="T1" fmla="*/ 803 h 1868"/>
                <a:gd name="T2" fmla="*/ 2667 w 11327"/>
                <a:gd name="T3" fmla="*/ 466 h 1868"/>
                <a:gd name="T4" fmla="*/ 3049 w 11327"/>
                <a:gd name="T5" fmla="*/ 345 h 1868"/>
                <a:gd name="T6" fmla="*/ 3430 w 11327"/>
                <a:gd name="T7" fmla="*/ 466 h 1868"/>
                <a:gd name="T8" fmla="*/ 3632 w 11327"/>
                <a:gd name="T9" fmla="*/ 803 h 1868"/>
                <a:gd name="T10" fmla="*/ 3574 w 11327"/>
                <a:gd name="T11" fmla="*/ 1233 h 1868"/>
                <a:gd name="T12" fmla="*/ 3284 w 11327"/>
                <a:gd name="T13" fmla="*/ 1483 h 1868"/>
                <a:gd name="T14" fmla="*/ 2870 w 11327"/>
                <a:gd name="T15" fmla="*/ 1500 h 1868"/>
                <a:gd name="T16" fmla="*/ 2553 w 11327"/>
                <a:gd name="T17" fmla="*/ 1281 h 1868"/>
                <a:gd name="T18" fmla="*/ 4046 w 11327"/>
                <a:gd name="T19" fmla="*/ 882 h 1868"/>
                <a:gd name="T20" fmla="*/ 3784 w 11327"/>
                <a:gd name="T21" fmla="*/ 289 h 1868"/>
                <a:gd name="T22" fmla="*/ 3199 w 11327"/>
                <a:gd name="T23" fmla="*/ 10 h 1868"/>
                <a:gd name="T24" fmla="*/ 2536 w 11327"/>
                <a:gd name="T25" fmla="*/ 125 h 1868"/>
                <a:gd name="T26" fmla="*/ 2113 w 11327"/>
                <a:gd name="T27" fmla="*/ 595 h 1868"/>
                <a:gd name="T28" fmla="*/ 2113 w 11327"/>
                <a:gd name="T29" fmla="*/ 1273 h 1868"/>
                <a:gd name="T30" fmla="*/ 2536 w 11327"/>
                <a:gd name="T31" fmla="*/ 1743 h 1868"/>
                <a:gd name="T32" fmla="*/ 3199 w 11327"/>
                <a:gd name="T33" fmla="*/ 1858 h 1868"/>
                <a:gd name="T34" fmla="*/ 3784 w 11327"/>
                <a:gd name="T35" fmla="*/ 1579 h 1868"/>
                <a:gd name="T36" fmla="*/ 4046 w 11327"/>
                <a:gd name="T37" fmla="*/ 985 h 1868"/>
                <a:gd name="T38" fmla="*/ 4444 w 11327"/>
                <a:gd name="T39" fmla="*/ 1443 h 1868"/>
                <a:gd name="T40" fmla="*/ 4540 w 11327"/>
                <a:gd name="T41" fmla="*/ 1808 h 1868"/>
                <a:gd name="T42" fmla="*/ 4811 w 11327"/>
                <a:gd name="T43" fmla="*/ 1650 h 1868"/>
                <a:gd name="T44" fmla="*/ 5796 w 11327"/>
                <a:gd name="T45" fmla="*/ 403 h 1868"/>
                <a:gd name="T46" fmla="*/ 7304 w 11327"/>
                <a:gd name="T47" fmla="*/ 1292 h 1868"/>
                <a:gd name="T48" fmla="*/ 7673 w 11327"/>
                <a:gd name="T49" fmla="*/ 1730 h 1868"/>
                <a:gd name="T50" fmla="*/ 8267 w 11327"/>
                <a:gd name="T51" fmla="*/ 1867 h 1868"/>
                <a:gd name="T52" fmla="*/ 8871 w 11327"/>
                <a:gd name="T53" fmla="*/ 1653 h 1868"/>
                <a:gd name="T54" fmla="*/ 9178 w 11327"/>
                <a:gd name="T55" fmla="*/ 1094 h 1868"/>
                <a:gd name="T56" fmla="*/ 9049 w 11327"/>
                <a:gd name="T57" fmla="*/ 414 h 1868"/>
                <a:gd name="T58" fmla="*/ 8552 w 11327"/>
                <a:gd name="T59" fmla="*/ 48 h 1868"/>
                <a:gd name="T60" fmla="*/ 7924 w 11327"/>
                <a:gd name="T61" fmla="*/ 36 h 1868"/>
                <a:gd name="T62" fmla="*/ 7459 w 11327"/>
                <a:gd name="T63" fmla="*/ 313 h 1868"/>
                <a:gd name="T64" fmla="*/ 6585 w 11327"/>
                <a:gd name="T65" fmla="*/ 42 h 1868"/>
                <a:gd name="T66" fmla="*/ 7740 w 11327"/>
                <a:gd name="T67" fmla="*/ 563 h 1868"/>
                <a:gd name="T68" fmla="*/ 8053 w 11327"/>
                <a:gd name="T69" fmla="*/ 361 h 1868"/>
                <a:gd name="T70" fmla="*/ 8492 w 11327"/>
                <a:gd name="T71" fmla="*/ 396 h 1868"/>
                <a:gd name="T72" fmla="*/ 8744 w 11327"/>
                <a:gd name="T73" fmla="*/ 660 h 1868"/>
                <a:gd name="T74" fmla="*/ 8775 w 11327"/>
                <a:gd name="T75" fmla="*/ 1095 h 1868"/>
                <a:gd name="T76" fmla="*/ 8585 w 11327"/>
                <a:gd name="T77" fmla="*/ 1418 h 1868"/>
                <a:gd name="T78" fmla="*/ 8182 w 11327"/>
                <a:gd name="T79" fmla="*/ 1522 h 1868"/>
                <a:gd name="T80" fmla="*/ 7807 w 11327"/>
                <a:gd name="T81" fmla="*/ 1385 h 1868"/>
                <a:gd name="T82" fmla="*/ 7649 w 11327"/>
                <a:gd name="T83" fmla="*/ 1033 h 1868"/>
                <a:gd name="T84" fmla="*/ 11121 w 11327"/>
                <a:gd name="T85" fmla="*/ 228 h 1868"/>
                <a:gd name="T86" fmla="*/ 10716 w 11327"/>
                <a:gd name="T87" fmla="*/ 30 h 1868"/>
                <a:gd name="T88" fmla="*/ 10126 w 11327"/>
                <a:gd name="T89" fmla="*/ 37 h 1868"/>
                <a:gd name="T90" fmla="*/ 9598 w 11327"/>
                <a:gd name="T91" fmla="*/ 385 h 1868"/>
                <a:gd name="T92" fmla="*/ 9435 w 11327"/>
                <a:gd name="T93" fmla="*/ 1039 h 1868"/>
                <a:gd name="T94" fmla="*/ 9714 w 11327"/>
                <a:gd name="T95" fmla="*/ 1617 h 1868"/>
                <a:gd name="T96" fmla="*/ 10320 w 11327"/>
                <a:gd name="T97" fmla="*/ 1863 h 1868"/>
                <a:gd name="T98" fmla="*/ 10845 w 11327"/>
                <a:gd name="T99" fmla="*/ 1799 h 1868"/>
                <a:gd name="T100" fmla="*/ 11211 w 11327"/>
                <a:gd name="T101" fmla="*/ 1551 h 1868"/>
                <a:gd name="T102" fmla="*/ 10919 w 11327"/>
                <a:gd name="T103" fmla="*/ 1325 h 1868"/>
                <a:gd name="T104" fmla="*/ 10676 w 11327"/>
                <a:gd name="T105" fmla="*/ 1473 h 1868"/>
                <a:gd name="T106" fmla="*/ 10324 w 11327"/>
                <a:gd name="T107" fmla="*/ 1504 h 1868"/>
                <a:gd name="T108" fmla="*/ 9975 w 11327"/>
                <a:gd name="T109" fmla="*/ 1332 h 1868"/>
                <a:gd name="T110" fmla="*/ 9831 w 11327"/>
                <a:gd name="T111" fmla="*/ 966 h 1868"/>
                <a:gd name="T112" fmla="*/ 9938 w 11327"/>
                <a:gd name="T113" fmla="*/ 575 h 1868"/>
                <a:gd name="T114" fmla="*/ 10261 w 11327"/>
                <a:gd name="T115" fmla="*/ 373 h 1868"/>
                <a:gd name="T116" fmla="*/ 10634 w 11327"/>
                <a:gd name="T117" fmla="*/ 382 h 1868"/>
                <a:gd name="T118" fmla="*/ 10890 w 11327"/>
                <a:gd name="T119" fmla="*/ 515 h 1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27" h="1868">
                  <a:moveTo>
                    <a:pt x="0" y="42"/>
                  </a:moveTo>
                  <a:lnTo>
                    <a:pt x="0" y="1822"/>
                  </a:lnTo>
                  <a:lnTo>
                    <a:pt x="399" y="1822"/>
                  </a:lnTo>
                  <a:lnTo>
                    <a:pt x="399" y="400"/>
                  </a:lnTo>
                  <a:lnTo>
                    <a:pt x="1352" y="400"/>
                  </a:lnTo>
                  <a:lnTo>
                    <a:pt x="1352" y="1822"/>
                  </a:lnTo>
                  <a:lnTo>
                    <a:pt x="1755" y="1822"/>
                  </a:lnTo>
                  <a:lnTo>
                    <a:pt x="1755" y="42"/>
                  </a:lnTo>
                  <a:lnTo>
                    <a:pt x="0" y="42"/>
                  </a:lnTo>
                  <a:close/>
                  <a:moveTo>
                    <a:pt x="2454" y="933"/>
                  </a:moveTo>
                  <a:lnTo>
                    <a:pt x="2454" y="900"/>
                  </a:lnTo>
                  <a:lnTo>
                    <a:pt x="2457" y="866"/>
                  </a:lnTo>
                  <a:lnTo>
                    <a:pt x="2460" y="835"/>
                  </a:lnTo>
                  <a:lnTo>
                    <a:pt x="2465" y="803"/>
                  </a:lnTo>
                  <a:lnTo>
                    <a:pt x="2472" y="773"/>
                  </a:lnTo>
                  <a:lnTo>
                    <a:pt x="2480" y="743"/>
                  </a:lnTo>
                  <a:lnTo>
                    <a:pt x="2489" y="715"/>
                  </a:lnTo>
                  <a:lnTo>
                    <a:pt x="2499" y="686"/>
                  </a:lnTo>
                  <a:lnTo>
                    <a:pt x="2511" y="660"/>
                  </a:lnTo>
                  <a:lnTo>
                    <a:pt x="2524" y="634"/>
                  </a:lnTo>
                  <a:lnTo>
                    <a:pt x="2538" y="610"/>
                  </a:lnTo>
                  <a:lnTo>
                    <a:pt x="2553" y="586"/>
                  </a:lnTo>
                  <a:lnTo>
                    <a:pt x="2570" y="563"/>
                  </a:lnTo>
                  <a:lnTo>
                    <a:pt x="2588" y="542"/>
                  </a:lnTo>
                  <a:lnTo>
                    <a:pt x="2606" y="521"/>
                  </a:lnTo>
                  <a:lnTo>
                    <a:pt x="2626" y="501"/>
                  </a:lnTo>
                  <a:lnTo>
                    <a:pt x="2646" y="483"/>
                  </a:lnTo>
                  <a:lnTo>
                    <a:pt x="2667" y="466"/>
                  </a:lnTo>
                  <a:lnTo>
                    <a:pt x="2691" y="449"/>
                  </a:lnTo>
                  <a:lnTo>
                    <a:pt x="2713" y="434"/>
                  </a:lnTo>
                  <a:lnTo>
                    <a:pt x="2737" y="420"/>
                  </a:lnTo>
                  <a:lnTo>
                    <a:pt x="2763" y="408"/>
                  </a:lnTo>
                  <a:lnTo>
                    <a:pt x="2788" y="396"/>
                  </a:lnTo>
                  <a:lnTo>
                    <a:pt x="2815" y="385"/>
                  </a:lnTo>
                  <a:lnTo>
                    <a:pt x="2842" y="375"/>
                  </a:lnTo>
                  <a:lnTo>
                    <a:pt x="2870" y="367"/>
                  </a:lnTo>
                  <a:lnTo>
                    <a:pt x="2898" y="361"/>
                  </a:lnTo>
                  <a:lnTo>
                    <a:pt x="2928" y="355"/>
                  </a:lnTo>
                  <a:lnTo>
                    <a:pt x="2957" y="351"/>
                  </a:lnTo>
                  <a:lnTo>
                    <a:pt x="2988" y="347"/>
                  </a:lnTo>
                  <a:lnTo>
                    <a:pt x="3018" y="345"/>
                  </a:lnTo>
                  <a:lnTo>
                    <a:pt x="3049" y="345"/>
                  </a:lnTo>
                  <a:lnTo>
                    <a:pt x="3080" y="345"/>
                  </a:lnTo>
                  <a:lnTo>
                    <a:pt x="3111" y="347"/>
                  </a:lnTo>
                  <a:lnTo>
                    <a:pt x="3141" y="351"/>
                  </a:lnTo>
                  <a:lnTo>
                    <a:pt x="3171" y="355"/>
                  </a:lnTo>
                  <a:lnTo>
                    <a:pt x="3200" y="361"/>
                  </a:lnTo>
                  <a:lnTo>
                    <a:pt x="3229" y="367"/>
                  </a:lnTo>
                  <a:lnTo>
                    <a:pt x="3256" y="375"/>
                  </a:lnTo>
                  <a:lnTo>
                    <a:pt x="3284" y="385"/>
                  </a:lnTo>
                  <a:lnTo>
                    <a:pt x="3310" y="396"/>
                  </a:lnTo>
                  <a:lnTo>
                    <a:pt x="3335" y="408"/>
                  </a:lnTo>
                  <a:lnTo>
                    <a:pt x="3361" y="420"/>
                  </a:lnTo>
                  <a:lnTo>
                    <a:pt x="3384" y="434"/>
                  </a:lnTo>
                  <a:lnTo>
                    <a:pt x="3408" y="449"/>
                  </a:lnTo>
                  <a:lnTo>
                    <a:pt x="3430" y="466"/>
                  </a:lnTo>
                  <a:lnTo>
                    <a:pt x="3452" y="483"/>
                  </a:lnTo>
                  <a:lnTo>
                    <a:pt x="3473" y="501"/>
                  </a:lnTo>
                  <a:lnTo>
                    <a:pt x="3492" y="521"/>
                  </a:lnTo>
                  <a:lnTo>
                    <a:pt x="3510" y="542"/>
                  </a:lnTo>
                  <a:lnTo>
                    <a:pt x="3528" y="563"/>
                  </a:lnTo>
                  <a:lnTo>
                    <a:pt x="3545" y="586"/>
                  </a:lnTo>
                  <a:lnTo>
                    <a:pt x="3560" y="610"/>
                  </a:lnTo>
                  <a:lnTo>
                    <a:pt x="3574" y="634"/>
                  </a:lnTo>
                  <a:lnTo>
                    <a:pt x="3587" y="660"/>
                  </a:lnTo>
                  <a:lnTo>
                    <a:pt x="3599" y="686"/>
                  </a:lnTo>
                  <a:lnTo>
                    <a:pt x="3609" y="715"/>
                  </a:lnTo>
                  <a:lnTo>
                    <a:pt x="3618" y="743"/>
                  </a:lnTo>
                  <a:lnTo>
                    <a:pt x="3626" y="773"/>
                  </a:lnTo>
                  <a:lnTo>
                    <a:pt x="3632" y="803"/>
                  </a:lnTo>
                  <a:lnTo>
                    <a:pt x="3637" y="835"/>
                  </a:lnTo>
                  <a:lnTo>
                    <a:pt x="3642" y="866"/>
                  </a:lnTo>
                  <a:lnTo>
                    <a:pt x="3644" y="900"/>
                  </a:lnTo>
                  <a:lnTo>
                    <a:pt x="3645" y="933"/>
                  </a:lnTo>
                  <a:lnTo>
                    <a:pt x="3644" y="968"/>
                  </a:lnTo>
                  <a:lnTo>
                    <a:pt x="3642" y="1001"/>
                  </a:lnTo>
                  <a:lnTo>
                    <a:pt x="3637" y="1033"/>
                  </a:lnTo>
                  <a:lnTo>
                    <a:pt x="3632" y="1065"/>
                  </a:lnTo>
                  <a:lnTo>
                    <a:pt x="3626" y="1095"/>
                  </a:lnTo>
                  <a:lnTo>
                    <a:pt x="3618" y="1125"/>
                  </a:lnTo>
                  <a:lnTo>
                    <a:pt x="3609" y="1153"/>
                  </a:lnTo>
                  <a:lnTo>
                    <a:pt x="3599" y="1181"/>
                  </a:lnTo>
                  <a:lnTo>
                    <a:pt x="3587" y="1207"/>
                  </a:lnTo>
                  <a:lnTo>
                    <a:pt x="3574" y="1233"/>
                  </a:lnTo>
                  <a:lnTo>
                    <a:pt x="3560" y="1258"/>
                  </a:lnTo>
                  <a:lnTo>
                    <a:pt x="3545" y="1281"/>
                  </a:lnTo>
                  <a:lnTo>
                    <a:pt x="3528" y="1305"/>
                  </a:lnTo>
                  <a:lnTo>
                    <a:pt x="3510" y="1326"/>
                  </a:lnTo>
                  <a:lnTo>
                    <a:pt x="3492" y="1346"/>
                  </a:lnTo>
                  <a:lnTo>
                    <a:pt x="3473" y="1366"/>
                  </a:lnTo>
                  <a:lnTo>
                    <a:pt x="3452" y="1385"/>
                  </a:lnTo>
                  <a:lnTo>
                    <a:pt x="3430" y="1402"/>
                  </a:lnTo>
                  <a:lnTo>
                    <a:pt x="3408" y="1418"/>
                  </a:lnTo>
                  <a:lnTo>
                    <a:pt x="3384" y="1434"/>
                  </a:lnTo>
                  <a:lnTo>
                    <a:pt x="3361" y="1447"/>
                  </a:lnTo>
                  <a:lnTo>
                    <a:pt x="3335" y="1460"/>
                  </a:lnTo>
                  <a:lnTo>
                    <a:pt x="3310" y="1472"/>
                  </a:lnTo>
                  <a:lnTo>
                    <a:pt x="3284" y="1483"/>
                  </a:lnTo>
                  <a:lnTo>
                    <a:pt x="3256" y="1492"/>
                  </a:lnTo>
                  <a:lnTo>
                    <a:pt x="3229" y="1500"/>
                  </a:lnTo>
                  <a:lnTo>
                    <a:pt x="3200" y="1507"/>
                  </a:lnTo>
                  <a:lnTo>
                    <a:pt x="3171" y="1513"/>
                  </a:lnTo>
                  <a:lnTo>
                    <a:pt x="3141" y="1517"/>
                  </a:lnTo>
                  <a:lnTo>
                    <a:pt x="3111" y="1520"/>
                  </a:lnTo>
                  <a:lnTo>
                    <a:pt x="3080" y="1522"/>
                  </a:lnTo>
                  <a:lnTo>
                    <a:pt x="3049" y="1523"/>
                  </a:lnTo>
                  <a:lnTo>
                    <a:pt x="3018" y="1522"/>
                  </a:lnTo>
                  <a:lnTo>
                    <a:pt x="2988" y="1520"/>
                  </a:lnTo>
                  <a:lnTo>
                    <a:pt x="2957" y="1517"/>
                  </a:lnTo>
                  <a:lnTo>
                    <a:pt x="2928" y="1513"/>
                  </a:lnTo>
                  <a:lnTo>
                    <a:pt x="2898" y="1507"/>
                  </a:lnTo>
                  <a:lnTo>
                    <a:pt x="2870" y="1500"/>
                  </a:lnTo>
                  <a:lnTo>
                    <a:pt x="2842" y="1492"/>
                  </a:lnTo>
                  <a:lnTo>
                    <a:pt x="2815" y="1483"/>
                  </a:lnTo>
                  <a:lnTo>
                    <a:pt x="2788" y="1472"/>
                  </a:lnTo>
                  <a:lnTo>
                    <a:pt x="2763" y="1460"/>
                  </a:lnTo>
                  <a:lnTo>
                    <a:pt x="2737" y="1447"/>
                  </a:lnTo>
                  <a:lnTo>
                    <a:pt x="2713" y="1434"/>
                  </a:lnTo>
                  <a:lnTo>
                    <a:pt x="2691" y="1418"/>
                  </a:lnTo>
                  <a:lnTo>
                    <a:pt x="2667" y="1402"/>
                  </a:lnTo>
                  <a:lnTo>
                    <a:pt x="2646" y="1385"/>
                  </a:lnTo>
                  <a:lnTo>
                    <a:pt x="2626" y="1366"/>
                  </a:lnTo>
                  <a:lnTo>
                    <a:pt x="2606" y="1346"/>
                  </a:lnTo>
                  <a:lnTo>
                    <a:pt x="2588" y="1326"/>
                  </a:lnTo>
                  <a:lnTo>
                    <a:pt x="2570" y="1305"/>
                  </a:lnTo>
                  <a:lnTo>
                    <a:pt x="2553" y="1281"/>
                  </a:lnTo>
                  <a:lnTo>
                    <a:pt x="2538" y="1258"/>
                  </a:lnTo>
                  <a:lnTo>
                    <a:pt x="2524" y="1233"/>
                  </a:lnTo>
                  <a:lnTo>
                    <a:pt x="2511" y="1207"/>
                  </a:lnTo>
                  <a:lnTo>
                    <a:pt x="2499" y="1181"/>
                  </a:lnTo>
                  <a:lnTo>
                    <a:pt x="2489" y="1153"/>
                  </a:lnTo>
                  <a:lnTo>
                    <a:pt x="2480" y="1125"/>
                  </a:lnTo>
                  <a:lnTo>
                    <a:pt x="2472" y="1095"/>
                  </a:lnTo>
                  <a:lnTo>
                    <a:pt x="2465" y="1065"/>
                  </a:lnTo>
                  <a:lnTo>
                    <a:pt x="2460" y="1033"/>
                  </a:lnTo>
                  <a:lnTo>
                    <a:pt x="2457" y="1001"/>
                  </a:lnTo>
                  <a:lnTo>
                    <a:pt x="2454" y="968"/>
                  </a:lnTo>
                  <a:lnTo>
                    <a:pt x="2454" y="933"/>
                  </a:lnTo>
                  <a:close/>
                  <a:moveTo>
                    <a:pt x="4047" y="933"/>
                  </a:moveTo>
                  <a:lnTo>
                    <a:pt x="4046" y="882"/>
                  </a:lnTo>
                  <a:lnTo>
                    <a:pt x="4042" y="831"/>
                  </a:lnTo>
                  <a:lnTo>
                    <a:pt x="4035" y="781"/>
                  </a:lnTo>
                  <a:lnTo>
                    <a:pt x="4026" y="733"/>
                  </a:lnTo>
                  <a:lnTo>
                    <a:pt x="4015" y="685"/>
                  </a:lnTo>
                  <a:lnTo>
                    <a:pt x="4002" y="640"/>
                  </a:lnTo>
                  <a:lnTo>
                    <a:pt x="3985" y="595"/>
                  </a:lnTo>
                  <a:lnTo>
                    <a:pt x="3967" y="551"/>
                  </a:lnTo>
                  <a:lnTo>
                    <a:pt x="3947" y="509"/>
                  </a:lnTo>
                  <a:lnTo>
                    <a:pt x="3924" y="469"/>
                  </a:lnTo>
                  <a:lnTo>
                    <a:pt x="3900" y="430"/>
                  </a:lnTo>
                  <a:lnTo>
                    <a:pt x="3874" y="392"/>
                  </a:lnTo>
                  <a:lnTo>
                    <a:pt x="3846" y="356"/>
                  </a:lnTo>
                  <a:lnTo>
                    <a:pt x="3815" y="321"/>
                  </a:lnTo>
                  <a:lnTo>
                    <a:pt x="3784" y="289"/>
                  </a:lnTo>
                  <a:lnTo>
                    <a:pt x="3751" y="257"/>
                  </a:lnTo>
                  <a:lnTo>
                    <a:pt x="3716" y="227"/>
                  </a:lnTo>
                  <a:lnTo>
                    <a:pt x="3679" y="199"/>
                  </a:lnTo>
                  <a:lnTo>
                    <a:pt x="3642" y="173"/>
                  </a:lnTo>
                  <a:lnTo>
                    <a:pt x="3603" y="147"/>
                  </a:lnTo>
                  <a:lnTo>
                    <a:pt x="3562" y="125"/>
                  </a:lnTo>
                  <a:lnTo>
                    <a:pt x="3521" y="104"/>
                  </a:lnTo>
                  <a:lnTo>
                    <a:pt x="3477" y="84"/>
                  </a:lnTo>
                  <a:lnTo>
                    <a:pt x="3433" y="67"/>
                  </a:lnTo>
                  <a:lnTo>
                    <a:pt x="3388" y="52"/>
                  </a:lnTo>
                  <a:lnTo>
                    <a:pt x="3342" y="39"/>
                  </a:lnTo>
                  <a:lnTo>
                    <a:pt x="3295" y="26"/>
                  </a:lnTo>
                  <a:lnTo>
                    <a:pt x="3247" y="17"/>
                  </a:lnTo>
                  <a:lnTo>
                    <a:pt x="3199" y="10"/>
                  </a:lnTo>
                  <a:lnTo>
                    <a:pt x="3149" y="4"/>
                  </a:lnTo>
                  <a:lnTo>
                    <a:pt x="3099" y="1"/>
                  </a:lnTo>
                  <a:lnTo>
                    <a:pt x="3049" y="0"/>
                  </a:lnTo>
                  <a:lnTo>
                    <a:pt x="2999" y="1"/>
                  </a:lnTo>
                  <a:lnTo>
                    <a:pt x="2949" y="4"/>
                  </a:lnTo>
                  <a:lnTo>
                    <a:pt x="2899" y="10"/>
                  </a:lnTo>
                  <a:lnTo>
                    <a:pt x="2851" y="17"/>
                  </a:lnTo>
                  <a:lnTo>
                    <a:pt x="2804" y="26"/>
                  </a:lnTo>
                  <a:lnTo>
                    <a:pt x="2756" y="39"/>
                  </a:lnTo>
                  <a:lnTo>
                    <a:pt x="2710" y="52"/>
                  </a:lnTo>
                  <a:lnTo>
                    <a:pt x="2665" y="67"/>
                  </a:lnTo>
                  <a:lnTo>
                    <a:pt x="2620" y="84"/>
                  </a:lnTo>
                  <a:lnTo>
                    <a:pt x="2578" y="104"/>
                  </a:lnTo>
                  <a:lnTo>
                    <a:pt x="2536" y="125"/>
                  </a:lnTo>
                  <a:lnTo>
                    <a:pt x="2495" y="147"/>
                  </a:lnTo>
                  <a:lnTo>
                    <a:pt x="2457" y="173"/>
                  </a:lnTo>
                  <a:lnTo>
                    <a:pt x="2418" y="199"/>
                  </a:lnTo>
                  <a:lnTo>
                    <a:pt x="2382" y="227"/>
                  </a:lnTo>
                  <a:lnTo>
                    <a:pt x="2347" y="257"/>
                  </a:lnTo>
                  <a:lnTo>
                    <a:pt x="2313" y="289"/>
                  </a:lnTo>
                  <a:lnTo>
                    <a:pt x="2282" y="321"/>
                  </a:lnTo>
                  <a:lnTo>
                    <a:pt x="2252" y="356"/>
                  </a:lnTo>
                  <a:lnTo>
                    <a:pt x="2224" y="392"/>
                  </a:lnTo>
                  <a:lnTo>
                    <a:pt x="2197" y="430"/>
                  </a:lnTo>
                  <a:lnTo>
                    <a:pt x="2173" y="469"/>
                  </a:lnTo>
                  <a:lnTo>
                    <a:pt x="2152" y="509"/>
                  </a:lnTo>
                  <a:lnTo>
                    <a:pt x="2131" y="551"/>
                  </a:lnTo>
                  <a:lnTo>
                    <a:pt x="2113" y="595"/>
                  </a:lnTo>
                  <a:lnTo>
                    <a:pt x="2097" y="640"/>
                  </a:lnTo>
                  <a:lnTo>
                    <a:pt x="2083" y="685"/>
                  </a:lnTo>
                  <a:lnTo>
                    <a:pt x="2071" y="733"/>
                  </a:lnTo>
                  <a:lnTo>
                    <a:pt x="2063" y="781"/>
                  </a:lnTo>
                  <a:lnTo>
                    <a:pt x="2056" y="831"/>
                  </a:lnTo>
                  <a:lnTo>
                    <a:pt x="2052" y="882"/>
                  </a:lnTo>
                  <a:lnTo>
                    <a:pt x="2051" y="933"/>
                  </a:lnTo>
                  <a:lnTo>
                    <a:pt x="2052" y="985"/>
                  </a:lnTo>
                  <a:lnTo>
                    <a:pt x="2056" y="1036"/>
                  </a:lnTo>
                  <a:lnTo>
                    <a:pt x="2063" y="1086"/>
                  </a:lnTo>
                  <a:lnTo>
                    <a:pt x="2071" y="1135"/>
                  </a:lnTo>
                  <a:lnTo>
                    <a:pt x="2083" y="1182"/>
                  </a:lnTo>
                  <a:lnTo>
                    <a:pt x="2097" y="1228"/>
                  </a:lnTo>
                  <a:lnTo>
                    <a:pt x="2113" y="1273"/>
                  </a:lnTo>
                  <a:lnTo>
                    <a:pt x="2131" y="1316"/>
                  </a:lnTo>
                  <a:lnTo>
                    <a:pt x="2152" y="1357"/>
                  </a:lnTo>
                  <a:lnTo>
                    <a:pt x="2173" y="1398"/>
                  </a:lnTo>
                  <a:lnTo>
                    <a:pt x="2197" y="1438"/>
                  </a:lnTo>
                  <a:lnTo>
                    <a:pt x="2224" y="1475"/>
                  </a:lnTo>
                  <a:lnTo>
                    <a:pt x="2252" y="1512"/>
                  </a:lnTo>
                  <a:lnTo>
                    <a:pt x="2282" y="1547"/>
                  </a:lnTo>
                  <a:lnTo>
                    <a:pt x="2313" y="1579"/>
                  </a:lnTo>
                  <a:lnTo>
                    <a:pt x="2347" y="1611"/>
                  </a:lnTo>
                  <a:lnTo>
                    <a:pt x="2382" y="1640"/>
                  </a:lnTo>
                  <a:lnTo>
                    <a:pt x="2418" y="1669"/>
                  </a:lnTo>
                  <a:lnTo>
                    <a:pt x="2457" y="1695"/>
                  </a:lnTo>
                  <a:lnTo>
                    <a:pt x="2495" y="1719"/>
                  </a:lnTo>
                  <a:lnTo>
                    <a:pt x="2536" y="1743"/>
                  </a:lnTo>
                  <a:lnTo>
                    <a:pt x="2578" y="1764"/>
                  </a:lnTo>
                  <a:lnTo>
                    <a:pt x="2620" y="1782"/>
                  </a:lnTo>
                  <a:lnTo>
                    <a:pt x="2665" y="1801"/>
                  </a:lnTo>
                  <a:lnTo>
                    <a:pt x="2710" y="1816"/>
                  </a:lnTo>
                  <a:lnTo>
                    <a:pt x="2756" y="1829"/>
                  </a:lnTo>
                  <a:lnTo>
                    <a:pt x="2804" y="1840"/>
                  </a:lnTo>
                  <a:lnTo>
                    <a:pt x="2851" y="1851"/>
                  </a:lnTo>
                  <a:lnTo>
                    <a:pt x="2899" y="1858"/>
                  </a:lnTo>
                  <a:lnTo>
                    <a:pt x="2949" y="1863"/>
                  </a:lnTo>
                  <a:lnTo>
                    <a:pt x="2999" y="1866"/>
                  </a:lnTo>
                  <a:lnTo>
                    <a:pt x="3049" y="1868"/>
                  </a:lnTo>
                  <a:lnTo>
                    <a:pt x="3099" y="1866"/>
                  </a:lnTo>
                  <a:lnTo>
                    <a:pt x="3149" y="1863"/>
                  </a:lnTo>
                  <a:lnTo>
                    <a:pt x="3199" y="1858"/>
                  </a:lnTo>
                  <a:lnTo>
                    <a:pt x="3247" y="1851"/>
                  </a:lnTo>
                  <a:lnTo>
                    <a:pt x="3295" y="1840"/>
                  </a:lnTo>
                  <a:lnTo>
                    <a:pt x="3342" y="1829"/>
                  </a:lnTo>
                  <a:lnTo>
                    <a:pt x="3388" y="1816"/>
                  </a:lnTo>
                  <a:lnTo>
                    <a:pt x="3433" y="1801"/>
                  </a:lnTo>
                  <a:lnTo>
                    <a:pt x="3477" y="1782"/>
                  </a:lnTo>
                  <a:lnTo>
                    <a:pt x="3521" y="1764"/>
                  </a:lnTo>
                  <a:lnTo>
                    <a:pt x="3562" y="1743"/>
                  </a:lnTo>
                  <a:lnTo>
                    <a:pt x="3603" y="1719"/>
                  </a:lnTo>
                  <a:lnTo>
                    <a:pt x="3642" y="1695"/>
                  </a:lnTo>
                  <a:lnTo>
                    <a:pt x="3679" y="1669"/>
                  </a:lnTo>
                  <a:lnTo>
                    <a:pt x="3716" y="1640"/>
                  </a:lnTo>
                  <a:lnTo>
                    <a:pt x="3751" y="1611"/>
                  </a:lnTo>
                  <a:lnTo>
                    <a:pt x="3784" y="1579"/>
                  </a:lnTo>
                  <a:lnTo>
                    <a:pt x="3815" y="1547"/>
                  </a:lnTo>
                  <a:lnTo>
                    <a:pt x="3846" y="1512"/>
                  </a:lnTo>
                  <a:lnTo>
                    <a:pt x="3874" y="1475"/>
                  </a:lnTo>
                  <a:lnTo>
                    <a:pt x="3900" y="1438"/>
                  </a:lnTo>
                  <a:lnTo>
                    <a:pt x="3924" y="1398"/>
                  </a:lnTo>
                  <a:lnTo>
                    <a:pt x="3947" y="1357"/>
                  </a:lnTo>
                  <a:lnTo>
                    <a:pt x="3967" y="1316"/>
                  </a:lnTo>
                  <a:lnTo>
                    <a:pt x="3985" y="1273"/>
                  </a:lnTo>
                  <a:lnTo>
                    <a:pt x="4002" y="1228"/>
                  </a:lnTo>
                  <a:lnTo>
                    <a:pt x="4015" y="1182"/>
                  </a:lnTo>
                  <a:lnTo>
                    <a:pt x="4026" y="1135"/>
                  </a:lnTo>
                  <a:lnTo>
                    <a:pt x="4035" y="1086"/>
                  </a:lnTo>
                  <a:lnTo>
                    <a:pt x="4042" y="1036"/>
                  </a:lnTo>
                  <a:lnTo>
                    <a:pt x="4046" y="985"/>
                  </a:lnTo>
                  <a:lnTo>
                    <a:pt x="4047" y="933"/>
                  </a:lnTo>
                  <a:close/>
                  <a:moveTo>
                    <a:pt x="4779" y="42"/>
                  </a:moveTo>
                  <a:lnTo>
                    <a:pt x="4540" y="1317"/>
                  </a:lnTo>
                  <a:lnTo>
                    <a:pt x="4535" y="1334"/>
                  </a:lnTo>
                  <a:lnTo>
                    <a:pt x="4530" y="1350"/>
                  </a:lnTo>
                  <a:lnTo>
                    <a:pt x="4524" y="1366"/>
                  </a:lnTo>
                  <a:lnTo>
                    <a:pt x="4517" y="1379"/>
                  </a:lnTo>
                  <a:lnTo>
                    <a:pt x="4510" y="1392"/>
                  </a:lnTo>
                  <a:lnTo>
                    <a:pt x="4501" y="1403"/>
                  </a:lnTo>
                  <a:lnTo>
                    <a:pt x="4491" y="1413"/>
                  </a:lnTo>
                  <a:lnTo>
                    <a:pt x="4481" y="1423"/>
                  </a:lnTo>
                  <a:lnTo>
                    <a:pt x="4469" y="1431"/>
                  </a:lnTo>
                  <a:lnTo>
                    <a:pt x="4457" y="1437"/>
                  </a:lnTo>
                  <a:lnTo>
                    <a:pt x="4444" y="1443"/>
                  </a:lnTo>
                  <a:lnTo>
                    <a:pt x="4430" y="1447"/>
                  </a:lnTo>
                  <a:lnTo>
                    <a:pt x="4415" y="1451"/>
                  </a:lnTo>
                  <a:lnTo>
                    <a:pt x="4399" y="1453"/>
                  </a:lnTo>
                  <a:lnTo>
                    <a:pt x="4383" y="1455"/>
                  </a:lnTo>
                  <a:lnTo>
                    <a:pt x="4366" y="1455"/>
                  </a:lnTo>
                  <a:lnTo>
                    <a:pt x="4172" y="1455"/>
                  </a:lnTo>
                  <a:lnTo>
                    <a:pt x="4172" y="1822"/>
                  </a:lnTo>
                  <a:lnTo>
                    <a:pt x="4385" y="1822"/>
                  </a:lnTo>
                  <a:lnTo>
                    <a:pt x="4412" y="1822"/>
                  </a:lnTo>
                  <a:lnTo>
                    <a:pt x="4439" y="1821"/>
                  </a:lnTo>
                  <a:lnTo>
                    <a:pt x="4465" y="1819"/>
                  </a:lnTo>
                  <a:lnTo>
                    <a:pt x="4491" y="1816"/>
                  </a:lnTo>
                  <a:lnTo>
                    <a:pt x="4515" y="1812"/>
                  </a:lnTo>
                  <a:lnTo>
                    <a:pt x="4540" y="1808"/>
                  </a:lnTo>
                  <a:lnTo>
                    <a:pt x="4563" y="1802"/>
                  </a:lnTo>
                  <a:lnTo>
                    <a:pt x="4586" y="1796"/>
                  </a:lnTo>
                  <a:lnTo>
                    <a:pt x="4609" y="1789"/>
                  </a:lnTo>
                  <a:lnTo>
                    <a:pt x="4630" y="1780"/>
                  </a:lnTo>
                  <a:lnTo>
                    <a:pt x="4651" y="1771"/>
                  </a:lnTo>
                  <a:lnTo>
                    <a:pt x="4672" y="1762"/>
                  </a:lnTo>
                  <a:lnTo>
                    <a:pt x="4692" y="1751"/>
                  </a:lnTo>
                  <a:lnTo>
                    <a:pt x="4710" y="1740"/>
                  </a:lnTo>
                  <a:lnTo>
                    <a:pt x="4730" y="1728"/>
                  </a:lnTo>
                  <a:lnTo>
                    <a:pt x="4747" y="1713"/>
                  </a:lnTo>
                  <a:lnTo>
                    <a:pt x="4764" y="1699"/>
                  </a:lnTo>
                  <a:lnTo>
                    <a:pt x="4781" y="1684"/>
                  </a:lnTo>
                  <a:lnTo>
                    <a:pt x="4796" y="1668"/>
                  </a:lnTo>
                  <a:lnTo>
                    <a:pt x="4811" y="1650"/>
                  </a:lnTo>
                  <a:lnTo>
                    <a:pt x="4825" y="1633"/>
                  </a:lnTo>
                  <a:lnTo>
                    <a:pt x="4839" y="1614"/>
                  </a:lnTo>
                  <a:lnTo>
                    <a:pt x="4852" y="1593"/>
                  </a:lnTo>
                  <a:lnTo>
                    <a:pt x="4864" y="1572"/>
                  </a:lnTo>
                  <a:lnTo>
                    <a:pt x="4875" y="1551"/>
                  </a:lnTo>
                  <a:lnTo>
                    <a:pt x="4885" y="1527"/>
                  </a:lnTo>
                  <a:lnTo>
                    <a:pt x="4895" y="1504"/>
                  </a:lnTo>
                  <a:lnTo>
                    <a:pt x="4905" y="1478"/>
                  </a:lnTo>
                  <a:lnTo>
                    <a:pt x="4913" y="1452"/>
                  </a:lnTo>
                  <a:lnTo>
                    <a:pt x="4920" y="1426"/>
                  </a:lnTo>
                  <a:lnTo>
                    <a:pt x="4927" y="1397"/>
                  </a:lnTo>
                  <a:lnTo>
                    <a:pt x="4932" y="1369"/>
                  </a:lnTo>
                  <a:lnTo>
                    <a:pt x="5113" y="403"/>
                  </a:lnTo>
                  <a:lnTo>
                    <a:pt x="5796" y="403"/>
                  </a:lnTo>
                  <a:lnTo>
                    <a:pt x="5796" y="1822"/>
                  </a:lnTo>
                  <a:lnTo>
                    <a:pt x="6198" y="1822"/>
                  </a:lnTo>
                  <a:lnTo>
                    <a:pt x="6198" y="42"/>
                  </a:lnTo>
                  <a:lnTo>
                    <a:pt x="4779" y="42"/>
                  </a:lnTo>
                  <a:close/>
                  <a:moveTo>
                    <a:pt x="6585" y="42"/>
                  </a:moveTo>
                  <a:lnTo>
                    <a:pt x="6585" y="1822"/>
                  </a:lnTo>
                  <a:lnTo>
                    <a:pt x="6980" y="1822"/>
                  </a:lnTo>
                  <a:lnTo>
                    <a:pt x="6980" y="1069"/>
                  </a:lnTo>
                  <a:lnTo>
                    <a:pt x="7251" y="1069"/>
                  </a:lnTo>
                  <a:lnTo>
                    <a:pt x="7258" y="1116"/>
                  </a:lnTo>
                  <a:lnTo>
                    <a:pt x="7266" y="1162"/>
                  </a:lnTo>
                  <a:lnTo>
                    <a:pt x="7277" y="1207"/>
                  </a:lnTo>
                  <a:lnTo>
                    <a:pt x="7290" y="1251"/>
                  </a:lnTo>
                  <a:lnTo>
                    <a:pt x="7304" y="1292"/>
                  </a:lnTo>
                  <a:lnTo>
                    <a:pt x="7320" y="1333"/>
                  </a:lnTo>
                  <a:lnTo>
                    <a:pt x="7338" y="1372"/>
                  </a:lnTo>
                  <a:lnTo>
                    <a:pt x="7358" y="1409"/>
                  </a:lnTo>
                  <a:lnTo>
                    <a:pt x="7379" y="1446"/>
                  </a:lnTo>
                  <a:lnTo>
                    <a:pt x="7402" y="1482"/>
                  </a:lnTo>
                  <a:lnTo>
                    <a:pt x="7427" y="1514"/>
                  </a:lnTo>
                  <a:lnTo>
                    <a:pt x="7452" y="1547"/>
                  </a:lnTo>
                  <a:lnTo>
                    <a:pt x="7480" y="1577"/>
                  </a:lnTo>
                  <a:lnTo>
                    <a:pt x="7509" y="1607"/>
                  </a:lnTo>
                  <a:lnTo>
                    <a:pt x="7540" y="1634"/>
                  </a:lnTo>
                  <a:lnTo>
                    <a:pt x="7571" y="1660"/>
                  </a:lnTo>
                  <a:lnTo>
                    <a:pt x="7604" y="1685"/>
                  </a:lnTo>
                  <a:lnTo>
                    <a:pt x="7637" y="1708"/>
                  </a:lnTo>
                  <a:lnTo>
                    <a:pt x="7673" y="1730"/>
                  </a:lnTo>
                  <a:lnTo>
                    <a:pt x="7710" y="1750"/>
                  </a:lnTo>
                  <a:lnTo>
                    <a:pt x="7747" y="1768"/>
                  </a:lnTo>
                  <a:lnTo>
                    <a:pt x="7786" y="1786"/>
                  </a:lnTo>
                  <a:lnTo>
                    <a:pt x="7824" y="1801"/>
                  </a:lnTo>
                  <a:lnTo>
                    <a:pt x="7865" y="1815"/>
                  </a:lnTo>
                  <a:lnTo>
                    <a:pt x="7907" y="1827"/>
                  </a:lnTo>
                  <a:lnTo>
                    <a:pt x="7949" y="1837"/>
                  </a:lnTo>
                  <a:lnTo>
                    <a:pt x="7991" y="1847"/>
                  </a:lnTo>
                  <a:lnTo>
                    <a:pt x="8035" y="1854"/>
                  </a:lnTo>
                  <a:lnTo>
                    <a:pt x="8080" y="1860"/>
                  </a:lnTo>
                  <a:lnTo>
                    <a:pt x="8124" y="1864"/>
                  </a:lnTo>
                  <a:lnTo>
                    <a:pt x="8170" y="1867"/>
                  </a:lnTo>
                  <a:lnTo>
                    <a:pt x="8217" y="1868"/>
                  </a:lnTo>
                  <a:lnTo>
                    <a:pt x="8267" y="1867"/>
                  </a:lnTo>
                  <a:lnTo>
                    <a:pt x="8317" y="1864"/>
                  </a:lnTo>
                  <a:lnTo>
                    <a:pt x="8364" y="1859"/>
                  </a:lnTo>
                  <a:lnTo>
                    <a:pt x="8413" y="1852"/>
                  </a:lnTo>
                  <a:lnTo>
                    <a:pt x="8460" y="1842"/>
                  </a:lnTo>
                  <a:lnTo>
                    <a:pt x="8506" y="1832"/>
                  </a:lnTo>
                  <a:lnTo>
                    <a:pt x="8552" y="1820"/>
                  </a:lnTo>
                  <a:lnTo>
                    <a:pt x="8595" y="1805"/>
                  </a:lnTo>
                  <a:lnTo>
                    <a:pt x="8639" y="1789"/>
                  </a:lnTo>
                  <a:lnTo>
                    <a:pt x="8681" y="1771"/>
                  </a:lnTo>
                  <a:lnTo>
                    <a:pt x="8721" y="1751"/>
                  </a:lnTo>
                  <a:lnTo>
                    <a:pt x="8761" y="1729"/>
                  </a:lnTo>
                  <a:lnTo>
                    <a:pt x="8799" y="1705"/>
                  </a:lnTo>
                  <a:lnTo>
                    <a:pt x="8835" y="1680"/>
                  </a:lnTo>
                  <a:lnTo>
                    <a:pt x="8871" y="1653"/>
                  </a:lnTo>
                  <a:lnTo>
                    <a:pt x="8905" y="1624"/>
                  </a:lnTo>
                  <a:lnTo>
                    <a:pt x="8937" y="1593"/>
                  </a:lnTo>
                  <a:lnTo>
                    <a:pt x="8968" y="1561"/>
                  </a:lnTo>
                  <a:lnTo>
                    <a:pt x="8996" y="1526"/>
                  </a:lnTo>
                  <a:lnTo>
                    <a:pt x="9023" y="1491"/>
                  </a:lnTo>
                  <a:lnTo>
                    <a:pt x="9049" y="1453"/>
                  </a:lnTo>
                  <a:lnTo>
                    <a:pt x="9072" y="1414"/>
                  </a:lnTo>
                  <a:lnTo>
                    <a:pt x="9094" y="1374"/>
                  </a:lnTo>
                  <a:lnTo>
                    <a:pt x="9113" y="1331"/>
                  </a:lnTo>
                  <a:lnTo>
                    <a:pt x="9130" y="1287"/>
                  </a:lnTo>
                  <a:lnTo>
                    <a:pt x="9146" y="1242"/>
                  </a:lnTo>
                  <a:lnTo>
                    <a:pt x="9159" y="1194"/>
                  </a:lnTo>
                  <a:lnTo>
                    <a:pt x="9169" y="1145"/>
                  </a:lnTo>
                  <a:lnTo>
                    <a:pt x="9178" y="1094"/>
                  </a:lnTo>
                  <a:lnTo>
                    <a:pt x="9184" y="1042"/>
                  </a:lnTo>
                  <a:lnTo>
                    <a:pt x="9188" y="988"/>
                  </a:lnTo>
                  <a:lnTo>
                    <a:pt x="9189" y="933"/>
                  </a:lnTo>
                  <a:lnTo>
                    <a:pt x="9188" y="879"/>
                  </a:lnTo>
                  <a:lnTo>
                    <a:pt x="9184" y="825"/>
                  </a:lnTo>
                  <a:lnTo>
                    <a:pt x="9178" y="773"/>
                  </a:lnTo>
                  <a:lnTo>
                    <a:pt x="9169" y="723"/>
                  </a:lnTo>
                  <a:lnTo>
                    <a:pt x="9159" y="674"/>
                  </a:lnTo>
                  <a:lnTo>
                    <a:pt x="9146" y="626"/>
                  </a:lnTo>
                  <a:lnTo>
                    <a:pt x="9130" y="581"/>
                  </a:lnTo>
                  <a:lnTo>
                    <a:pt x="9113" y="537"/>
                  </a:lnTo>
                  <a:lnTo>
                    <a:pt x="9094" y="494"/>
                  </a:lnTo>
                  <a:lnTo>
                    <a:pt x="9072" y="453"/>
                  </a:lnTo>
                  <a:lnTo>
                    <a:pt x="9049" y="414"/>
                  </a:lnTo>
                  <a:lnTo>
                    <a:pt x="9023" y="376"/>
                  </a:lnTo>
                  <a:lnTo>
                    <a:pt x="8996" y="341"/>
                  </a:lnTo>
                  <a:lnTo>
                    <a:pt x="8968" y="307"/>
                  </a:lnTo>
                  <a:lnTo>
                    <a:pt x="8937" y="275"/>
                  </a:lnTo>
                  <a:lnTo>
                    <a:pt x="8905" y="244"/>
                  </a:lnTo>
                  <a:lnTo>
                    <a:pt x="8871" y="215"/>
                  </a:lnTo>
                  <a:lnTo>
                    <a:pt x="8835" y="187"/>
                  </a:lnTo>
                  <a:lnTo>
                    <a:pt x="8799" y="162"/>
                  </a:lnTo>
                  <a:lnTo>
                    <a:pt x="8761" y="138"/>
                  </a:lnTo>
                  <a:lnTo>
                    <a:pt x="8721" y="117"/>
                  </a:lnTo>
                  <a:lnTo>
                    <a:pt x="8681" y="97"/>
                  </a:lnTo>
                  <a:lnTo>
                    <a:pt x="8639" y="78"/>
                  </a:lnTo>
                  <a:lnTo>
                    <a:pt x="8595" y="62"/>
                  </a:lnTo>
                  <a:lnTo>
                    <a:pt x="8552" y="48"/>
                  </a:lnTo>
                  <a:lnTo>
                    <a:pt x="8506" y="36"/>
                  </a:lnTo>
                  <a:lnTo>
                    <a:pt x="8460" y="24"/>
                  </a:lnTo>
                  <a:lnTo>
                    <a:pt x="8413" y="16"/>
                  </a:lnTo>
                  <a:lnTo>
                    <a:pt x="8364" y="9"/>
                  </a:lnTo>
                  <a:lnTo>
                    <a:pt x="8317" y="4"/>
                  </a:lnTo>
                  <a:lnTo>
                    <a:pt x="8267" y="1"/>
                  </a:lnTo>
                  <a:lnTo>
                    <a:pt x="8217" y="0"/>
                  </a:lnTo>
                  <a:lnTo>
                    <a:pt x="8173" y="1"/>
                  </a:lnTo>
                  <a:lnTo>
                    <a:pt x="8131" y="3"/>
                  </a:lnTo>
                  <a:lnTo>
                    <a:pt x="8088" y="7"/>
                  </a:lnTo>
                  <a:lnTo>
                    <a:pt x="8046" y="12"/>
                  </a:lnTo>
                  <a:lnTo>
                    <a:pt x="8004" y="18"/>
                  </a:lnTo>
                  <a:lnTo>
                    <a:pt x="7964" y="26"/>
                  </a:lnTo>
                  <a:lnTo>
                    <a:pt x="7924" y="36"/>
                  </a:lnTo>
                  <a:lnTo>
                    <a:pt x="7884" y="47"/>
                  </a:lnTo>
                  <a:lnTo>
                    <a:pt x="7846" y="59"/>
                  </a:lnTo>
                  <a:lnTo>
                    <a:pt x="7808" y="73"/>
                  </a:lnTo>
                  <a:lnTo>
                    <a:pt x="7772" y="88"/>
                  </a:lnTo>
                  <a:lnTo>
                    <a:pt x="7736" y="105"/>
                  </a:lnTo>
                  <a:lnTo>
                    <a:pt x="7700" y="122"/>
                  </a:lnTo>
                  <a:lnTo>
                    <a:pt x="7667" y="141"/>
                  </a:lnTo>
                  <a:lnTo>
                    <a:pt x="7633" y="162"/>
                  </a:lnTo>
                  <a:lnTo>
                    <a:pt x="7602" y="184"/>
                  </a:lnTo>
                  <a:lnTo>
                    <a:pt x="7571" y="207"/>
                  </a:lnTo>
                  <a:lnTo>
                    <a:pt x="7542" y="232"/>
                  </a:lnTo>
                  <a:lnTo>
                    <a:pt x="7512" y="257"/>
                  </a:lnTo>
                  <a:lnTo>
                    <a:pt x="7486" y="285"/>
                  </a:lnTo>
                  <a:lnTo>
                    <a:pt x="7459" y="313"/>
                  </a:lnTo>
                  <a:lnTo>
                    <a:pt x="7435" y="343"/>
                  </a:lnTo>
                  <a:lnTo>
                    <a:pt x="7412" y="374"/>
                  </a:lnTo>
                  <a:lnTo>
                    <a:pt x="7389" y="406"/>
                  </a:lnTo>
                  <a:lnTo>
                    <a:pt x="7369" y="439"/>
                  </a:lnTo>
                  <a:lnTo>
                    <a:pt x="7350" y="475"/>
                  </a:lnTo>
                  <a:lnTo>
                    <a:pt x="7331" y="510"/>
                  </a:lnTo>
                  <a:lnTo>
                    <a:pt x="7315" y="548"/>
                  </a:lnTo>
                  <a:lnTo>
                    <a:pt x="7301" y="586"/>
                  </a:lnTo>
                  <a:lnTo>
                    <a:pt x="7287" y="625"/>
                  </a:lnTo>
                  <a:lnTo>
                    <a:pt x="7276" y="666"/>
                  </a:lnTo>
                  <a:lnTo>
                    <a:pt x="7267" y="709"/>
                  </a:lnTo>
                  <a:lnTo>
                    <a:pt x="6980" y="709"/>
                  </a:lnTo>
                  <a:lnTo>
                    <a:pt x="6980" y="42"/>
                  </a:lnTo>
                  <a:lnTo>
                    <a:pt x="6585" y="42"/>
                  </a:lnTo>
                  <a:close/>
                  <a:moveTo>
                    <a:pt x="7643" y="933"/>
                  </a:moveTo>
                  <a:lnTo>
                    <a:pt x="7644" y="900"/>
                  </a:lnTo>
                  <a:lnTo>
                    <a:pt x="7645" y="866"/>
                  </a:lnTo>
                  <a:lnTo>
                    <a:pt x="7649" y="835"/>
                  </a:lnTo>
                  <a:lnTo>
                    <a:pt x="7653" y="803"/>
                  </a:lnTo>
                  <a:lnTo>
                    <a:pt x="7658" y="773"/>
                  </a:lnTo>
                  <a:lnTo>
                    <a:pt x="7664" y="743"/>
                  </a:lnTo>
                  <a:lnTo>
                    <a:pt x="7672" y="715"/>
                  </a:lnTo>
                  <a:lnTo>
                    <a:pt x="7680" y="686"/>
                  </a:lnTo>
                  <a:lnTo>
                    <a:pt x="7690" y="660"/>
                  </a:lnTo>
                  <a:lnTo>
                    <a:pt x="7700" y="634"/>
                  </a:lnTo>
                  <a:lnTo>
                    <a:pt x="7713" y="610"/>
                  </a:lnTo>
                  <a:lnTo>
                    <a:pt x="7726" y="586"/>
                  </a:lnTo>
                  <a:lnTo>
                    <a:pt x="7740" y="563"/>
                  </a:lnTo>
                  <a:lnTo>
                    <a:pt x="7755" y="542"/>
                  </a:lnTo>
                  <a:lnTo>
                    <a:pt x="7772" y="521"/>
                  </a:lnTo>
                  <a:lnTo>
                    <a:pt x="7789" y="501"/>
                  </a:lnTo>
                  <a:lnTo>
                    <a:pt x="7807" y="483"/>
                  </a:lnTo>
                  <a:lnTo>
                    <a:pt x="7828" y="466"/>
                  </a:lnTo>
                  <a:lnTo>
                    <a:pt x="7848" y="449"/>
                  </a:lnTo>
                  <a:lnTo>
                    <a:pt x="7870" y="434"/>
                  </a:lnTo>
                  <a:lnTo>
                    <a:pt x="7893" y="420"/>
                  </a:lnTo>
                  <a:lnTo>
                    <a:pt x="7917" y="408"/>
                  </a:lnTo>
                  <a:lnTo>
                    <a:pt x="7942" y="396"/>
                  </a:lnTo>
                  <a:lnTo>
                    <a:pt x="7968" y="385"/>
                  </a:lnTo>
                  <a:lnTo>
                    <a:pt x="7995" y="375"/>
                  </a:lnTo>
                  <a:lnTo>
                    <a:pt x="8024" y="367"/>
                  </a:lnTo>
                  <a:lnTo>
                    <a:pt x="8053" y="361"/>
                  </a:lnTo>
                  <a:lnTo>
                    <a:pt x="8084" y="355"/>
                  </a:lnTo>
                  <a:lnTo>
                    <a:pt x="8115" y="351"/>
                  </a:lnTo>
                  <a:lnTo>
                    <a:pt x="8148" y="347"/>
                  </a:lnTo>
                  <a:lnTo>
                    <a:pt x="8182" y="345"/>
                  </a:lnTo>
                  <a:lnTo>
                    <a:pt x="8217" y="345"/>
                  </a:lnTo>
                  <a:lnTo>
                    <a:pt x="8252" y="345"/>
                  </a:lnTo>
                  <a:lnTo>
                    <a:pt x="8285" y="347"/>
                  </a:lnTo>
                  <a:lnTo>
                    <a:pt x="8318" y="351"/>
                  </a:lnTo>
                  <a:lnTo>
                    <a:pt x="8349" y="355"/>
                  </a:lnTo>
                  <a:lnTo>
                    <a:pt x="8380" y="361"/>
                  </a:lnTo>
                  <a:lnTo>
                    <a:pt x="8409" y="367"/>
                  </a:lnTo>
                  <a:lnTo>
                    <a:pt x="8438" y="375"/>
                  </a:lnTo>
                  <a:lnTo>
                    <a:pt x="8465" y="385"/>
                  </a:lnTo>
                  <a:lnTo>
                    <a:pt x="8492" y="396"/>
                  </a:lnTo>
                  <a:lnTo>
                    <a:pt x="8517" y="408"/>
                  </a:lnTo>
                  <a:lnTo>
                    <a:pt x="8540" y="420"/>
                  </a:lnTo>
                  <a:lnTo>
                    <a:pt x="8564" y="434"/>
                  </a:lnTo>
                  <a:lnTo>
                    <a:pt x="8585" y="449"/>
                  </a:lnTo>
                  <a:lnTo>
                    <a:pt x="8607" y="466"/>
                  </a:lnTo>
                  <a:lnTo>
                    <a:pt x="8626" y="483"/>
                  </a:lnTo>
                  <a:lnTo>
                    <a:pt x="8644" y="501"/>
                  </a:lnTo>
                  <a:lnTo>
                    <a:pt x="8662" y="521"/>
                  </a:lnTo>
                  <a:lnTo>
                    <a:pt x="8679" y="542"/>
                  </a:lnTo>
                  <a:lnTo>
                    <a:pt x="8694" y="563"/>
                  </a:lnTo>
                  <a:lnTo>
                    <a:pt x="8708" y="586"/>
                  </a:lnTo>
                  <a:lnTo>
                    <a:pt x="8720" y="610"/>
                  </a:lnTo>
                  <a:lnTo>
                    <a:pt x="8733" y="634"/>
                  </a:lnTo>
                  <a:lnTo>
                    <a:pt x="8744" y="660"/>
                  </a:lnTo>
                  <a:lnTo>
                    <a:pt x="8753" y="686"/>
                  </a:lnTo>
                  <a:lnTo>
                    <a:pt x="8762" y="715"/>
                  </a:lnTo>
                  <a:lnTo>
                    <a:pt x="8769" y="743"/>
                  </a:lnTo>
                  <a:lnTo>
                    <a:pt x="8775" y="773"/>
                  </a:lnTo>
                  <a:lnTo>
                    <a:pt x="8780" y="803"/>
                  </a:lnTo>
                  <a:lnTo>
                    <a:pt x="8785" y="835"/>
                  </a:lnTo>
                  <a:lnTo>
                    <a:pt x="8788" y="866"/>
                  </a:lnTo>
                  <a:lnTo>
                    <a:pt x="8790" y="900"/>
                  </a:lnTo>
                  <a:lnTo>
                    <a:pt x="8790" y="933"/>
                  </a:lnTo>
                  <a:lnTo>
                    <a:pt x="8790" y="968"/>
                  </a:lnTo>
                  <a:lnTo>
                    <a:pt x="8788" y="1001"/>
                  </a:lnTo>
                  <a:lnTo>
                    <a:pt x="8785" y="1033"/>
                  </a:lnTo>
                  <a:lnTo>
                    <a:pt x="8780" y="1065"/>
                  </a:lnTo>
                  <a:lnTo>
                    <a:pt x="8775" y="1095"/>
                  </a:lnTo>
                  <a:lnTo>
                    <a:pt x="8769" y="1125"/>
                  </a:lnTo>
                  <a:lnTo>
                    <a:pt x="8762" y="1153"/>
                  </a:lnTo>
                  <a:lnTo>
                    <a:pt x="8753" y="1181"/>
                  </a:lnTo>
                  <a:lnTo>
                    <a:pt x="8744" y="1207"/>
                  </a:lnTo>
                  <a:lnTo>
                    <a:pt x="8733" y="1233"/>
                  </a:lnTo>
                  <a:lnTo>
                    <a:pt x="8720" y="1258"/>
                  </a:lnTo>
                  <a:lnTo>
                    <a:pt x="8708" y="1281"/>
                  </a:lnTo>
                  <a:lnTo>
                    <a:pt x="8694" y="1305"/>
                  </a:lnTo>
                  <a:lnTo>
                    <a:pt x="8679" y="1326"/>
                  </a:lnTo>
                  <a:lnTo>
                    <a:pt x="8662" y="1346"/>
                  </a:lnTo>
                  <a:lnTo>
                    <a:pt x="8644" y="1366"/>
                  </a:lnTo>
                  <a:lnTo>
                    <a:pt x="8626" y="1385"/>
                  </a:lnTo>
                  <a:lnTo>
                    <a:pt x="8607" y="1402"/>
                  </a:lnTo>
                  <a:lnTo>
                    <a:pt x="8585" y="1418"/>
                  </a:lnTo>
                  <a:lnTo>
                    <a:pt x="8564" y="1434"/>
                  </a:lnTo>
                  <a:lnTo>
                    <a:pt x="8540" y="1447"/>
                  </a:lnTo>
                  <a:lnTo>
                    <a:pt x="8517" y="1460"/>
                  </a:lnTo>
                  <a:lnTo>
                    <a:pt x="8492" y="1472"/>
                  </a:lnTo>
                  <a:lnTo>
                    <a:pt x="8465" y="1483"/>
                  </a:lnTo>
                  <a:lnTo>
                    <a:pt x="8438" y="1492"/>
                  </a:lnTo>
                  <a:lnTo>
                    <a:pt x="8409" y="1500"/>
                  </a:lnTo>
                  <a:lnTo>
                    <a:pt x="8380" y="1507"/>
                  </a:lnTo>
                  <a:lnTo>
                    <a:pt x="8349" y="1513"/>
                  </a:lnTo>
                  <a:lnTo>
                    <a:pt x="8318" y="1517"/>
                  </a:lnTo>
                  <a:lnTo>
                    <a:pt x="8285" y="1520"/>
                  </a:lnTo>
                  <a:lnTo>
                    <a:pt x="8252" y="1522"/>
                  </a:lnTo>
                  <a:lnTo>
                    <a:pt x="8217" y="1523"/>
                  </a:lnTo>
                  <a:lnTo>
                    <a:pt x="8182" y="1522"/>
                  </a:lnTo>
                  <a:lnTo>
                    <a:pt x="8148" y="1520"/>
                  </a:lnTo>
                  <a:lnTo>
                    <a:pt x="8115" y="1517"/>
                  </a:lnTo>
                  <a:lnTo>
                    <a:pt x="8084" y="1513"/>
                  </a:lnTo>
                  <a:lnTo>
                    <a:pt x="8053" y="1507"/>
                  </a:lnTo>
                  <a:lnTo>
                    <a:pt x="8024" y="1500"/>
                  </a:lnTo>
                  <a:lnTo>
                    <a:pt x="7995" y="1492"/>
                  </a:lnTo>
                  <a:lnTo>
                    <a:pt x="7968" y="1483"/>
                  </a:lnTo>
                  <a:lnTo>
                    <a:pt x="7942" y="1472"/>
                  </a:lnTo>
                  <a:lnTo>
                    <a:pt x="7917" y="1460"/>
                  </a:lnTo>
                  <a:lnTo>
                    <a:pt x="7893" y="1447"/>
                  </a:lnTo>
                  <a:lnTo>
                    <a:pt x="7870" y="1434"/>
                  </a:lnTo>
                  <a:lnTo>
                    <a:pt x="7848" y="1418"/>
                  </a:lnTo>
                  <a:lnTo>
                    <a:pt x="7828" y="1402"/>
                  </a:lnTo>
                  <a:lnTo>
                    <a:pt x="7807" y="1385"/>
                  </a:lnTo>
                  <a:lnTo>
                    <a:pt x="7789" y="1366"/>
                  </a:lnTo>
                  <a:lnTo>
                    <a:pt x="7772" y="1346"/>
                  </a:lnTo>
                  <a:lnTo>
                    <a:pt x="7755" y="1326"/>
                  </a:lnTo>
                  <a:lnTo>
                    <a:pt x="7740" y="1305"/>
                  </a:lnTo>
                  <a:lnTo>
                    <a:pt x="7726" y="1281"/>
                  </a:lnTo>
                  <a:lnTo>
                    <a:pt x="7713" y="1258"/>
                  </a:lnTo>
                  <a:lnTo>
                    <a:pt x="7700" y="1233"/>
                  </a:lnTo>
                  <a:lnTo>
                    <a:pt x="7690" y="1207"/>
                  </a:lnTo>
                  <a:lnTo>
                    <a:pt x="7680" y="1181"/>
                  </a:lnTo>
                  <a:lnTo>
                    <a:pt x="7672" y="1153"/>
                  </a:lnTo>
                  <a:lnTo>
                    <a:pt x="7664" y="1125"/>
                  </a:lnTo>
                  <a:lnTo>
                    <a:pt x="7658" y="1095"/>
                  </a:lnTo>
                  <a:lnTo>
                    <a:pt x="7653" y="1065"/>
                  </a:lnTo>
                  <a:lnTo>
                    <a:pt x="7649" y="1033"/>
                  </a:lnTo>
                  <a:lnTo>
                    <a:pt x="7645" y="1001"/>
                  </a:lnTo>
                  <a:lnTo>
                    <a:pt x="7644" y="968"/>
                  </a:lnTo>
                  <a:lnTo>
                    <a:pt x="7643" y="933"/>
                  </a:lnTo>
                  <a:close/>
                  <a:moveTo>
                    <a:pt x="11327" y="477"/>
                  </a:moveTo>
                  <a:lnTo>
                    <a:pt x="11310" y="447"/>
                  </a:lnTo>
                  <a:lnTo>
                    <a:pt x="11291" y="420"/>
                  </a:lnTo>
                  <a:lnTo>
                    <a:pt x="11272" y="392"/>
                  </a:lnTo>
                  <a:lnTo>
                    <a:pt x="11253" y="366"/>
                  </a:lnTo>
                  <a:lnTo>
                    <a:pt x="11232" y="341"/>
                  </a:lnTo>
                  <a:lnTo>
                    <a:pt x="11211" y="316"/>
                  </a:lnTo>
                  <a:lnTo>
                    <a:pt x="11190" y="293"/>
                  </a:lnTo>
                  <a:lnTo>
                    <a:pt x="11167" y="270"/>
                  </a:lnTo>
                  <a:lnTo>
                    <a:pt x="11144" y="248"/>
                  </a:lnTo>
                  <a:lnTo>
                    <a:pt x="11121" y="228"/>
                  </a:lnTo>
                  <a:lnTo>
                    <a:pt x="11096" y="207"/>
                  </a:lnTo>
                  <a:lnTo>
                    <a:pt x="11071" y="188"/>
                  </a:lnTo>
                  <a:lnTo>
                    <a:pt x="11045" y="171"/>
                  </a:lnTo>
                  <a:lnTo>
                    <a:pt x="11018" y="154"/>
                  </a:lnTo>
                  <a:lnTo>
                    <a:pt x="10991" y="136"/>
                  </a:lnTo>
                  <a:lnTo>
                    <a:pt x="10963" y="121"/>
                  </a:lnTo>
                  <a:lnTo>
                    <a:pt x="10934" y="107"/>
                  </a:lnTo>
                  <a:lnTo>
                    <a:pt x="10905" y="93"/>
                  </a:lnTo>
                  <a:lnTo>
                    <a:pt x="10875" y="80"/>
                  </a:lnTo>
                  <a:lnTo>
                    <a:pt x="10845" y="68"/>
                  </a:lnTo>
                  <a:lnTo>
                    <a:pt x="10813" y="58"/>
                  </a:lnTo>
                  <a:lnTo>
                    <a:pt x="10782" y="48"/>
                  </a:lnTo>
                  <a:lnTo>
                    <a:pt x="10749" y="39"/>
                  </a:lnTo>
                  <a:lnTo>
                    <a:pt x="10716" y="30"/>
                  </a:lnTo>
                  <a:lnTo>
                    <a:pt x="10682" y="23"/>
                  </a:lnTo>
                  <a:lnTo>
                    <a:pt x="10648" y="17"/>
                  </a:lnTo>
                  <a:lnTo>
                    <a:pt x="10612" y="12"/>
                  </a:lnTo>
                  <a:lnTo>
                    <a:pt x="10576" y="8"/>
                  </a:lnTo>
                  <a:lnTo>
                    <a:pt x="10540" y="4"/>
                  </a:lnTo>
                  <a:lnTo>
                    <a:pt x="10502" y="2"/>
                  </a:lnTo>
                  <a:lnTo>
                    <a:pt x="10465" y="1"/>
                  </a:lnTo>
                  <a:lnTo>
                    <a:pt x="10426" y="0"/>
                  </a:lnTo>
                  <a:lnTo>
                    <a:pt x="10373" y="1"/>
                  </a:lnTo>
                  <a:lnTo>
                    <a:pt x="10322" y="4"/>
                  </a:lnTo>
                  <a:lnTo>
                    <a:pt x="10271" y="9"/>
                  </a:lnTo>
                  <a:lnTo>
                    <a:pt x="10222" y="16"/>
                  </a:lnTo>
                  <a:lnTo>
                    <a:pt x="10174" y="25"/>
                  </a:lnTo>
                  <a:lnTo>
                    <a:pt x="10126" y="37"/>
                  </a:lnTo>
                  <a:lnTo>
                    <a:pt x="10079" y="50"/>
                  </a:lnTo>
                  <a:lnTo>
                    <a:pt x="10033" y="65"/>
                  </a:lnTo>
                  <a:lnTo>
                    <a:pt x="9990" y="81"/>
                  </a:lnTo>
                  <a:lnTo>
                    <a:pt x="9947" y="101"/>
                  </a:lnTo>
                  <a:lnTo>
                    <a:pt x="9905" y="121"/>
                  </a:lnTo>
                  <a:lnTo>
                    <a:pt x="9865" y="143"/>
                  </a:lnTo>
                  <a:lnTo>
                    <a:pt x="9826" y="168"/>
                  </a:lnTo>
                  <a:lnTo>
                    <a:pt x="9788" y="194"/>
                  </a:lnTo>
                  <a:lnTo>
                    <a:pt x="9753" y="222"/>
                  </a:lnTo>
                  <a:lnTo>
                    <a:pt x="9718" y="251"/>
                  </a:lnTo>
                  <a:lnTo>
                    <a:pt x="9686" y="282"/>
                  </a:lnTo>
                  <a:lnTo>
                    <a:pt x="9654" y="314"/>
                  </a:lnTo>
                  <a:lnTo>
                    <a:pt x="9626" y="349"/>
                  </a:lnTo>
                  <a:lnTo>
                    <a:pt x="9598" y="385"/>
                  </a:lnTo>
                  <a:lnTo>
                    <a:pt x="9572" y="423"/>
                  </a:lnTo>
                  <a:lnTo>
                    <a:pt x="9548" y="462"/>
                  </a:lnTo>
                  <a:lnTo>
                    <a:pt x="9527" y="502"/>
                  </a:lnTo>
                  <a:lnTo>
                    <a:pt x="9508" y="545"/>
                  </a:lnTo>
                  <a:lnTo>
                    <a:pt x="9489" y="589"/>
                  </a:lnTo>
                  <a:lnTo>
                    <a:pt x="9474" y="633"/>
                  </a:lnTo>
                  <a:lnTo>
                    <a:pt x="9461" y="680"/>
                  </a:lnTo>
                  <a:lnTo>
                    <a:pt x="9451" y="728"/>
                  </a:lnTo>
                  <a:lnTo>
                    <a:pt x="9441" y="778"/>
                  </a:lnTo>
                  <a:lnTo>
                    <a:pt x="9435" y="829"/>
                  </a:lnTo>
                  <a:lnTo>
                    <a:pt x="9432" y="881"/>
                  </a:lnTo>
                  <a:lnTo>
                    <a:pt x="9430" y="933"/>
                  </a:lnTo>
                  <a:lnTo>
                    <a:pt x="9431" y="987"/>
                  </a:lnTo>
                  <a:lnTo>
                    <a:pt x="9435" y="1039"/>
                  </a:lnTo>
                  <a:lnTo>
                    <a:pt x="9441" y="1090"/>
                  </a:lnTo>
                  <a:lnTo>
                    <a:pt x="9450" y="1139"/>
                  </a:lnTo>
                  <a:lnTo>
                    <a:pt x="9461" y="1188"/>
                  </a:lnTo>
                  <a:lnTo>
                    <a:pt x="9474" y="1234"/>
                  </a:lnTo>
                  <a:lnTo>
                    <a:pt x="9488" y="1279"/>
                  </a:lnTo>
                  <a:lnTo>
                    <a:pt x="9506" y="1323"/>
                  </a:lnTo>
                  <a:lnTo>
                    <a:pt x="9525" y="1365"/>
                  </a:lnTo>
                  <a:lnTo>
                    <a:pt x="9546" y="1405"/>
                  </a:lnTo>
                  <a:lnTo>
                    <a:pt x="9570" y="1445"/>
                  </a:lnTo>
                  <a:lnTo>
                    <a:pt x="9595" y="1483"/>
                  </a:lnTo>
                  <a:lnTo>
                    <a:pt x="9623" y="1518"/>
                  </a:lnTo>
                  <a:lnTo>
                    <a:pt x="9651" y="1553"/>
                  </a:lnTo>
                  <a:lnTo>
                    <a:pt x="9681" y="1585"/>
                  </a:lnTo>
                  <a:lnTo>
                    <a:pt x="9714" y="1617"/>
                  </a:lnTo>
                  <a:lnTo>
                    <a:pt x="9749" y="1646"/>
                  </a:lnTo>
                  <a:lnTo>
                    <a:pt x="9784" y="1674"/>
                  </a:lnTo>
                  <a:lnTo>
                    <a:pt x="9822" y="1700"/>
                  </a:lnTo>
                  <a:lnTo>
                    <a:pt x="9860" y="1724"/>
                  </a:lnTo>
                  <a:lnTo>
                    <a:pt x="9900" y="1746"/>
                  </a:lnTo>
                  <a:lnTo>
                    <a:pt x="9942" y="1767"/>
                  </a:lnTo>
                  <a:lnTo>
                    <a:pt x="9986" y="1786"/>
                  </a:lnTo>
                  <a:lnTo>
                    <a:pt x="10029" y="1803"/>
                  </a:lnTo>
                  <a:lnTo>
                    <a:pt x="10075" y="1818"/>
                  </a:lnTo>
                  <a:lnTo>
                    <a:pt x="10122" y="1830"/>
                  </a:lnTo>
                  <a:lnTo>
                    <a:pt x="10170" y="1841"/>
                  </a:lnTo>
                  <a:lnTo>
                    <a:pt x="10219" y="1851"/>
                  </a:lnTo>
                  <a:lnTo>
                    <a:pt x="10269" y="1858"/>
                  </a:lnTo>
                  <a:lnTo>
                    <a:pt x="10320" y="1863"/>
                  </a:lnTo>
                  <a:lnTo>
                    <a:pt x="10372" y="1867"/>
                  </a:lnTo>
                  <a:lnTo>
                    <a:pt x="10426" y="1868"/>
                  </a:lnTo>
                  <a:lnTo>
                    <a:pt x="10465" y="1867"/>
                  </a:lnTo>
                  <a:lnTo>
                    <a:pt x="10502" y="1866"/>
                  </a:lnTo>
                  <a:lnTo>
                    <a:pt x="10540" y="1863"/>
                  </a:lnTo>
                  <a:lnTo>
                    <a:pt x="10576" y="1860"/>
                  </a:lnTo>
                  <a:lnTo>
                    <a:pt x="10612" y="1856"/>
                  </a:lnTo>
                  <a:lnTo>
                    <a:pt x="10648" y="1851"/>
                  </a:lnTo>
                  <a:lnTo>
                    <a:pt x="10682" y="1845"/>
                  </a:lnTo>
                  <a:lnTo>
                    <a:pt x="10716" y="1837"/>
                  </a:lnTo>
                  <a:lnTo>
                    <a:pt x="10749" y="1829"/>
                  </a:lnTo>
                  <a:lnTo>
                    <a:pt x="10782" y="1820"/>
                  </a:lnTo>
                  <a:lnTo>
                    <a:pt x="10813" y="1810"/>
                  </a:lnTo>
                  <a:lnTo>
                    <a:pt x="10845" y="1799"/>
                  </a:lnTo>
                  <a:lnTo>
                    <a:pt x="10875" y="1788"/>
                  </a:lnTo>
                  <a:lnTo>
                    <a:pt x="10905" y="1774"/>
                  </a:lnTo>
                  <a:lnTo>
                    <a:pt x="10934" y="1761"/>
                  </a:lnTo>
                  <a:lnTo>
                    <a:pt x="10963" y="1746"/>
                  </a:lnTo>
                  <a:lnTo>
                    <a:pt x="10991" y="1731"/>
                  </a:lnTo>
                  <a:lnTo>
                    <a:pt x="11018" y="1714"/>
                  </a:lnTo>
                  <a:lnTo>
                    <a:pt x="11045" y="1697"/>
                  </a:lnTo>
                  <a:lnTo>
                    <a:pt x="11071" y="1679"/>
                  </a:lnTo>
                  <a:lnTo>
                    <a:pt x="11096" y="1659"/>
                  </a:lnTo>
                  <a:lnTo>
                    <a:pt x="11121" y="1640"/>
                  </a:lnTo>
                  <a:lnTo>
                    <a:pt x="11144" y="1619"/>
                  </a:lnTo>
                  <a:lnTo>
                    <a:pt x="11167" y="1597"/>
                  </a:lnTo>
                  <a:lnTo>
                    <a:pt x="11190" y="1574"/>
                  </a:lnTo>
                  <a:lnTo>
                    <a:pt x="11211" y="1551"/>
                  </a:lnTo>
                  <a:lnTo>
                    <a:pt x="11232" y="1526"/>
                  </a:lnTo>
                  <a:lnTo>
                    <a:pt x="11253" y="1501"/>
                  </a:lnTo>
                  <a:lnTo>
                    <a:pt x="11272" y="1474"/>
                  </a:lnTo>
                  <a:lnTo>
                    <a:pt x="11291" y="1448"/>
                  </a:lnTo>
                  <a:lnTo>
                    <a:pt x="11310" y="1419"/>
                  </a:lnTo>
                  <a:lnTo>
                    <a:pt x="11327" y="1391"/>
                  </a:lnTo>
                  <a:lnTo>
                    <a:pt x="11015" y="1211"/>
                  </a:lnTo>
                  <a:lnTo>
                    <a:pt x="11002" y="1228"/>
                  </a:lnTo>
                  <a:lnTo>
                    <a:pt x="10988" y="1246"/>
                  </a:lnTo>
                  <a:lnTo>
                    <a:pt x="10975" y="1263"/>
                  </a:lnTo>
                  <a:lnTo>
                    <a:pt x="10962" y="1279"/>
                  </a:lnTo>
                  <a:lnTo>
                    <a:pt x="10948" y="1294"/>
                  </a:lnTo>
                  <a:lnTo>
                    <a:pt x="10933" y="1310"/>
                  </a:lnTo>
                  <a:lnTo>
                    <a:pt x="10919" y="1325"/>
                  </a:lnTo>
                  <a:lnTo>
                    <a:pt x="10904" y="1339"/>
                  </a:lnTo>
                  <a:lnTo>
                    <a:pt x="10890" y="1352"/>
                  </a:lnTo>
                  <a:lnTo>
                    <a:pt x="10873" y="1366"/>
                  </a:lnTo>
                  <a:lnTo>
                    <a:pt x="10858" y="1378"/>
                  </a:lnTo>
                  <a:lnTo>
                    <a:pt x="10842" y="1390"/>
                  </a:lnTo>
                  <a:lnTo>
                    <a:pt x="10825" y="1402"/>
                  </a:lnTo>
                  <a:lnTo>
                    <a:pt x="10807" y="1412"/>
                  </a:lnTo>
                  <a:lnTo>
                    <a:pt x="10790" y="1423"/>
                  </a:lnTo>
                  <a:lnTo>
                    <a:pt x="10773" y="1433"/>
                  </a:lnTo>
                  <a:lnTo>
                    <a:pt x="10754" y="1442"/>
                  </a:lnTo>
                  <a:lnTo>
                    <a:pt x="10735" y="1451"/>
                  </a:lnTo>
                  <a:lnTo>
                    <a:pt x="10716" y="1459"/>
                  </a:lnTo>
                  <a:lnTo>
                    <a:pt x="10696" y="1466"/>
                  </a:lnTo>
                  <a:lnTo>
                    <a:pt x="10676" y="1473"/>
                  </a:lnTo>
                  <a:lnTo>
                    <a:pt x="10656" y="1479"/>
                  </a:lnTo>
                  <a:lnTo>
                    <a:pt x="10634" y="1486"/>
                  </a:lnTo>
                  <a:lnTo>
                    <a:pt x="10613" y="1491"/>
                  </a:lnTo>
                  <a:lnTo>
                    <a:pt x="10591" y="1495"/>
                  </a:lnTo>
                  <a:lnTo>
                    <a:pt x="10567" y="1499"/>
                  </a:lnTo>
                  <a:lnTo>
                    <a:pt x="10544" y="1502"/>
                  </a:lnTo>
                  <a:lnTo>
                    <a:pt x="10521" y="1505"/>
                  </a:lnTo>
                  <a:lnTo>
                    <a:pt x="10496" y="1507"/>
                  </a:lnTo>
                  <a:lnTo>
                    <a:pt x="10471" y="1509"/>
                  </a:lnTo>
                  <a:lnTo>
                    <a:pt x="10445" y="1510"/>
                  </a:lnTo>
                  <a:lnTo>
                    <a:pt x="10419" y="1510"/>
                  </a:lnTo>
                  <a:lnTo>
                    <a:pt x="10386" y="1509"/>
                  </a:lnTo>
                  <a:lnTo>
                    <a:pt x="10355" y="1507"/>
                  </a:lnTo>
                  <a:lnTo>
                    <a:pt x="10324" y="1504"/>
                  </a:lnTo>
                  <a:lnTo>
                    <a:pt x="10294" y="1500"/>
                  </a:lnTo>
                  <a:lnTo>
                    <a:pt x="10264" y="1494"/>
                  </a:lnTo>
                  <a:lnTo>
                    <a:pt x="10236" y="1487"/>
                  </a:lnTo>
                  <a:lnTo>
                    <a:pt x="10207" y="1478"/>
                  </a:lnTo>
                  <a:lnTo>
                    <a:pt x="10180" y="1468"/>
                  </a:lnTo>
                  <a:lnTo>
                    <a:pt x="10153" y="1458"/>
                  </a:lnTo>
                  <a:lnTo>
                    <a:pt x="10128" y="1446"/>
                  </a:lnTo>
                  <a:lnTo>
                    <a:pt x="10104" y="1433"/>
                  </a:lnTo>
                  <a:lnTo>
                    <a:pt x="10080" y="1418"/>
                  </a:lnTo>
                  <a:lnTo>
                    <a:pt x="10057" y="1403"/>
                  </a:lnTo>
                  <a:lnTo>
                    <a:pt x="10035" y="1387"/>
                  </a:lnTo>
                  <a:lnTo>
                    <a:pt x="10014" y="1370"/>
                  </a:lnTo>
                  <a:lnTo>
                    <a:pt x="9994" y="1351"/>
                  </a:lnTo>
                  <a:lnTo>
                    <a:pt x="9975" y="1332"/>
                  </a:lnTo>
                  <a:lnTo>
                    <a:pt x="9957" y="1312"/>
                  </a:lnTo>
                  <a:lnTo>
                    <a:pt x="9941" y="1289"/>
                  </a:lnTo>
                  <a:lnTo>
                    <a:pt x="9925" y="1268"/>
                  </a:lnTo>
                  <a:lnTo>
                    <a:pt x="9910" y="1245"/>
                  </a:lnTo>
                  <a:lnTo>
                    <a:pt x="9896" y="1220"/>
                  </a:lnTo>
                  <a:lnTo>
                    <a:pt x="9884" y="1195"/>
                  </a:lnTo>
                  <a:lnTo>
                    <a:pt x="9873" y="1169"/>
                  </a:lnTo>
                  <a:lnTo>
                    <a:pt x="9864" y="1143"/>
                  </a:lnTo>
                  <a:lnTo>
                    <a:pt x="9854" y="1114"/>
                  </a:lnTo>
                  <a:lnTo>
                    <a:pt x="9847" y="1087"/>
                  </a:lnTo>
                  <a:lnTo>
                    <a:pt x="9841" y="1057"/>
                  </a:lnTo>
                  <a:lnTo>
                    <a:pt x="9836" y="1028"/>
                  </a:lnTo>
                  <a:lnTo>
                    <a:pt x="9833" y="998"/>
                  </a:lnTo>
                  <a:lnTo>
                    <a:pt x="9831" y="966"/>
                  </a:lnTo>
                  <a:lnTo>
                    <a:pt x="9830" y="933"/>
                  </a:lnTo>
                  <a:lnTo>
                    <a:pt x="9831" y="901"/>
                  </a:lnTo>
                  <a:lnTo>
                    <a:pt x="9833" y="869"/>
                  </a:lnTo>
                  <a:lnTo>
                    <a:pt x="9836" y="839"/>
                  </a:lnTo>
                  <a:lnTo>
                    <a:pt x="9840" y="808"/>
                  </a:lnTo>
                  <a:lnTo>
                    <a:pt x="9846" y="779"/>
                  </a:lnTo>
                  <a:lnTo>
                    <a:pt x="9853" y="750"/>
                  </a:lnTo>
                  <a:lnTo>
                    <a:pt x="9863" y="723"/>
                  </a:lnTo>
                  <a:lnTo>
                    <a:pt x="9872" y="696"/>
                  </a:lnTo>
                  <a:lnTo>
                    <a:pt x="9883" y="670"/>
                  </a:lnTo>
                  <a:lnTo>
                    <a:pt x="9894" y="645"/>
                  </a:lnTo>
                  <a:lnTo>
                    <a:pt x="9907" y="620"/>
                  </a:lnTo>
                  <a:lnTo>
                    <a:pt x="9923" y="597"/>
                  </a:lnTo>
                  <a:lnTo>
                    <a:pt x="9938" y="575"/>
                  </a:lnTo>
                  <a:lnTo>
                    <a:pt x="9954" y="553"/>
                  </a:lnTo>
                  <a:lnTo>
                    <a:pt x="9971" y="533"/>
                  </a:lnTo>
                  <a:lnTo>
                    <a:pt x="9991" y="513"/>
                  </a:lnTo>
                  <a:lnTo>
                    <a:pt x="10010" y="496"/>
                  </a:lnTo>
                  <a:lnTo>
                    <a:pt x="10031" y="479"/>
                  </a:lnTo>
                  <a:lnTo>
                    <a:pt x="10053" y="463"/>
                  </a:lnTo>
                  <a:lnTo>
                    <a:pt x="10075" y="447"/>
                  </a:lnTo>
                  <a:lnTo>
                    <a:pt x="10099" y="433"/>
                  </a:lnTo>
                  <a:lnTo>
                    <a:pt x="10124" y="420"/>
                  </a:lnTo>
                  <a:lnTo>
                    <a:pt x="10149" y="409"/>
                  </a:lnTo>
                  <a:lnTo>
                    <a:pt x="10176" y="399"/>
                  </a:lnTo>
                  <a:lnTo>
                    <a:pt x="10203" y="388"/>
                  </a:lnTo>
                  <a:lnTo>
                    <a:pt x="10232" y="380"/>
                  </a:lnTo>
                  <a:lnTo>
                    <a:pt x="10261" y="373"/>
                  </a:lnTo>
                  <a:lnTo>
                    <a:pt x="10291" y="368"/>
                  </a:lnTo>
                  <a:lnTo>
                    <a:pt x="10322" y="363"/>
                  </a:lnTo>
                  <a:lnTo>
                    <a:pt x="10354" y="360"/>
                  </a:lnTo>
                  <a:lnTo>
                    <a:pt x="10386" y="358"/>
                  </a:lnTo>
                  <a:lnTo>
                    <a:pt x="10419" y="358"/>
                  </a:lnTo>
                  <a:lnTo>
                    <a:pt x="10445" y="358"/>
                  </a:lnTo>
                  <a:lnTo>
                    <a:pt x="10471" y="359"/>
                  </a:lnTo>
                  <a:lnTo>
                    <a:pt x="10496" y="360"/>
                  </a:lnTo>
                  <a:lnTo>
                    <a:pt x="10521" y="362"/>
                  </a:lnTo>
                  <a:lnTo>
                    <a:pt x="10544" y="365"/>
                  </a:lnTo>
                  <a:lnTo>
                    <a:pt x="10567" y="368"/>
                  </a:lnTo>
                  <a:lnTo>
                    <a:pt x="10591" y="372"/>
                  </a:lnTo>
                  <a:lnTo>
                    <a:pt x="10613" y="377"/>
                  </a:lnTo>
                  <a:lnTo>
                    <a:pt x="10634" y="382"/>
                  </a:lnTo>
                  <a:lnTo>
                    <a:pt x="10656" y="388"/>
                  </a:lnTo>
                  <a:lnTo>
                    <a:pt x="10676" y="395"/>
                  </a:lnTo>
                  <a:lnTo>
                    <a:pt x="10696" y="402"/>
                  </a:lnTo>
                  <a:lnTo>
                    <a:pt x="10716" y="409"/>
                  </a:lnTo>
                  <a:lnTo>
                    <a:pt x="10735" y="417"/>
                  </a:lnTo>
                  <a:lnTo>
                    <a:pt x="10754" y="425"/>
                  </a:lnTo>
                  <a:lnTo>
                    <a:pt x="10773" y="435"/>
                  </a:lnTo>
                  <a:lnTo>
                    <a:pt x="10790" y="444"/>
                  </a:lnTo>
                  <a:lnTo>
                    <a:pt x="10807" y="455"/>
                  </a:lnTo>
                  <a:lnTo>
                    <a:pt x="10825" y="466"/>
                  </a:lnTo>
                  <a:lnTo>
                    <a:pt x="10842" y="477"/>
                  </a:lnTo>
                  <a:lnTo>
                    <a:pt x="10858" y="489"/>
                  </a:lnTo>
                  <a:lnTo>
                    <a:pt x="10873" y="502"/>
                  </a:lnTo>
                  <a:lnTo>
                    <a:pt x="10890" y="515"/>
                  </a:lnTo>
                  <a:lnTo>
                    <a:pt x="10904" y="529"/>
                  </a:lnTo>
                  <a:lnTo>
                    <a:pt x="10919" y="543"/>
                  </a:lnTo>
                  <a:lnTo>
                    <a:pt x="10933" y="557"/>
                  </a:lnTo>
                  <a:lnTo>
                    <a:pt x="10948" y="572"/>
                  </a:lnTo>
                  <a:lnTo>
                    <a:pt x="10962" y="589"/>
                  </a:lnTo>
                  <a:lnTo>
                    <a:pt x="10975" y="605"/>
                  </a:lnTo>
                  <a:lnTo>
                    <a:pt x="10988" y="621"/>
                  </a:lnTo>
                  <a:lnTo>
                    <a:pt x="11002" y="639"/>
                  </a:lnTo>
                  <a:lnTo>
                    <a:pt x="11015" y="657"/>
                  </a:lnTo>
                  <a:lnTo>
                    <a:pt x="11327" y="4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490538" y="487363"/>
              <a:ext cx="466725" cy="455612"/>
            </a:xfrm>
            <a:custGeom>
              <a:avLst/>
              <a:gdLst>
                <a:gd name="T0" fmla="*/ 1853 w 3532"/>
                <a:gd name="T1" fmla="*/ 1336 h 3444"/>
                <a:gd name="T2" fmla="*/ 1828 w 3532"/>
                <a:gd name="T3" fmla="*/ 1351 h 3444"/>
                <a:gd name="T4" fmla="*/ 1795 w 3532"/>
                <a:gd name="T5" fmla="*/ 1349 h 3444"/>
                <a:gd name="T6" fmla="*/ 1104 w 3532"/>
                <a:gd name="T7" fmla="*/ 1069 h 3444"/>
                <a:gd name="T8" fmla="*/ 1071 w 3532"/>
                <a:gd name="T9" fmla="*/ 1010 h 3444"/>
                <a:gd name="T10" fmla="*/ 1204 w 3532"/>
                <a:gd name="T11" fmla="*/ 141 h 3444"/>
                <a:gd name="T12" fmla="*/ 1231 w 3532"/>
                <a:gd name="T13" fmla="*/ 77 h 3444"/>
                <a:gd name="T14" fmla="*/ 1287 w 3532"/>
                <a:gd name="T15" fmla="*/ 37 h 3444"/>
                <a:gd name="T16" fmla="*/ 2026 w 3532"/>
                <a:gd name="T17" fmla="*/ 0 h 3444"/>
                <a:gd name="T18" fmla="*/ 2055 w 3532"/>
                <a:gd name="T19" fmla="*/ 11 h 3444"/>
                <a:gd name="T20" fmla="*/ 2072 w 3532"/>
                <a:gd name="T21" fmla="*/ 37 h 3444"/>
                <a:gd name="T22" fmla="*/ 1399 w 3532"/>
                <a:gd name="T23" fmla="*/ 1554 h 3444"/>
                <a:gd name="T24" fmla="*/ 1417 w 3532"/>
                <a:gd name="T25" fmla="*/ 1578 h 3444"/>
                <a:gd name="T26" fmla="*/ 1414 w 3532"/>
                <a:gd name="T27" fmla="*/ 1610 h 3444"/>
                <a:gd name="T28" fmla="*/ 958 w 3532"/>
                <a:gd name="T29" fmla="*/ 2172 h 3444"/>
                <a:gd name="T30" fmla="*/ 893 w 3532"/>
                <a:gd name="T31" fmla="*/ 2208 h 3444"/>
                <a:gd name="T32" fmla="*/ 826 w 3532"/>
                <a:gd name="T33" fmla="*/ 2201 h 3444"/>
                <a:gd name="T34" fmla="*/ 45 w 3532"/>
                <a:gd name="T35" fmla="*/ 1796 h 3444"/>
                <a:gd name="T36" fmla="*/ 6 w 3532"/>
                <a:gd name="T37" fmla="*/ 1741 h 3444"/>
                <a:gd name="T38" fmla="*/ 4 w 3532"/>
                <a:gd name="T39" fmla="*/ 1664 h 3444"/>
                <a:gd name="T40" fmla="*/ 200 w 3532"/>
                <a:gd name="T41" fmla="*/ 976 h 3444"/>
                <a:gd name="T42" fmla="*/ 226 w 3532"/>
                <a:gd name="T43" fmla="*/ 959 h 3444"/>
                <a:gd name="T44" fmla="*/ 255 w 3532"/>
                <a:gd name="T45" fmla="*/ 963 h 3444"/>
                <a:gd name="T46" fmla="*/ 1491 w 3532"/>
                <a:gd name="T47" fmla="*/ 2055 h 3444"/>
                <a:gd name="T48" fmla="*/ 1521 w 3532"/>
                <a:gd name="T49" fmla="*/ 2057 h 3444"/>
                <a:gd name="T50" fmla="*/ 1546 w 3532"/>
                <a:gd name="T51" fmla="*/ 2077 h 3444"/>
                <a:gd name="T52" fmla="*/ 1940 w 3532"/>
                <a:gd name="T53" fmla="*/ 2711 h 3444"/>
                <a:gd name="T54" fmla="*/ 1933 w 3532"/>
                <a:gd name="T55" fmla="*/ 2779 h 3444"/>
                <a:gd name="T56" fmla="*/ 1315 w 3532"/>
                <a:gd name="T57" fmla="*/ 3402 h 3444"/>
                <a:gd name="T58" fmla="*/ 1256 w 3532"/>
                <a:gd name="T59" fmla="*/ 3439 h 3444"/>
                <a:gd name="T60" fmla="*/ 1187 w 3532"/>
                <a:gd name="T61" fmla="*/ 3439 h 3444"/>
                <a:gd name="T62" fmla="*/ 567 w 3532"/>
                <a:gd name="T63" fmla="*/ 3035 h 3444"/>
                <a:gd name="T64" fmla="*/ 549 w 3532"/>
                <a:gd name="T65" fmla="*/ 3009 h 3444"/>
                <a:gd name="T66" fmla="*/ 551 w 3532"/>
                <a:gd name="T67" fmla="*/ 2978 h 3444"/>
                <a:gd name="T68" fmla="*/ 1987 w 3532"/>
                <a:gd name="T69" fmla="*/ 2144 h 3444"/>
                <a:gd name="T70" fmla="*/ 1988 w 3532"/>
                <a:gd name="T71" fmla="*/ 2114 h 3444"/>
                <a:gd name="T72" fmla="*/ 2009 w 3532"/>
                <a:gd name="T73" fmla="*/ 2091 h 3444"/>
                <a:gd name="T74" fmla="*/ 2707 w 3532"/>
                <a:gd name="T75" fmla="*/ 1899 h 3444"/>
                <a:gd name="T76" fmla="*/ 2780 w 3532"/>
                <a:gd name="T77" fmla="*/ 1910 h 3444"/>
                <a:gd name="T78" fmla="*/ 2832 w 3532"/>
                <a:gd name="T79" fmla="*/ 1953 h 3444"/>
                <a:gd name="T80" fmla="*/ 3229 w 3532"/>
                <a:gd name="T81" fmla="*/ 2739 h 3444"/>
                <a:gd name="T82" fmla="*/ 3227 w 3532"/>
                <a:gd name="T83" fmla="*/ 2806 h 3444"/>
                <a:gd name="T84" fmla="*/ 3184 w 3532"/>
                <a:gd name="T85" fmla="*/ 2871 h 3444"/>
                <a:gd name="T86" fmla="*/ 2624 w 3532"/>
                <a:gd name="T87" fmla="*/ 3314 h 3444"/>
                <a:gd name="T88" fmla="*/ 2593 w 3532"/>
                <a:gd name="T89" fmla="*/ 3313 h 3444"/>
                <a:gd name="T90" fmla="*/ 2570 w 3532"/>
                <a:gd name="T91" fmla="*/ 3292 h 3444"/>
                <a:gd name="T92" fmla="*/ 2206 w 3532"/>
                <a:gd name="T93" fmla="*/ 1686 h 3444"/>
                <a:gd name="T94" fmla="*/ 2183 w 3532"/>
                <a:gd name="T95" fmla="*/ 1667 h 3444"/>
                <a:gd name="T96" fmla="*/ 2176 w 3532"/>
                <a:gd name="T97" fmla="*/ 1635 h 3444"/>
                <a:gd name="T98" fmla="*/ 2229 w 3532"/>
                <a:gd name="T99" fmla="*/ 892 h 3444"/>
                <a:gd name="T100" fmla="*/ 2275 w 3532"/>
                <a:gd name="T101" fmla="*/ 841 h 3444"/>
                <a:gd name="T102" fmla="*/ 3142 w 3532"/>
                <a:gd name="T103" fmla="*/ 700 h 3444"/>
                <a:gd name="T104" fmla="*/ 3211 w 3532"/>
                <a:gd name="T105" fmla="*/ 706 h 3444"/>
                <a:gd name="T106" fmla="*/ 3268 w 3532"/>
                <a:gd name="T107" fmla="*/ 746 h 3444"/>
                <a:gd name="T108" fmla="*/ 3530 w 3532"/>
                <a:gd name="T109" fmla="*/ 1438 h 3444"/>
                <a:gd name="T110" fmla="*/ 3529 w 3532"/>
                <a:gd name="T111" fmla="*/ 1469 h 3444"/>
                <a:gd name="T112" fmla="*/ 3510 w 3532"/>
                <a:gd name="T113" fmla="*/ 1493 h 3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32" h="3444">
                  <a:moveTo>
                    <a:pt x="2072" y="52"/>
                  </a:moveTo>
                  <a:lnTo>
                    <a:pt x="1861" y="1317"/>
                  </a:lnTo>
                  <a:lnTo>
                    <a:pt x="1860" y="1322"/>
                  </a:lnTo>
                  <a:lnTo>
                    <a:pt x="1858" y="1327"/>
                  </a:lnTo>
                  <a:lnTo>
                    <a:pt x="1856" y="1332"/>
                  </a:lnTo>
                  <a:lnTo>
                    <a:pt x="1853" y="1336"/>
                  </a:lnTo>
                  <a:lnTo>
                    <a:pt x="1849" y="1340"/>
                  </a:lnTo>
                  <a:lnTo>
                    <a:pt x="1846" y="1343"/>
                  </a:lnTo>
                  <a:lnTo>
                    <a:pt x="1842" y="1346"/>
                  </a:lnTo>
                  <a:lnTo>
                    <a:pt x="1837" y="1348"/>
                  </a:lnTo>
                  <a:lnTo>
                    <a:pt x="1833" y="1350"/>
                  </a:lnTo>
                  <a:lnTo>
                    <a:pt x="1828" y="1351"/>
                  </a:lnTo>
                  <a:lnTo>
                    <a:pt x="1822" y="1352"/>
                  </a:lnTo>
                  <a:lnTo>
                    <a:pt x="1817" y="1353"/>
                  </a:lnTo>
                  <a:lnTo>
                    <a:pt x="1811" y="1352"/>
                  </a:lnTo>
                  <a:lnTo>
                    <a:pt x="1806" y="1352"/>
                  </a:lnTo>
                  <a:lnTo>
                    <a:pt x="1801" y="1351"/>
                  </a:lnTo>
                  <a:lnTo>
                    <a:pt x="1795" y="1349"/>
                  </a:lnTo>
                  <a:lnTo>
                    <a:pt x="1163" y="1105"/>
                  </a:lnTo>
                  <a:lnTo>
                    <a:pt x="1149" y="1099"/>
                  </a:lnTo>
                  <a:lnTo>
                    <a:pt x="1136" y="1092"/>
                  </a:lnTo>
                  <a:lnTo>
                    <a:pt x="1125" y="1085"/>
                  </a:lnTo>
                  <a:lnTo>
                    <a:pt x="1114" y="1077"/>
                  </a:lnTo>
                  <a:lnTo>
                    <a:pt x="1104" y="1069"/>
                  </a:lnTo>
                  <a:lnTo>
                    <a:pt x="1096" y="1060"/>
                  </a:lnTo>
                  <a:lnTo>
                    <a:pt x="1089" y="1050"/>
                  </a:lnTo>
                  <a:lnTo>
                    <a:pt x="1083" y="1041"/>
                  </a:lnTo>
                  <a:lnTo>
                    <a:pt x="1078" y="1031"/>
                  </a:lnTo>
                  <a:lnTo>
                    <a:pt x="1074" y="1020"/>
                  </a:lnTo>
                  <a:lnTo>
                    <a:pt x="1071" y="1010"/>
                  </a:lnTo>
                  <a:lnTo>
                    <a:pt x="1068" y="999"/>
                  </a:lnTo>
                  <a:lnTo>
                    <a:pt x="1067" y="986"/>
                  </a:lnTo>
                  <a:lnTo>
                    <a:pt x="1067" y="975"/>
                  </a:lnTo>
                  <a:lnTo>
                    <a:pt x="1068" y="963"/>
                  </a:lnTo>
                  <a:lnTo>
                    <a:pt x="1069" y="951"/>
                  </a:lnTo>
                  <a:lnTo>
                    <a:pt x="1204" y="141"/>
                  </a:lnTo>
                  <a:lnTo>
                    <a:pt x="1206" y="130"/>
                  </a:lnTo>
                  <a:lnTo>
                    <a:pt x="1209" y="118"/>
                  </a:lnTo>
                  <a:lnTo>
                    <a:pt x="1213" y="107"/>
                  </a:lnTo>
                  <a:lnTo>
                    <a:pt x="1218" y="97"/>
                  </a:lnTo>
                  <a:lnTo>
                    <a:pt x="1224" y="86"/>
                  </a:lnTo>
                  <a:lnTo>
                    <a:pt x="1231" y="77"/>
                  </a:lnTo>
                  <a:lnTo>
                    <a:pt x="1238" y="69"/>
                  </a:lnTo>
                  <a:lnTo>
                    <a:pt x="1246" y="61"/>
                  </a:lnTo>
                  <a:lnTo>
                    <a:pt x="1255" y="54"/>
                  </a:lnTo>
                  <a:lnTo>
                    <a:pt x="1265" y="47"/>
                  </a:lnTo>
                  <a:lnTo>
                    <a:pt x="1275" y="42"/>
                  </a:lnTo>
                  <a:lnTo>
                    <a:pt x="1287" y="37"/>
                  </a:lnTo>
                  <a:lnTo>
                    <a:pt x="1300" y="33"/>
                  </a:lnTo>
                  <a:lnTo>
                    <a:pt x="1313" y="29"/>
                  </a:lnTo>
                  <a:lnTo>
                    <a:pt x="1327" y="27"/>
                  </a:lnTo>
                  <a:lnTo>
                    <a:pt x="1342" y="26"/>
                  </a:lnTo>
                  <a:lnTo>
                    <a:pt x="2020" y="0"/>
                  </a:lnTo>
                  <a:lnTo>
                    <a:pt x="2026" y="0"/>
                  </a:lnTo>
                  <a:lnTo>
                    <a:pt x="2031" y="1"/>
                  </a:lnTo>
                  <a:lnTo>
                    <a:pt x="2036" y="2"/>
                  </a:lnTo>
                  <a:lnTo>
                    <a:pt x="2042" y="3"/>
                  </a:lnTo>
                  <a:lnTo>
                    <a:pt x="2046" y="5"/>
                  </a:lnTo>
                  <a:lnTo>
                    <a:pt x="2051" y="8"/>
                  </a:lnTo>
                  <a:lnTo>
                    <a:pt x="2055" y="11"/>
                  </a:lnTo>
                  <a:lnTo>
                    <a:pt x="2059" y="14"/>
                  </a:lnTo>
                  <a:lnTo>
                    <a:pt x="2062" y="18"/>
                  </a:lnTo>
                  <a:lnTo>
                    <a:pt x="2066" y="22"/>
                  </a:lnTo>
                  <a:lnTo>
                    <a:pt x="2068" y="26"/>
                  </a:lnTo>
                  <a:lnTo>
                    <a:pt x="2070" y="32"/>
                  </a:lnTo>
                  <a:lnTo>
                    <a:pt x="2072" y="37"/>
                  </a:lnTo>
                  <a:lnTo>
                    <a:pt x="2072" y="42"/>
                  </a:lnTo>
                  <a:lnTo>
                    <a:pt x="2073" y="47"/>
                  </a:lnTo>
                  <a:lnTo>
                    <a:pt x="2072" y="52"/>
                  </a:lnTo>
                  <a:close/>
                  <a:moveTo>
                    <a:pt x="255" y="963"/>
                  </a:moveTo>
                  <a:lnTo>
                    <a:pt x="1394" y="1551"/>
                  </a:lnTo>
                  <a:lnTo>
                    <a:pt x="1399" y="1554"/>
                  </a:lnTo>
                  <a:lnTo>
                    <a:pt x="1403" y="1557"/>
                  </a:lnTo>
                  <a:lnTo>
                    <a:pt x="1408" y="1561"/>
                  </a:lnTo>
                  <a:lnTo>
                    <a:pt x="1411" y="1565"/>
                  </a:lnTo>
                  <a:lnTo>
                    <a:pt x="1413" y="1569"/>
                  </a:lnTo>
                  <a:lnTo>
                    <a:pt x="1415" y="1574"/>
                  </a:lnTo>
                  <a:lnTo>
                    <a:pt x="1417" y="1578"/>
                  </a:lnTo>
                  <a:lnTo>
                    <a:pt x="1418" y="1583"/>
                  </a:lnTo>
                  <a:lnTo>
                    <a:pt x="1418" y="1588"/>
                  </a:lnTo>
                  <a:lnTo>
                    <a:pt x="1418" y="1593"/>
                  </a:lnTo>
                  <a:lnTo>
                    <a:pt x="1417" y="1599"/>
                  </a:lnTo>
                  <a:lnTo>
                    <a:pt x="1416" y="1605"/>
                  </a:lnTo>
                  <a:lnTo>
                    <a:pt x="1414" y="1610"/>
                  </a:lnTo>
                  <a:lnTo>
                    <a:pt x="1412" y="1614"/>
                  </a:lnTo>
                  <a:lnTo>
                    <a:pt x="1409" y="1619"/>
                  </a:lnTo>
                  <a:lnTo>
                    <a:pt x="1405" y="1624"/>
                  </a:lnTo>
                  <a:lnTo>
                    <a:pt x="978" y="2151"/>
                  </a:lnTo>
                  <a:lnTo>
                    <a:pt x="969" y="2162"/>
                  </a:lnTo>
                  <a:lnTo>
                    <a:pt x="958" y="2172"/>
                  </a:lnTo>
                  <a:lnTo>
                    <a:pt x="948" y="2181"/>
                  </a:lnTo>
                  <a:lnTo>
                    <a:pt x="938" y="2188"/>
                  </a:lnTo>
                  <a:lnTo>
                    <a:pt x="926" y="2195"/>
                  </a:lnTo>
                  <a:lnTo>
                    <a:pt x="915" y="2200"/>
                  </a:lnTo>
                  <a:lnTo>
                    <a:pt x="904" y="2204"/>
                  </a:lnTo>
                  <a:lnTo>
                    <a:pt x="893" y="2208"/>
                  </a:lnTo>
                  <a:lnTo>
                    <a:pt x="882" y="2209"/>
                  </a:lnTo>
                  <a:lnTo>
                    <a:pt x="871" y="2210"/>
                  </a:lnTo>
                  <a:lnTo>
                    <a:pt x="859" y="2209"/>
                  </a:lnTo>
                  <a:lnTo>
                    <a:pt x="848" y="2208"/>
                  </a:lnTo>
                  <a:lnTo>
                    <a:pt x="837" y="2206"/>
                  </a:lnTo>
                  <a:lnTo>
                    <a:pt x="826" y="2201"/>
                  </a:lnTo>
                  <a:lnTo>
                    <a:pt x="815" y="2197"/>
                  </a:lnTo>
                  <a:lnTo>
                    <a:pt x="803" y="2192"/>
                  </a:lnTo>
                  <a:lnTo>
                    <a:pt x="74" y="1816"/>
                  </a:lnTo>
                  <a:lnTo>
                    <a:pt x="64" y="1810"/>
                  </a:lnTo>
                  <a:lnTo>
                    <a:pt x="54" y="1803"/>
                  </a:lnTo>
                  <a:lnTo>
                    <a:pt x="45" y="1796"/>
                  </a:lnTo>
                  <a:lnTo>
                    <a:pt x="37" y="1789"/>
                  </a:lnTo>
                  <a:lnTo>
                    <a:pt x="28" y="1779"/>
                  </a:lnTo>
                  <a:lnTo>
                    <a:pt x="21" y="1771"/>
                  </a:lnTo>
                  <a:lnTo>
                    <a:pt x="15" y="1761"/>
                  </a:lnTo>
                  <a:lnTo>
                    <a:pt x="10" y="1751"/>
                  </a:lnTo>
                  <a:lnTo>
                    <a:pt x="6" y="1741"/>
                  </a:lnTo>
                  <a:lnTo>
                    <a:pt x="3" y="1729"/>
                  </a:lnTo>
                  <a:lnTo>
                    <a:pt x="1" y="1717"/>
                  </a:lnTo>
                  <a:lnTo>
                    <a:pt x="0" y="1704"/>
                  </a:lnTo>
                  <a:lnTo>
                    <a:pt x="0" y="1691"/>
                  </a:lnTo>
                  <a:lnTo>
                    <a:pt x="1" y="1678"/>
                  </a:lnTo>
                  <a:lnTo>
                    <a:pt x="4" y="1664"/>
                  </a:lnTo>
                  <a:lnTo>
                    <a:pt x="7" y="1648"/>
                  </a:lnTo>
                  <a:lnTo>
                    <a:pt x="190" y="995"/>
                  </a:lnTo>
                  <a:lnTo>
                    <a:pt x="192" y="990"/>
                  </a:lnTo>
                  <a:lnTo>
                    <a:pt x="194" y="985"/>
                  </a:lnTo>
                  <a:lnTo>
                    <a:pt x="197" y="980"/>
                  </a:lnTo>
                  <a:lnTo>
                    <a:pt x="200" y="976"/>
                  </a:lnTo>
                  <a:lnTo>
                    <a:pt x="203" y="972"/>
                  </a:lnTo>
                  <a:lnTo>
                    <a:pt x="207" y="969"/>
                  </a:lnTo>
                  <a:lnTo>
                    <a:pt x="212" y="965"/>
                  </a:lnTo>
                  <a:lnTo>
                    <a:pt x="216" y="963"/>
                  </a:lnTo>
                  <a:lnTo>
                    <a:pt x="221" y="961"/>
                  </a:lnTo>
                  <a:lnTo>
                    <a:pt x="226" y="959"/>
                  </a:lnTo>
                  <a:lnTo>
                    <a:pt x="230" y="958"/>
                  </a:lnTo>
                  <a:lnTo>
                    <a:pt x="235" y="958"/>
                  </a:lnTo>
                  <a:lnTo>
                    <a:pt x="240" y="958"/>
                  </a:lnTo>
                  <a:lnTo>
                    <a:pt x="245" y="959"/>
                  </a:lnTo>
                  <a:lnTo>
                    <a:pt x="250" y="960"/>
                  </a:lnTo>
                  <a:lnTo>
                    <a:pt x="255" y="963"/>
                  </a:lnTo>
                  <a:close/>
                  <a:moveTo>
                    <a:pt x="560" y="2966"/>
                  </a:moveTo>
                  <a:lnTo>
                    <a:pt x="1474" y="2066"/>
                  </a:lnTo>
                  <a:lnTo>
                    <a:pt x="1478" y="2062"/>
                  </a:lnTo>
                  <a:lnTo>
                    <a:pt x="1482" y="2059"/>
                  </a:lnTo>
                  <a:lnTo>
                    <a:pt x="1487" y="2057"/>
                  </a:lnTo>
                  <a:lnTo>
                    <a:pt x="1491" y="2055"/>
                  </a:lnTo>
                  <a:lnTo>
                    <a:pt x="1496" y="2054"/>
                  </a:lnTo>
                  <a:lnTo>
                    <a:pt x="1501" y="2053"/>
                  </a:lnTo>
                  <a:lnTo>
                    <a:pt x="1506" y="2054"/>
                  </a:lnTo>
                  <a:lnTo>
                    <a:pt x="1511" y="2054"/>
                  </a:lnTo>
                  <a:lnTo>
                    <a:pt x="1516" y="2055"/>
                  </a:lnTo>
                  <a:lnTo>
                    <a:pt x="1521" y="2057"/>
                  </a:lnTo>
                  <a:lnTo>
                    <a:pt x="1526" y="2059"/>
                  </a:lnTo>
                  <a:lnTo>
                    <a:pt x="1531" y="2062"/>
                  </a:lnTo>
                  <a:lnTo>
                    <a:pt x="1535" y="2065"/>
                  </a:lnTo>
                  <a:lnTo>
                    <a:pt x="1539" y="2069"/>
                  </a:lnTo>
                  <a:lnTo>
                    <a:pt x="1543" y="2073"/>
                  </a:lnTo>
                  <a:lnTo>
                    <a:pt x="1546" y="2077"/>
                  </a:lnTo>
                  <a:lnTo>
                    <a:pt x="1914" y="2647"/>
                  </a:lnTo>
                  <a:lnTo>
                    <a:pt x="1922" y="2660"/>
                  </a:lnTo>
                  <a:lnTo>
                    <a:pt x="1928" y="2673"/>
                  </a:lnTo>
                  <a:lnTo>
                    <a:pt x="1933" y="2685"/>
                  </a:lnTo>
                  <a:lnTo>
                    <a:pt x="1937" y="2699"/>
                  </a:lnTo>
                  <a:lnTo>
                    <a:pt x="1940" y="2711"/>
                  </a:lnTo>
                  <a:lnTo>
                    <a:pt x="1941" y="2723"/>
                  </a:lnTo>
                  <a:lnTo>
                    <a:pt x="1942" y="2734"/>
                  </a:lnTo>
                  <a:lnTo>
                    <a:pt x="1941" y="2745"/>
                  </a:lnTo>
                  <a:lnTo>
                    <a:pt x="1939" y="2758"/>
                  </a:lnTo>
                  <a:lnTo>
                    <a:pt x="1936" y="2768"/>
                  </a:lnTo>
                  <a:lnTo>
                    <a:pt x="1933" y="2779"/>
                  </a:lnTo>
                  <a:lnTo>
                    <a:pt x="1928" y="2789"/>
                  </a:lnTo>
                  <a:lnTo>
                    <a:pt x="1922" y="2799"/>
                  </a:lnTo>
                  <a:lnTo>
                    <a:pt x="1915" y="2808"/>
                  </a:lnTo>
                  <a:lnTo>
                    <a:pt x="1908" y="2818"/>
                  </a:lnTo>
                  <a:lnTo>
                    <a:pt x="1900" y="2827"/>
                  </a:lnTo>
                  <a:lnTo>
                    <a:pt x="1315" y="3402"/>
                  </a:lnTo>
                  <a:lnTo>
                    <a:pt x="1307" y="3410"/>
                  </a:lnTo>
                  <a:lnTo>
                    <a:pt x="1297" y="3419"/>
                  </a:lnTo>
                  <a:lnTo>
                    <a:pt x="1288" y="3425"/>
                  </a:lnTo>
                  <a:lnTo>
                    <a:pt x="1277" y="3431"/>
                  </a:lnTo>
                  <a:lnTo>
                    <a:pt x="1267" y="3435"/>
                  </a:lnTo>
                  <a:lnTo>
                    <a:pt x="1256" y="3439"/>
                  </a:lnTo>
                  <a:lnTo>
                    <a:pt x="1245" y="3442"/>
                  </a:lnTo>
                  <a:lnTo>
                    <a:pt x="1234" y="3443"/>
                  </a:lnTo>
                  <a:lnTo>
                    <a:pt x="1222" y="3444"/>
                  </a:lnTo>
                  <a:lnTo>
                    <a:pt x="1211" y="3443"/>
                  </a:lnTo>
                  <a:lnTo>
                    <a:pt x="1199" y="3442"/>
                  </a:lnTo>
                  <a:lnTo>
                    <a:pt x="1187" y="3439"/>
                  </a:lnTo>
                  <a:lnTo>
                    <a:pt x="1174" y="3435"/>
                  </a:lnTo>
                  <a:lnTo>
                    <a:pt x="1161" y="3430"/>
                  </a:lnTo>
                  <a:lnTo>
                    <a:pt x="1148" y="3423"/>
                  </a:lnTo>
                  <a:lnTo>
                    <a:pt x="1136" y="3415"/>
                  </a:lnTo>
                  <a:lnTo>
                    <a:pt x="572" y="3038"/>
                  </a:lnTo>
                  <a:lnTo>
                    <a:pt x="567" y="3035"/>
                  </a:lnTo>
                  <a:lnTo>
                    <a:pt x="563" y="3031"/>
                  </a:lnTo>
                  <a:lnTo>
                    <a:pt x="559" y="3027"/>
                  </a:lnTo>
                  <a:lnTo>
                    <a:pt x="556" y="3023"/>
                  </a:lnTo>
                  <a:lnTo>
                    <a:pt x="553" y="3018"/>
                  </a:lnTo>
                  <a:lnTo>
                    <a:pt x="551" y="3014"/>
                  </a:lnTo>
                  <a:lnTo>
                    <a:pt x="549" y="3009"/>
                  </a:lnTo>
                  <a:lnTo>
                    <a:pt x="548" y="3004"/>
                  </a:lnTo>
                  <a:lnTo>
                    <a:pt x="548" y="2999"/>
                  </a:lnTo>
                  <a:lnTo>
                    <a:pt x="548" y="2994"/>
                  </a:lnTo>
                  <a:lnTo>
                    <a:pt x="548" y="2988"/>
                  </a:lnTo>
                  <a:lnTo>
                    <a:pt x="549" y="2983"/>
                  </a:lnTo>
                  <a:lnTo>
                    <a:pt x="551" y="2978"/>
                  </a:lnTo>
                  <a:lnTo>
                    <a:pt x="553" y="2974"/>
                  </a:lnTo>
                  <a:lnTo>
                    <a:pt x="556" y="2970"/>
                  </a:lnTo>
                  <a:lnTo>
                    <a:pt x="560" y="2966"/>
                  </a:lnTo>
                  <a:close/>
                  <a:moveTo>
                    <a:pt x="2570" y="3292"/>
                  </a:moveTo>
                  <a:lnTo>
                    <a:pt x="1990" y="2150"/>
                  </a:lnTo>
                  <a:lnTo>
                    <a:pt x="1987" y="2144"/>
                  </a:lnTo>
                  <a:lnTo>
                    <a:pt x="1986" y="2139"/>
                  </a:lnTo>
                  <a:lnTo>
                    <a:pt x="1985" y="2134"/>
                  </a:lnTo>
                  <a:lnTo>
                    <a:pt x="1985" y="2128"/>
                  </a:lnTo>
                  <a:lnTo>
                    <a:pt x="1986" y="2124"/>
                  </a:lnTo>
                  <a:lnTo>
                    <a:pt x="1987" y="2119"/>
                  </a:lnTo>
                  <a:lnTo>
                    <a:pt x="1988" y="2114"/>
                  </a:lnTo>
                  <a:lnTo>
                    <a:pt x="1990" y="2110"/>
                  </a:lnTo>
                  <a:lnTo>
                    <a:pt x="1993" y="2105"/>
                  </a:lnTo>
                  <a:lnTo>
                    <a:pt x="1996" y="2101"/>
                  </a:lnTo>
                  <a:lnTo>
                    <a:pt x="2000" y="2098"/>
                  </a:lnTo>
                  <a:lnTo>
                    <a:pt x="2003" y="2094"/>
                  </a:lnTo>
                  <a:lnTo>
                    <a:pt x="2009" y="2091"/>
                  </a:lnTo>
                  <a:lnTo>
                    <a:pt x="2013" y="2088"/>
                  </a:lnTo>
                  <a:lnTo>
                    <a:pt x="2018" y="2086"/>
                  </a:lnTo>
                  <a:lnTo>
                    <a:pt x="2024" y="2084"/>
                  </a:lnTo>
                  <a:lnTo>
                    <a:pt x="2678" y="1906"/>
                  </a:lnTo>
                  <a:lnTo>
                    <a:pt x="2693" y="1902"/>
                  </a:lnTo>
                  <a:lnTo>
                    <a:pt x="2707" y="1899"/>
                  </a:lnTo>
                  <a:lnTo>
                    <a:pt x="2720" y="1898"/>
                  </a:lnTo>
                  <a:lnTo>
                    <a:pt x="2734" y="1898"/>
                  </a:lnTo>
                  <a:lnTo>
                    <a:pt x="2746" y="1900"/>
                  </a:lnTo>
                  <a:lnTo>
                    <a:pt x="2758" y="1902"/>
                  </a:lnTo>
                  <a:lnTo>
                    <a:pt x="2769" y="1906"/>
                  </a:lnTo>
                  <a:lnTo>
                    <a:pt x="2780" y="1910"/>
                  </a:lnTo>
                  <a:lnTo>
                    <a:pt x="2791" y="1915"/>
                  </a:lnTo>
                  <a:lnTo>
                    <a:pt x="2800" y="1921"/>
                  </a:lnTo>
                  <a:lnTo>
                    <a:pt x="2809" y="1928"/>
                  </a:lnTo>
                  <a:lnTo>
                    <a:pt x="2817" y="1936"/>
                  </a:lnTo>
                  <a:lnTo>
                    <a:pt x="2825" y="1944"/>
                  </a:lnTo>
                  <a:lnTo>
                    <a:pt x="2832" y="1953"/>
                  </a:lnTo>
                  <a:lnTo>
                    <a:pt x="2838" y="1963"/>
                  </a:lnTo>
                  <a:lnTo>
                    <a:pt x="2845" y="1974"/>
                  </a:lnTo>
                  <a:lnTo>
                    <a:pt x="3216" y="2706"/>
                  </a:lnTo>
                  <a:lnTo>
                    <a:pt x="3221" y="2717"/>
                  </a:lnTo>
                  <a:lnTo>
                    <a:pt x="3225" y="2727"/>
                  </a:lnTo>
                  <a:lnTo>
                    <a:pt x="3229" y="2739"/>
                  </a:lnTo>
                  <a:lnTo>
                    <a:pt x="3231" y="2751"/>
                  </a:lnTo>
                  <a:lnTo>
                    <a:pt x="3232" y="2762"/>
                  </a:lnTo>
                  <a:lnTo>
                    <a:pt x="3233" y="2773"/>
                  </a:lnTo>
                  <a:lnTo>
                    <a:pt x="3232" y="2784"/>
                  </a:lnTo>
                  <a:lnTo>
                    <a:pt x="3230" y="2795"/>
                  </a:lnTo>
                  <a:lnTo>
                    <a:pt x="3227" y="2806"/>
                  </a:lnTo>
                  <a:lnTo>
                    <a:pt x="3223" y="2818"/>
                  </a:lnTo>
                  <a:lnTo>
                    <a:pt x="3218" y="2829"/>
                  </a:lnTo>
                  <a:lnTo>
                    <a:pt x="3212" y="2839"/>
                  </a:lnTo>
                  <a:lnTo>
                    <a:pt x="3204" y="2850"/>
                  </a:lnTo>
                  <a:lnTo>
                    <a:pt x="3194" y="2860"/>
                  </a:lnTo>
                  <a:lnTo>
                    <a:pt x="3184" y="2871"/>
                  </a:lnTo>
                  <a:lnTo>
                    <a:pt x="3173" y="2881"/>
                  </a:lnTo>
                  <a:lnTo>
                    <a:pt x="2643" y="3304"/>
                  </a:lnTo>
                  <a:lnTo>
                    <a:pt x="2638" y="3307"/>
                  </a:lnTo>
                  <a:lnTo>
                    <a:pt x="2633" y="3310"/>
                  </a:lnTo>
                  <a:lnTo>
                    <a:pt x="2629" y="3312"/>
                  </a:lnTo>
                  <a:lnTo>
                    <a:pt x="2624" y="3314"/>
                  </a:lnTo>
                  <a:lnTo>
                    <a:pt x="2619" y="3315"/>
                  </a:lnTo>
                  <a:lnTo>
                    <a:pt x="2613" y="3316"/>
                  </a:lnTo>
                  <a:lnTo>
                    <a:pt x="2608" y="3316"/>
                  </a:lnTo>
                  <a:lnTo>
                    <a:pt x="2603" y="3315"/>
                  </a:lnTo>
                  <a:lnTo>
                    <a:pt x="2598" y="3314"/>
                  </a:lnTo>
                  <a:lnTo>
                    <a:pt x="2593" y="3313"/>
                  </a:lnTo>
                  <a:lnTo>
                    <a:pt x="2588" y="3311"/>
                  </a:lnTo>
                  <a:lnTo>
                    <a:pt x="2584" y="3308"/>
                  </a:lnTo>
                  <a:lnTo>
                    <a:pt x="2580" y="3305"/>
                  </a:lnTo>
                  <a:lnTo>
                    <a:pt x="2576" y="3302"/>
                  </a:lnTo>
                  <a:lnTo>
                    <a:pt x="2573" y="3297"/>
                  </a:lnTo>
                  <a:lnTo>
                    <a:pt x="2570" y="3292"/>
                  </a:lnTo>
                  <a:close/>
                  <a:moveTo>
                    <a:pt x="3494" y="1498"/>
                  </a:moveTo>
                  <a:lnTo>
                    <a:pt x="2227" y="1688"/>
                  </a:lnTo>
                  <a:lnTo>
                    <a:pt x="2222" y="1688"/>
                  </a:lnTo>
                  <a:lnTo>
                    <a:pt x="2216" y="1688"/>
                  </a:lnTo>
                  <a:lnTo>
                    <a:pt x="2211" y="1687"/>
                  </a:lnTo>
                  <a:lnTo>
                    <a:pt x="2206" y="1686"/>
                  </a:lnTo>
                  <a:lnTo>
                    <a:pt x="2202" y="1684"/>
                  </a:lnTo>
                  <a:lnTo>
                    <a:pt x="2198" y="1681"/>
                  </a:lnTo>
                  <a:lnTo>
                    <a:pt x="2194" y="1678"/>
                  </a:lnTo>
                  <a:lnTo>
                    <a:pt x="2190" y="1675"/>
                  </a:lnTo>
                  <a:lnTo>
                    <a:pt x="2187" y="1671"/>
                  </a:lnTo>
                  <a:lnTo>
                    <a:pt x="2183" y="1667"/>
                  </a:lnTo>
                  <a:lnTo>
                    <a:pt x="2181" y="1661"/>
                  </a:lnTo>
                  <a:lnTo>
                    <a:pt x="2179" y="1657"/>
                  </a:lnTo>
                  <a:lnTo>
                    <a:pt x="2177" y="1652"/>
                  </a:lnTo>
                  <a:lnTo>
                    <a:pt x="2176" y="1646"/>
                  </a:lnTo>
                  <a:lnTo>
                    <a:pt x="2176" y="1641"/>
                  </a:lnTo>
                  <a:lnTo>
                    <a:pt x="2176" y="1635"/>
                  </a:lnTo>
                  <a:lnTo>
                    <a:pt x="2213" y="959"/>
                  </a:lnTo>
                  <a:lnTo>
                    <a:pt x="2214" y="944"/>
                  </a:lnTo>
                  <a:lnTo>
                    <a:pt x="2217" y="929"/>
                  </a:lnTo>
                  <a:lnTo>
                    <a:pt x="2220" y="915"/>
                  </a:lnTo>
                  <a:lnTo>
                    <a:pt x="2224" y="903"/>
                  </a:lnTo>
                  <a:lnTo>
                    <a:pt x="2229" y="892"/>
                  </a:lnTo>
                  <a:lnTo>
                    <a:pt x="2235" y="881"/>
                  </a:lnTo>
                  <a:lnTo>
                    <a:pt x="2241" y="871"/>
                  </a:lnTo>
                  <a:lnTo>
                    <a:pt x="2250" y="862"/>
                  </a:lnTo>
                  <a:lnTo>
                    <a:pt x="2257" y="854"/>
                  </a:lnTo>
                  <a:lnTo>
                    <a:pt x="2266" y="847"/>
                  </a:lnTo>
                  <a:lnTo>
                    <a:pt x="2275" y="841"/>
                  </a:lnTo>
                  <a:lnTo>
                    <a:pt x="2285" y="836"/>
                  </a:lnTo>
                  <a:lnTo>
                    <a:pt x="2296" y="831"/>
                  </a:lnTo>
                  <a:lnTo>
                    <a:pt x="2307" y="827"/>
                  </a:lnTo>
                  <a:lnTo>
                    <a:pt x="2319" y="824"/>
                  </a:lnTo>
                  <a:lnTo>
                    <a:pt x="2331" y="822"/>
                  </a:lnTo>
                  <a:lnTo>
                    <a:pt x="3142" y="700"/>
                  </a:lnTo>
                  <a:lnTo>
                    <a:pt x="3154" y="699"/>
                  </a:lnTo>
                  <a:lnTo>
                    <a:pt x="3166" y="699"/>
                  </a:lnTo>
                  <a:lnTo>
                    <a:pt x="3177" y="699"/>
                  </a:lnTo>
                  <a:lnTo>
                    <a:pt x="3189" y="700"/>
                  </a:lnTo>
                  <a:lnTo>
                    <a:pt x="3200" y="702"/>
                  </a:lnTo>
                  <a:lnTo>
                    <a:pt x="3211" y="706"/>
                  </a:lnTo>
                  <a:lnTo>
                    <a:pt x="3222" y="710"/>
                  </a:lnTo>
                  <a:lnTo>
                    <a:pt x="3232" y="715"/>
                  </a:lnTo>
                  <a:lnTo>
                    <a:pt x="3241" y="721"/>
                  </a:lnTo>
                  <a:lnTo>
                    <a:pt x="3250" y="728"/>
                  </a:lnTo>
                  <a:lnTo>
                    <a:pt x="3259" y="737"/>
                  </a:lnTo>
                  <a:lnTo>
                    <a:pt x="3268" y="746"/>
                  </a:lnTo>
                  <a:lnTo>
                    <a:pt x="3275" y="758"/>
                  </a:lnTo>
                  <a:lnTo>
                    <a:pt x="3282" y="769"/>
                  </a:lnTo>
                  <a:lnTo>
                    <a:pt x="3289" y="782"/>
                  </a:lnTo>
                  <a:lnTo>
                    <a:pt x="3294" y="796"/>
                  </a:lnTo>
                  <a:lnTo>
                    <a:pt x="3529" y="1433"/>
                  </a:lnTo>
                  <a:lnTo>
                    <a:pt x="3530" y="1438"/>
                  </a:lnTo>
                  <a:lnTo>
                    <a:pt x="3531" y="1443"/>
                  </a:lnTo>
                  <a:lnTo>
                    <a:pt x="3532" y="1449"/>
                  </a:lnTo>
                  <a:lnTo>
                    <a:pt x="3532" y="1454"/>
                  </a:lnTo>
                  <a:lnTo>
                    <a:pt x="3531" y="1459"/>
                  </a:lnTo>
                  <a:lnTo>
                    <a:pt x="3530" y="1464"/>
                  </a:lnTo>
                  <a:lnTo>
                    <a:pt x="3529" y="1469"/>
                  </a:lnTo>
                  <a:lnTo>
                    <a:pt x="3527" y="1474"/>
                  </a:lnTo>
                  <a:lnTo>
                    <a:pt x="3525" y="1478"/>
                  </a:lnTo>
                  <a:lnTo>
                    <a:pt x="3522" y="1483"/>
                  </a:lnTo>
                  <a:lnTo>
                    <a:pt x="3518" y="1487"/>
                  </a:lnTo>
                  <a:lnTo>
                    <a:pt x="3515" y="1490"/>
                  </a:lnTo>
                  <a:lnTo>
                    <a:pt x="3510" y="1493"/>
                  </a:lnTo>
                  <a:lnTo>
                    <a:pt x="3506" y="1495"/>
                  </a:lnTo>
                  <a:lnTo>
                    <a:pt x="3501" y="1497"/>
                  </a:lnTo>
                  <a:lnTo>
                    <a:pt x="3494" y="1498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295610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Вертикальный заголовок и текст"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3"/>
          <p:cNvSpPr>
            <a:spLocks noChangeAspect="1" noChangeArrowheads="1" noTextEdit="1"/>
          </p:cNvSpPr>
          <p:nvPr userDrawn="1"/>
        </p:nvSpPr>
        <p:spPr bwMode="auto">
          <a:xfrm>
            <a:off x="1910701" y="1639888"/>
            <a:ext cx="7995311" cy="521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Freeform 6"/>
          <p:cNvSpPr>
            <a:spLocks/>
          </p:cNvSpPr>
          <p:nvPr userDrawn="1"/>
        </p:nvSpPr>
        <p:spPr bwMode="auto">
          <a:xfrm>
            <a:off x="7334927" y="3109913"/>
            <a:ext cx="797983" cy="1746250"/>
          </a:xfrm>
          <a:custGeom>
            <a:avLst/>
            <a:gdLst>
              <a:gd name="T0" fmla="*/ 1858 w 1858"/>
              <a:gd name="T1" fmla="*/ 4402 h 4402"/>
              <a:gd name="T2" fmla="*/ 382 w 1858"/>
              <a:gd name="T3" fmla="*/ 3832 h 4402"/>
              <a:gd name="T4" fmla="*/ 353 w 1858"/>
              <a:gd name="T5" fmla="*/ 3820 h 4402"/>
              <a:gd name="T6" fmla="*/ 327 w 1858"/>
              <a:gd name="T7" fmla="*/ 3807 h 4402"/>
              <a:gd name="T8" fmla="*/ 300 w 1858"/>
              <a:gd name="T9" fmla="*/ 3794 h 4402"/>
              <a:gd name="T10" fmla="*/ 276 w 1858"/>
              <a:gd name="T11" fmla="*/ 3782 h 4402"/>
              <a:gd name="T12" fmla="*/ 251 w 1858"/>
              <a:gd name="T13" fmla="*/ 3768 h 4402"/>
              <a:gd name="T14" fmla="*/ 229 w 1858"/>
              <a:gd name="T15" fmla="*/ 3753 h 4402"/>
              <a:gd name="T16" fmla="*/ 207 w 1858"/>
              <a:gd name="T17" fmla="*/ 3737 h 4402"/>
              <a:gd name="T18" fmla="*/ 187 w 1858"/>
              <a:gd name="T19" fmla="*/ 3721 h 4402"/>
              <a:gd name="T20" fmla="*/ 167 w 1858"/>
              <a:gd name="T21" fmla="*/ 3705 h 4402"/>
              <a:gd name="T22" fmla="*/ 150 w 1858"/>
              <a:gd name="T23" fmla="*/ 3689 h 4402"/>
              <a:gd name="T24" fmla="*/ 133 w 1858"/>
              <a:gd name="T25" fmla="*/ 3671 h 4402"/>
              <a:gd name="T26" fmla="*/ 116 w 1858"/>
              <a:gd name="T27" fmla="*/ 3653 h 4402"/>
              <a:gd name="T28" fmla="*/ 101 w 1858"/>
              <a:gd name="T29" fmla="*/ 3635 h 4402"/>
              <a:gd name="T30" fmla="*/ 87 w 1858"/>
              <a:gd name="T31" fmla="*/ 3615 h 4402"/>
              <a:gd name="T32" fmla="*/ 74 w 1858"/>
              <a:gd name="T33" fmla="*/ 3597 h 4402"/>
              <a:gd name="T34" fmla="*/ 63 w 1858"/>
              <a:gd name="T35" fmla="*/ 3577 h 4402"/>
              <a:gd name="T36" fmla="*/ 52 w 1858"/>
              <a:gd name="T37" fmla="*/ 3557 h 4402"/>
              <a:gd name="T38" fmla="*/ 43 w 1858"/>
              <a:gd name="T39" fmla="*/ 3536 h 4402"/>
              <a:gd name="T40" fmla="*/ 34 w 1858"/>
              <a:gd name="T41" fmla="*/ 3515 h 4402"/>
              <a:gd name="T42" fmla="*/ 27 w 1858"/>
              <a:gd name="T43" fmla="*/ 3495 h 4402"/>
              <a:gd name="T44" fmla="*/ 20 w 1858"/>
              <a:gd name="T45" fmla="*/ 3472 h 4402"/>
              <a:gd name="T46" fmla="*/ 14 w 1858"/>
              <a:gd name="T47" fmla="*/ 3452 h 4402"/>
              <a:gd name="T48" fmla="*/ 9 w 1858"/>
              <a:gd name="T49" fmla="*/ 3429 h 4402"/>
              <a:gd name="T50" fmla="*/ 6 w 1858"/>
              <a:gd name="T51" fmla="*/ 3406 h 4402"/>
              <a:gd name="T52" fmla="*/ 4 w 1858"/>
              <a:gd name="T53" fmla="*/ 3384 h 4402"/>
              <a:gd name="T54" fmla="*/ 1 w 1858"/>
              <a:gd name="T55" fmla="*/ 3361 h 4402"/>
              <a:gd name="T56" fmla="*/ 0 w 1858"/>
              <a:gd name="T57" fmla="*/ 3338 h 4402"/>
              <a:gd name="T58" fmla="*/ 0 w 1858"/>
              <a:gd name="T59" fmla="*/ 3314 h 4402"/>
              <a:gd name="T60" fmla="*/ 1 w 1858"/>
              <a:gd name="T61" fmla="*/ 3291 h 4402"/>
              <a:gd name="T62" fmla="*/ 4 w 1858"/>
              <a:gd name="T63" fmla="*/ 3267 h 4402"/>
              <a:gd name="T64" fmla="*/ 6 w 1858"/>
              <a:gd name="T65" fmla="*/ 3243 h 4402"/>
              <a:gd name="T66" fmla="*/ 9 w 1858"/>
              <a:gd name="T67" fmla="*/ 3219 h 4402"/>
              <a:gd name="T68" fmla="*/ 546 w 1858"/>
              <a:gd name="T69" fmla="*/ 0 h 4402"/>
              <a:gd name="T70" fmla="*/ 518 w 1858"/>
              <a:gd name="T71" fmla="*/ 3019 h 4402"/>
              <a:gd name="T72" fmla="*/ 520 w 1858"/>
              <a:gd name="T73" fmla="*/ 3047 h 4402"/>
              <a:gd name="T74" fmla="*/ 521 w 1858"/>
              <a:gd name="T75" fmla="*/ 3076 h 4402"/>
              <a:gd name="T76" fmla="*/ 524 w 1858"/>
              <a:gd name="T77" fmla="*/ 3104 h 4402"/>
              <a:gd name="T78" fmla="*/ 529 w 1858"/>
              <a:gd name="T79" fmla="*/ 3132 h 4402"/>
              <a:gd name="T80" fmla="*/ 535 w 1858"/>
              <a:gd name="T81" fmla="*/ 3161 h 4402"/>
              <a:gd name="T82" fmla="*/ 542 w 1858"/>
              <a:gd name="T83" fmla="*/ 3189 h 4402"/>
              <a:gd name="T84" fmla="*/ 550 w 1858"/>
              <a:gd name="T85" fmla="*/ 3217 h 4402"/>
              <a:gd name="T86" fmla="*/ 560 w 1858"/>
              <a:gd name="T87" fmla="*/ 3245 h 4402"/>
              <a:gd name="T88" fmla="*/ 571 w 1858"/>
              <a:gd name="T89" fmla="*/ 3270 h 4402"/>
              <a:gd name="T90" fmla="*/ 584 w 1858"/>
              <a:gd name="T91" fmla="*/ 3297 h 4402"/>
              <a:gd name="T92" fmla="*/ 597 w 1858"/>
              <a:gd name="T93" fmla="*/ 3321 h 4402"/>
              <a:gd name="T94" fmla="*/ 613 w 1858"/>
              <a:gd name="T95" fmla="*/ 3346 h 4402"/>
              <a:gd name="T96" fmla="*/ 629 w 1858"/>
              <a:gd name="T97" fmla="*/ 3369 h 4402"/>
              <a:gd name="T98" fmla="*/ 647 w 1858"/>
              <a:gd name="T99" fmla="*/ 3390 h 4402"/>
              <a:gd name="T100" fmla="*/ 666 w 1858"/>
              <a:gd name="T101" fmla="*/ 3410 h 4402"/>
              <a:gd name="T102" fmla="*/ 687 w 1858"/>
              <a:gd name="T103" fmla="*/ 3428 h 4402"/>
              <a:gd name="T104" fmla="*/ 1858 w 1858"/>
              <a:gd name="T105" fmla="*/ 4402 h 44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858" h="4402">
                <a:moveTo>
                  <a:pt x="1858" y="4402"/>
                </a:moveTo>
                <a:lnTo>
                  <a:pt x="382" y="3832"/>
                </a:lnTo>
                <a:lnTo>
                  <a:pt x="353" y="3820"/>
                </a:lnTo>
                <a:lnTo>
                  <a:pt x="327" y="3807"/>
                </a:lnTo>
                <a:lnTo>
                  <a:pt x="300" y="3794"/>
                </a:lnTo>
                <a:lnTo>
                  <a:pt x="276" y="3782"/>
                </a:lnTo>
                <a:lnTo>
                  <a:pt x="251" y="3768"/>
                </a:lnTo>
                <a:lnTo>
                  <a:pt x="229" y="3753"/>
                </a:lnTo>
                <a:lnTo>
                  <a:pt x="207" y="3737"/>
                </a:lnTo>
                <a:lnTo>
                  <a:pt x="187" y="3721"/>
                </a:lnTo>
                <a:lnTo>
                  <a:pt x="167" y="3705"/>
                </a:lnTo>
                <a:lnTo>
                  <a:pt x="150" y="3689"/>
                </a:lnTo>
                <a:lnTo>
                  <a:pt x="133" y="3671"/>
                </a:lnTo>
                <a:lnTo>
                  <a:pt x="116" y="3653"/>
                </a:lnTo>
                <a:lnTo>
                  <a:pt x="101" y="3635"/>
                </a:lnTo>
                <a:lnTo>
                  <a:pt x="87" y="3615"/>
                </a:lnTo>
                <a:lnTo>
                  <a:pt x="74" y="3597"/>
                </a:lnTo>
                <a:lnTo>
                  <a:pt x="63" y="3577"/>
                </a:lnTo>
                <a:lnTo>
                  <a:pt x="52" y="3557"/>
                </a:lnTo>
                <a:lnTo>
                  <a:pt x="43" y="3536"/>
                </a:lnTo>
                <a:lnTo>
                  <a:pt x="34" y="3515"/>
                </a:lnTo>
                <a:lnTo>
                  <a:pt x="27" y="3495"/>
                </a:lnTo>
                <a:lnTo>
                  <a:pt x="20" y="3472"/>
                </a:lnTo>
                <a:lnTo>
                  <a:pt x="14" y="3452"/>
                </a:lnTo>
                <a:lnTo>
                  <a:pt x="9" y="3429"/>
                </a:lnTo>
                <a:lnTo>
                  <a:pt x="6" y="3406"/>
                </a:lnTo>
                <a:lnTo>
                  <a:pt x="4" y="3384"/>
                </a:lnTo>
                <a:lnTo>
                  <a:pt x="1" y="3361"/>
                </a:lnTo>
                <a:lnTo>
                  <a:pt x="0" y="3338"/>
                </a:lnTo>
                <a:lnTo>
                  <a:pt x="0" y="3314"/>
                </a:lnTo>
                <a:lnTo>
                  <a:pt x="1" y="3291"/>
                </a:lnTo>
                <a:lnTo>
                  <a:pt x="4" y="3267"/>
                </a:lnTo>
                <a:lnTo>
                  <a:pt x="6" y="3243"/>
                </a:lnTo>
                <a:lnTo>
                  <a:pt x="9" y="3219"/>
                </a:lnTo>
                <a:lnTo>
                  <a:pt x="546" y="0"/>
                </a:lnTo>
                <a:lnTo>
                  <a:pt x="518" y="3019"/>
                </a:lnTo>
                <a:lnTo>
                  <a:pt x="520" y="3047"/>
                </a:lnTo>
                <a:lnTo>
                  <a:pt x="521" y="3076"/>
                </a:lnTo>
                <a:lnTo>
                  <a:pt x="524" y="3104"/>
                </a:lnTo>
                <a:lnTo>
                  <a:pt x="529" y="3132"/>
                </a:lnTo>
                <a:lnTo>
                  <a:pt x="535" y="3161"/>
                </a:lnTo>
                <a:lnTo>
                  <a:pt x="542" y="3189"/>
                </a:lnTo>
                <a:lnTo>
                  <a:pt x="550" y="3217"/>
                </a:lnTo>
                <a:lnTo>
                  <a:pt x="560" y="3245"/>
                </a:lnTo>
                <a:lnTo>
                  <a:pt x="571" y="3270"/>
                </a:lnTo>
                <a:lnTo>
                  <a:pt x="584" y="3297"/>
                </a:lnTo>
                <a:lnTo>
                  <a:pt x="597" y="3321"/>
                </a:lnTo>
                <a:lnTo>
                  <a:pt x="613" y="3346"/>
                </a:lnTo>
                <a:lnTo>
                  <a:pt x="629" y="3369"/>
                </a:lnTo>
                <a:lnTo>
                  <a:pt x="647" y="3390"/>
                </a:lnTo>
                <a:lnTo>
                  <a:pt x="666" y="3410"/>
                </a:lnTo>
                <a:lnTo>
                  <a:pt x="687" y="3428"/>
                </a:lnTo>
                <a:lnTo>
                  <a:pt x="1858" y="4402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Freeform 8"/>
          <p:cNvSpPr>
            <a:spLocks/>
          </p:cNvSpPr>
          <p:nvPr userDrawn="1"/>
        </p:nvSpPr>
        <p:spPr bwMode="auto">
          <a:xfrm>
            <a:off x="9257735" y="4125913"/>
            <a:ext cx="648361" cy="900112"/>
          </a:xfrm>
          <a:custGeom>
            <a:avLst/>
            <a:gdLst>
              <a:gd name="T0" fmla="*/ 0 w 1507"/>
              <a:gd name="T1" fmla="*/ 2267 h 2267"/>
              <a:gd name="T2" fmla="*/ 87 w 1507"/>
              <a:gd name="T3" fmla="*/ 687 h 2267"/>
              <a:gd name="T4" fmla="*/ 88 w 1507"/>
              <a:gd name="T5" fmla="*/ 656 h 2267"/>
              <a:gd name="T6" fmla="*/ 91 w 1507"/>
              <a:gd name="T7" fmla="*/ 626 h 2267"/>
              <a:gd name="T8" fmla="*/ 96 w 1507"/>
              <a:gd name="T9" fmla="*/ 598 h 2267"/>
              <a:gd name="T10" fmla="*/ 101 w 1507"/>
              <a:gd name="T11" fmla="*/ 570 h 2267"/>
              <a:gd name="T12" fmla="*/ 106 w 1507"/>
              <a:gd name="T13" fmla="*/ 542 h 2267"/>
              <a:gd name="T14" fmla="*/ 113 w 1507"/>
              <a:gd name="T15" fmla="*/ 516 h 2267"/>
              <a:gd name="T16" fmla="*/ 122 w 1507"/>
              <a:gd name="T17" fmla="*/ 491 h 2267"/>
              <a:gd name="T18" fmla="*/ 131 w 1507"/>
              <a:gd name="T19" fmla="*/ 466 h 2267"/>
              <a:gd name="T20" fmla="*/ 140 w 1507"/>
              <a:gd name="T21" fmla="*/ 443 h 2267"/>
              <a:gd name="T22" fmla="*/ 151 w 1507"/>
              <a:gd name="T23" fmla="*/ 421 h 2267"/>
              <a:gd name="T24" fmla="*/ 162 w 1507"/>
              <a:gd name="T25" fmla="*/ 399 h 2267"/>
              <a:gd name="T26" fmla="*/ 174 w 1507"/>
              <a:gd name="T27" fmla="*/ 378 h 2267"/>
              <a:gd name="T28" fmla="*/ 187 w 1507"/>
              <a:gd name="T29" fmla="*/ 358 h 2267"/>
              <a:gd name="T30" fmla="*/ 201 w 1507"/>
              <a:gd name="T31" fmla="*/ 340 h 2267"/>
              <a:gd name="T32" fmla="*/ 215 w 1507"/>
              <a:gd name="T33" fmla="*/ 322 h 2267"/>
              <a:gd name="T34" fmla="*/ 230 w 1507"/>
              <a:gd name="T35" fmla="*/ 305 h 2267"/>
              <a:gd name="T36" fmla="*/ 246 w 1507"/>
              <a:gd name="T37" fmla="*/ 289 h 2267"/>
              <a:gd name="T38" fmla="*/ 262 w 1507"/>
              <a:gd name="T39" fmla="*/ 272 h 2267"/>
              <a:gd name="T40" fmla="*/ 279 w 1507"/>
              <a:gd name="T41" fmla="*/ 258 h 2267"/>
              <a:gd name="T42" fmla="*/ 297 w 1507"/>
              <a:gd name="T43" fmla="*/ 244 h 2267"/>
              <a:gd name="T44" fmla="*/ 316 w 1507"/>
              <a:gd name="T45" fmla="*/ 232 h 2267"/>
              <a:gd name="T46" fmla="*/ 334 w 1507"/>
              <a:gd name="T47" fmla="*/ 219 h 2267"/>
              <a:gd name="T48" fmla="*/ 354 w 1507"/>
              <a:gd name="T49" fmla="*/ 208 h 2267"/>
              <a:gd name="T50" fmla="*/ 374 w 1507"/>
              <a:gd name="T51" fmla="*/ 198 h 2267"/>
              <a:gd name="T52" fmla="*/ 395 w 1507"/>
              <a:gd name="T53" fmla="*/ 188 h 2267"/>
              <a:gd name="T54" fmla="*/ 416 w 1507"/>
              <a:gd name="T55" fmla="*/ 179 h 2267"/>
              <a:gd name="T56" fmla="*/ 438 w 1507"/>
              <a:gd name="T57" fmla="*/ 171 h 2267"/>
              <a:gd name="T58" fmla="*/ 460 w 1507"/>
              <a:gd name="T59" fmla="*/ 164 h 2267"/>
              <a:gd name="T60" fmla="*/ 483 w 1507"/>
              <a:gd name="T61" fmla="*/ 157 h 2267"/>
              <a:gd name="T62" fmla="*/ 506 w 1507"/>
              <a:gd name="T63" fmla="*/ 152 h 2267"/>
              <a:gd name="T64" fmla="*/ 530 w 1507"/>
              <a:gd name="T65" fmla="*/ 147 h 2267"/>
              <a:gd name="T66" fmla="*/ 554 w 1507"/>
              <a:gd name="T67" fmla="*/ 143 h 2267"/>
              <a:gd name="T68" fmla="*/ 1507 w 1507"/>
              <a:gd name="T69" fmla="*/ 0 h 2267"/>
              <a:gd name="T70" fmla="*/ 1507 w 1507"/>
              <a:gd name="T71" fmla="*/ 375 h 2267"/>
              <a:gd name="T72" fmla="*/ 900 w 1507"/>
              <a:gd name="T73" fmla="*/ 565 h 2267"/>
              <a:gd name="T74" fmla="*/ 875 w 1507"/>
              <a:gd name="T75" fmla="*/ 575 h 2267"/>
              <a:gd name="T76" fmla="*/ 848 w 1507"/>
              <a:gd name="T77" fmla="*/ 585 h 2267"/>
              <a:gd name="T78" fmla="*/ 822 w 1507"/>
              <a:gd name="T79" fmla="*/ 597 h 2267"/>
              <a:gd name="T80" fmla="*/ 796 w 1507"/>
              <a:gd name="T81" fmla="*/ 609 h 2267"/>
              <a:gd name="T82" fmla="*/ 771 w 1507"/>
              <a:gd name="T83" fmla="*/ 625 h 2267"/>
              <a:gd name="T84" fmla="*/ 747 w 1507"/>
              <a:gd name="T85" fmla="*/ 640 h 2267"/>
              <a:gd name="T86" fmla="*/ 722 w 1507"/>
              <a:gd name="T87" fmla="*/ 656 h 2267"/>
              <a:gd name="T88" fmla="*/ 699 w 1507"/>
              <a:gd name="T89" fmla="*/ 675 h 2267"/>
              <a:gd name="T90" fmla="*/ 678 w 1507"/>
              <a:gd name="T91" fmla="*/ 693 h 2267"/>
              <a:gd name="T92" fmla="*/ 657 w 1507"/>
              <a:gd name="T93" fmla="*/ 713 h 2267"/>
              <a:gd name="T94" fmla="*/ 638 w 1507"/>
              <a:gd name="T95" fmla="*/ 734 h 2267"/>
              <a:gd name="T96" fmla="*/ 619 w 1507"/>
              <a:gd name="T97" fmla="*/ 756 h 2267"/>
              <a:gd name="T98" fmla="*/ 603 w 1507"/>
              <a:gd name="T99" fmla="*/ 779 h 2267"/>
              <a:gd name="T100" fmla="*/ 588 w 1507"/>
              <a:gd name="T101" fmla="*/ 802 h 2267"/>
              <a:gd name="T102" fmla="*/ 575 w 1507"/>
              <a:gd name="T103" fmla="*/ 827 h 2267"/>
              <a:gd name="T104" fmla="*/ 563 w 1507"/>
              <a:gd name="T105" fmla="*/ 852 h 2267"/>
              <a:gd name="T106" fmla="*/ 0 w 1507"/>
              <a:gd name="T107" fmla="*/ 2267 h 22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507" h="2267">
                <a:moveTo>
                  <a:pt x="0" y="2267"/>
                </a:moveTo>
                <a:lnTo>
                  <a:pt x="87" y="687"/>
                </a:lnTo>
                <a:lnTo>
                  <a:pt x="88" y="656"/>
                </a:lnTo>
                <a:lnTo>
                  <a:pt x="91" y="626"/>
                </a:lnTo>
                <a:lnTo>
                  <a:pt x="96" y="598"/>
                </a:lnTo>
                <a:lnTo>
                  <a:pt x="101" y="570"/>
                </a:lnTo>
                <a:lnTo>
                  <a:pt x="106" y="542"/>
                </a:lnTo>
                <a:lnTo>
                  <a:pt x="113" y="516"/>
                </a:lnTo>
                <a:lnTo>
                  <a:pt x="122" y="491"/>
                </a:lnTo>
                <a:lnTo>
                  <a:pt x="131" y="466"/>
                </a:lnTo>
                <a:lnTo>
                  <a:pt x="140" y="443"/>
                </a:lnTo>
                <a:lnTo>
                  <a:pt x="151" y="421"/>
                </a:lnTo>
                <a:lnTo>
                  <a:pt x="162" y="399"/>
                </a:lnTo>
                <a:lnTo>
                  <a:pt x="174" y="378"/>
                </a:lnTo>
                <a:lnTo>
                  <a:pt x="187" y="358"/>
                </a:lnTo>
                <a:lnTo>
                  <a:pt x="201" y="340"/>
                </a:lnTo>
                <a:lnTo>
                  <a:pt x="215" y="322"/>
                </a:lnTo>
                <a:lnTo>
                  <a:pt x="230" y="305"/>
                </a:lnTo>
                <a:lnTo>
                  <a:pt x="246" y="289"/>
                </a:lnTo>
                <a:lnTo>
                  <a:pt x="262" y="272"/>
                </a:lnTo>
                <a:lnTo>
                  <a:pt x="279" y="258"/>
                </a:lnTo>
                <a:lnTo>
                  <a:pt x="297" y="244"/>
                </a:lnTo>
                <a:lnTo>
                  <a:pt x="316" y="232"/>
                </a:lnTo>
                <a:lnTo>
                  <a:pt x="334" y="219"/>
                </a:lnTo>
                <a:lnTo>
                  <a:pt x="354" y="208"/>
                </a:lnTo>
                <a:lnTo>
                  <a:pt x="374" y="198"/>
                </a:lnTo>
                <a:lnTo>
                  <a:pt x="395" y="188"/>
                </a:lnTo>
                <a:lnTo>
                  <a:pt x="416" y="179"/>
                </a:lnTo>
                <a:lnTo>
                  <a:pt x="438" y="171"/>
                </a:lnTo>
                <a:lnTo>
                  <a:pt x="460" y="164"/>
                </a:lnTo>
                <a:lnTo>
                  <a:pt x="483" y="157"/>
                </a:lnTo>
                <a:lnTo>
                  <a:pt x="506" y="152"/>
                </a:lnTo>
                <a:lnTo>
                  <a:pt x="530" y="147"/>
                </a:lnTo>
                <a:lnTo>
                  <a:pt x="554" y="143"/>
                </a:lnTo>
                <a:lnTo>
                  <a:pt x="1507" y="0"/>
                </a:lnTo>
                <a:lnTo>
                  <a:pt x="1507" y="375"/>
                </a:lnTo>
                <a:lnTo>
                  <a:pt x="900" y="565"/>
                </a:lnTo>
                <a:lnTo>
                  <a:pt x="875" y="575"/>
                </a:lnTo>
                <a:lnTo>
                  <a:pt x="848" y="585"/>
                </a:lnTo>
                <a:lnTo>
                  <a:pt x="822" y="597"/>
                </a:lnTo>
                <a:lnTo>
                  <a:pt x="796" y="609"/>
                </a:lnTo>
                <a:lnTo>
                  <a:pt x="771" y="625"/>
                </a:lnTo>
                <a:lnTo>
                  <a:pt x="747" y="640"/>
                </a:lnTo>
                <a:lnTo>
                  <a:pt x="722" y="656"/>
                </a:lnTo>
                <a:lnTo>
                  <a:pt x="699" y="675"/>
                </a:lnTo>
                <a:lnTo>
                  <a:pt x="678" y="693"/>
                </a:lnTo>
                <a:lnTo>
                  <a:pt x="657" y="713"/>
                </a:lnTo>
                <a:lnTo>
                  <a:pt x="638" y="734"/>
                </a:lnTo>
                <a:lnTo>
                  <a:pt x="619" y="756"/>
                </a:lnTo>
                <a:lnTo>
                  <a:pt x="603" y="779"/>
                </a:lnTo>
                <a:lnTo>
                  <a:pt x="588" y="802"/>
                </a:lnTo>
                <a:lnTo>
                  <a:pt x="575" y="827"/>
                </a:lnTo>
                <a:lnTo>
                  <a:pt x="563" y="852"/>
                </a:lnTo>
                <a:lnTo>
                  <a:pt x="0" y="2267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1" name="Freeform 10"/>
          <p:cNvSpPr>
            <a:spLocks/>
          </p:cNvSpPr>
          <p:nvPr userDrawn="1"/>
        </p:nvSpPr>
        <p:spPr bwMode="auto">
          <a:xfrm>
            <a:off x="9433058" y="5940425"/>
            <a:ext cx="472942" cy="144462"/>
          </a:xfrm>
          <a:custGeom>
            <a:avLst/>
            <a:gdLst>
              <a:gd name="T0" fmla="*/ 0 w 1098"/>
              <a:gd name="T1" fmla="*/ 298 h 363"/>
              <a:gd name="T2" fmla="*/ 1098 w 1098"/>
              <a:gd name="T3" fmla="*/ 0 h 363"/>
              <a:gd name="T4" fmla="*/ 1098 w 1098"/>
              <a:gd name="T5" fmla="*/ 363 h 363"/>
              <a:gd name="T6" fmla="*/ 0 w 1098"/>
              <a:gd name="T7" fmla="*/ 298 h 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98" h="363">
                <a:moveTo>
                  <a:pt x="0" y="298"/>
                </a:moveTo>
                <a:lnTo>
                  <a:pt x="1098" y="0"/>
                </a:lnTo>
                <a:lnTo>
                  <a:pt x="1098" y="363"/>
                </a:lnTo>
                <a:lnTo>
                  <a:pt x="0" y="298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3" name="Freeform 12"/>
          <p:cNvSpPr>
            <a:spLocks/>
          </p:cNvSpPr>
          <p:nvPr userDrawn="1"/>
        </p:nvSpPr>
        <p:spPr bwMode="auto">
          <a:xfrm>
            <a:off x="8415037" y="6537504"/>
            <a:ext cx="223573" cy="320675"/>
          </a:xfrm>
          <a:custGeom>
            <a:avLst/>
            <a:gdLst>
              <a:gd name="T0" fmla="*/ 0 w 520"/>
              <a:gd name="T1" fmla="*/ 0 h 807"/>
              <a:gd name="T2" fmla="*/ 520 w 520"/>
              <a:gd name="T3" fmla="*/ 807 h 807"/>
              <a:gd name="T4" fmla="*/ 205 w 520"/>
              <a:gd name="T5" fmla="*/ 807 h 807"/>
              <a:gd name="T6" fmla="*/ 0 w 520"/>
              <a:gd name="T7" fmla="*/ 0 h 8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20" h="807">
                <a:moveTo>
                  <a:pt x="0" y="0"/>
                </a:moveTo>
                <a:lnTo>
                  <a:pt x="520" y="807"/>
                </a:lnTo>
                <a:lnTo>
                  <a:pt x="205" y="807"/>
                </a:lnTo>
                <a:lnTo>
                  <a:pt x="0" y="0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5" name="Freeform 14"/>
          <p:cNvSpPr>
            <a:spLocks/>
          </p:cNvSpPr>
          <p:nvPr userDrawn="1"/>
        </p:nvSpPr>
        <p:spPr bwMode="auto">
          <a:xfrm>
            <a:off x="5637492" y="5753100"/>
            <a:ext cx="1974321" cy="620712"/>
          </a:xfrm>
          <a:custGeom>
            <a:avLst/>
            <a:gdLst>
              <a:gd name="T0" fmla="*/ 4593 w 4593"/>
              <a:gd name="T1" fmla="*/ 102 h 1567"/>
              <a:gd name="T2" fmla="*/ 3597 w 4593"/>
              <a:gd name="T3" fmla="*/ 1332 h 1567"/>
              <a:gd name="T4" fmla="*/ 3577 w 4593"/>
              <a:gd name="T5" fmla="*/ 1355 h 1567"/>
              <a:gd name="T6" fmla="*/ 3558 w 4593"/>
              <a:gd name="T7" fmla="*/ 1379 h 1567"/>
              <a:gd name="T8" fmla="*/ 3538 w 4593"/>
              <a:gd name="T9" fmla="*/ 1399 h 1567"/>
              <a:gd name="T10" fmla="*/ 3517 w 4593"/>
              <a:gd name="T11" fmla="*/ 1418 h 1567"/>
              <a:gd name="T12" fmla="*/ 3496 w 4593"/>
              <a:gd name="T13" fmla="*/ 1437 h 1567"/>
              <a:gd name="T14" fmla="*/ 3475 w 4593"/>
              <a:gd name="T15" fmla="*/ 1454 h 1567"/>
              <a:gd name="T16" fmla="*/ 3454 w 4593"/>
              <a:gd name="T17" fmla="*/ 1470 h 1567"/>
              <a:gd name="T18" fmla="*/ 3433 w 4593"/>
              <a:gd name="T19" fmla="*/ 1484 h 1567"/>
              <a:gd name="T20" fmla="*/ 3411 w 4593"/>
              <a:gd name="T21" fmla="*/ 1498 h 1567"/>
              <a:gd name="T22" fmla="*/ 3390 w 4593"/>
              <a:gd name="T23" fmla="*/ 1510 h 1567"/>
              <a:gd name="T24" fmla="*/ 3368 w 4593"/>
              <a:gd name="T25" fmla="*/ 1520 h 1567"/>
              <a:gd name="T26" fmla="*/ 3346 w 4593"/>
              <a:gd name="T27" fmla="*/ 1531 h 1567"/>
              <a:gd name="T28" fmla="*/ 3324 w 4593"/>
              <a:gd name="T29" fmla="*/ 1539 h 1567"/>
              <a:gd name="T30" fmla="*/ 3302 w 4593"/>
              <a:gd name="T31" fmla="*/ 1546 h 1567"/>
              <a:gd name="T32" fmla="*/ 3280 w 4593"/>
              <a:gd name="T33" fmla="*/ 1553 h 1567"/>
              <a:gd name="T34" fmla="*/ 3258 w 4593"/>
              <a:gd name="T35" fmla="*/ 1558 h 1567"/>
              <a:gd name="T36" fmla="*/ 3236 w 4593"/>
              <a:gd name="T37" fmla="*/ 1562 h 1567"/>
              <a:gd name="T38" fmla="*/ 3212 w 4593"/>
              <a:gd name="T39" fmla="*/ 1565 h 1567"/>
              <a:gd name="T40" fmla="*/ 3190 w 4593"/>
              <a:gd name="T41" fmla="*/ 1567 h 1567"/>
              <a:gd name="T42" fmla="*/ 3168 w 4593"/>
              <a:gd name="T43" fmla="*/ 1567 h 1567"/>
              <a:gd name="T44" fmla="*/ 3145 w 4593"/>
              <a:gd name="T45" fmla="*/ 1567 h 1567"/>
              <a:gd name="T46" fmla="*/ 3123 w 4593"/>
              <a:gd name="T47" fmla="*/ 1566 h 1567"/>
              <a:gd name="T48" fmla="*/ 3101 w 4593"/>
              <a:gd name="T49" fmla="*/ 1563 h 1567"/>
              <a:gd name="T50" fmla="*/ 3078 w 4593"/>
              <a:gd name="T51" fmla="*/ 1560 h 1567"/>
              <a:gd name="T52" fmla="*/ 3055 w 4593"/>
              <a:gd name="T53" fmla="*/ 1555 h 1567"/>
              <a:gd name="T54" fmla="*/ 3033 w 4593"/>
              <a:gd name="T55" fmla="*/ 1551 h 1567"/>
              <a:gd name="T56" fmla="*/ 3010 w 4593"/>
              <a:gd name="T57" fmla="*/ 1544 h 1567"/>
              <a:gd name="T58" fmla="*/ 2988 w 4593"/>
              <a:gd name="T59" fmla="*/ 1537 h 1567"/>
              <a:gd name="T60" fmla="*/ 2966 w 4593"/>
              <a:gd name="T61" fmla="*/ 1528 h 1567"/>
              <a:gd name="T62" fmla="*/ 2944 w 4593"/>
              <a:gd name="T63" fmla="*/ 1519 h 1567"/>
              <a:gd name="T64" fmla="*/ 2922 w 4593"/>
              <a:gd name="T65" fmla="*/ 1510 h 1567"/>
              <a:gd name="T66" fmla="*/ 2900 w 4593"/>
              <a:gd name="T67" fmla="*/ 1499 h 1567"/>
              <a:gd name="T68" fmla="*/ 0 w 4593"/>
              <a:gd name="T69" fmla="*/ 0 h 1567"/>
              <a:gd name="T70" fmla="*/ 2867 w 4593"/>
              <a:gd name="T71" fmla="*/ 953 h 1567"/>
              <a:gd name="T72" fmla="*/ 2893 w 4593"/>
              <a:gd name="T73" fmla="*/ 961 h 1567"/>
              <a:gd name="T74" fmla="*/ 2921 w 4593"/>
              <a:gd name="T75" fmla="*/ 968 h 1567"/>
              <a:gd name="T76" fmla="*/ 2949 w 4593"/>
              <a:gd name="T77" fmla="*/ 974 h 1567"/>
              <a:gd name="T78" fmla="*/ 2978 w 4593"/>
              <a:gd name="T79" fmla="*/ 979 h 1567"/>
              <a:gd name="T80" fmla="*/ 3005 w 4593"/>
              <a:gd name="T81" fmla="*/ 981 h 1567"/>
              <a:gd name="T82" fmla="*/ 3035 w 4593"/>
              <a:gd name="T83" fmla="*/ 983 h 1567"/>
              <a:gd name="T84" fmla="*/ 3064 w 4593"/>
              <a:gd name="T85" fmla="*/ 983 h 1567"/>
              <a:gd name="T86" fmla="*/ 3093 w 4593"/>
              <a:gd name="T87" fmla="*/ 983 h 1567"/>
              <a:gd name="T88" fmla="*/ 3122 w 4593"/>
              <a:gd name="T89" fmla="*/ 980 h 1567"/>
              <a:gd name="T90" fmla="*/ 3151 w 4593"/>
              <a:gd name="T91" fmla="*/ 976 h 1567"/>
              <a:gd name="T92" fmla="*/ 3179 w 4593"/>
              <a:gd name="T93" fmla="*/ 971 h 1567"/>
              <a:gd name="T94" fmla="*/ 3207 w 4593"/>
              <a:gd name="T95" fmla="*/ 964 h 1567"/>
              <a:gd name="T96" fmla="*/ 3233 w 4593"/>
              <a:gd name="T97" fmla="*/ 956 h 1567"/>
              <a:gd name="T98" fmla="*/ 3259 w 4593"/>
              <a:gd name="T99" fmla="*/ 945 h 1567"/>
              <a:gd name="T100" fmla="*/ 3283 w 4593"/>
              <a:gd name="T101" fmla="*/ 932 h 1567"/>
              <a:gd name="T102" fmla="*/ 3308 w 4593"/>
              <a:gd name="T103" fmla="*/ 918 h 1567"/>
              <a:gd name="T104" fmla="*/ 4593 w 4593"/>
              <a:gd name="T105" fmla="*/ 102 h 15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593" h="1567">
                <a:moveTo>
                  <a:pt x="4593" y="102"/>
                </a:moveTo>
                <a:lnTo>
                  <a:pt x="3597" y="1332"/>
                </a:lnTo>
                <a:lnTo>
                  <a:pt x="3577" y="1355"/>
                </a:lnTo>
                <a:lnTo>
                  <a:pt x="3558" y="1379"/>
                </a:lnTo>
                <a:lnTo>
                  <a:pt x="3538" y="1399"/>
                </a:lnTo>
                <a:lnTo>
                  <a:pt x="3517" y="1418"/>
                </a:lnTo>
                <a:lnTo>
                  <a:pt x="3496" y="1437"/>
                </a:lnTo>
                <a:lnTo>
                  <a:pt x="3475" y="1454"/>
                </a:lnTo>
                <a:lnTo>
                  <a:pt x="3454" y="1470"/>
                </a:lnTo>
                <a:lnTo>
                  <a:pt x="3433" y="1484"/>
                </a:lnTo>
                <a:lnTo>
                  <a:pt x="3411" y="1498"/>
                </a:lnTo>
                <a:lnTo>
                  <a:pt x="3390" y="1510"/>
                </a:lnTo>
                <a:lnTo>
                  <a:pt x="3368" y="1520"/>
                </a:lnTo>
                <a:lnTo>
                  <a:pt x="3346" y="1531"/>
                </a:lnTo>
                <a:lnTo>
                  <a:pt x="3324" y="1539"/>
                </a:lnTo>
                <a:lnTo>
                  <a:pt x="3302" y="1546"/>
                </a:lnTo>
                <a:lnTo>
                  <a:pt x="3280" y="1553"/>
                </a:lnTo>
                <a:lnTo>
                  <a:pt x="3258" y="1558"/>
                </a:lnTo>
                <a:lnTo>
                  <a:pt x="3236" y="1562"/>
                </a:lnTo>
                <a:lnTo>
                  <a:pt x="3212" y="1565"/>
                </a:lnTo>
                <a:lnTo>
                  <a:pt x="3190" y="1567"/>
                </a:lnTo>
                <a:lnTo>
                  <a:pt x="3168" y="1567"/>
                </a:lnTo>
                <a:lnTo>
                  <a:pt x="3145" y="1567"/>
                </a:lnTo>
                <a:lnTo>
                  <a:pt x="3123" y="1566"/>
                </a:lnTo>
                <a:lnTo>
                  <a:pt x="3101" y="1563"/>
                </a:lnTo>
                <a:lnTo>
                  <a:pt x="3078" y="1560"/>
                </a:lnTo>
                <a:lnTo>
                  <a:pt x="3055" y="1555"/>
                </a:lnTo>
                <a:lnTo>
                  <a:pt x="3033" y="1551"/>
                </a:lnTo>
                <a:lnTo>
                  <a:pt x="3010" y="1544"/>
                </a:lnTo>
                <a:lnTo>
                  <a:pt x="2988" y="1537"/>
                </a:lnTo>
                <a:lnTo>
                  <a:pt x="2966" y="1528"/>
                </a:lnTo>
                <a:lnTo>
                  <a:pt x="2944" y="1519"/>
                </a:lnTo>
                <a:lnTo>
                  <a:pt x="2922" y="1510"/>
                </a:lnTo>
                <a:lnTo>
                  <a:pt x="2900" y="1499"/>
                </a:lnTo>
                <a:lnTo>
                  <a:pt x="0" y="0"/>
                </a:lnTo>
                <a:lnTo>
                  <a:pt x="2867" y="953"/>
                </a:lnTo>
                <a:lnTo>
                  <a:pt x="2893" y="961"/>
                </a:lnTo>
                <a:lnTo>
                  <a:pt x="2921" y="968"/>
                </a:lnTo>
                <a:lnTo>
                  <a:pt x="2949" y="974"/>
                </a:lnTo>
                <a:lnTo>
                  <a:pt x="2978" y="979"/>
                </a:lnTo>
                <a:lnTo>
                  <a:pt x="3005" y="981"/>
                </a:lnTo>
                <a:lnTo>
                  <a:pt x="3035" y="983"/>
                </a:lnTo>
                <a:lnTo>
                  <a:pt x="3064" y="983"/>
                </a:lnTo>
                <a:lnTo>
                  <a:pt x="3093" y="983"/>
                </a:lnTo>
                <a:lnTo>
                  <a:pt x="3122" y="980"/>
                </a:lnTo>
                <a:lnTo>
                  <a:pt x="3151" y="976"/>
                </a:lnTo>
                <a:lnTo>
                  <a:pt x="3179" y="971"/>
                </a:lnTo>
                <a:lnTo>
                  <a:pt x="3207" y="964"/>
                </a:lnTo>
                <a:lnTo>
                  <a:pt x="3233" y="956"/>
                </a:lnTo>
                <a:lnTo>
                  <a:pt x="3259" y="945"/>
                </a:lnTo>
                <a:lnTo>
                  <a:pt x="3283" y="932"/>
                </a:lnTo>
                <a:lnTo>
                  <a:pt x="3308" y="918"/>
                </a:lnTo>
                <a:lnTo>
                  <a:pt x="4593" y="102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Freeform 5"/>
          <p:cNvSpPr>
            <a:spLocks/>
          </p:cNvSpPr>
          <p:nvPr userDrawn="1"/>
        </p:nvSpPr>
        <p:spPr bwMode="auto">
          <a:xfrm>
            <a:off x="7334912" y="2886077"/>
            <a:ext cx="1719792" cy="2135187"/>
          </a:xfrm>
          <a:custGeom>
            <a:avLst/>
            <a:gdLst>
              <a:gd name="T0" fmla="*/ 3159 w 4000"/>
              <a:gd name="T1" fmla="*/ 5238 h 5382"/>
              <a:gd name="T2" fmla="*/ 3155 w 4000"/>
              <a:gd name="T3" fmla="*/ 5259 h 5382"/>
              <a:gd name="T4" fmla="*/ 3146 w 4000"/>
              <a:gd name="T5" fmla="*/ 5280 h 5382"/>
              <a:gd name="T6" fmla="*/ 3137 w 4000"/>
              <a:gd name="T7" fmla="*/ 5299 h 5382"/>
              <a:gd name="T8" fmla="*/ 3126 w 4000"/>
              <a:gd name="T9" fmla="*/ 5315 h 5382"/>
              <a:gd name="T10" fmla="*/ 3113 w 4000"/>
              <a:gd name="T11" fmla="*/ 5330 h 5382"/>
              <a:gd name="T12" fmla="*/ 3098 w 4000"/>
              <a:gd name="T13" fmla="*/ 5343 h 5382"/>
              <a:gd name="T14" fmla="*/ 3064 w 4000"/>
              <a:gd name="T15" fmla="*/ 5364 h 5382"/>
              <a:gd name="T16" fmla="*/ 3024 w 4000"/>
              <a:gd name="T17" fmla="*/ 5378 h 5382"/>
              <a:gd name="T18" fmla="*/ 2984 w 4000"/>
              <a:gd name="T19" fmla="*/ 5382 h 5382"/>
              <a:gd name="T20" fmla="*/ 2941 w 4000"/>
              <a:gd name="T21" fmla="*/ 5380 h 5382"/>
              <a:gd name="T22" fmla="*/ 2898 w 4000"/>
              <a:gd name="T23" fmla="*/ 5368 h 5382"/>
              <a:gd name="T24" fmla="*/ 354 w 4000"/>
              <a:gd name="T25" fmla="*/ 4384 h 5382"/>
              <a:gd name="T26" fmla="*/ 300 w 4000"/>
              <a:gd name="T27" fmla="*/ 4358 h 5382"/>
              <a:gd name="T28" fmla="*/ 250 w 4000"/>
              <a:gd name="T29" fmla="*/ 4332 h 5382"/>
              <a:gd name="T30" fmla="*/ 206 w 4000"/>
              <a:gd name="T31" fmla="*/ 4301 h 5382"/>
              <a:gd name="T32" fmla="*/ 166 w 4000"/>
              <a:gd name="T33" fmla="*/ 4269 h 5382"/>
              <a:gd name="T34" fmla="*/ 132 w 4000"/>
              <a:gd name="T35" fmla="*/ 4235 h 5382"/>
              <a:gd name="T36" fmla="*/ 100 w 4000"/>
              <a:gd name="T37" fmla="*/ 4198 h 5382"/>
              <a:gd name="T38" fmla="*/ 75 w 4000"/>
              <a:gd name="T39" fmla="*/ 4161 h 5382"/>
              <a:gd name="T40" fmla="*/ 51 w 4000"/>
              <a:gd name="T41" fmla="*/ 4121 h 5382"/>
              <a:gd name="T42" fmla="*/ 34 w 4000"/>
              <a:gd name="T43" fmla="*/ 4079 h 5382"/>
              <a:gd name="T44" fmla="*/ 19 w 4000"/>
              <a:gd name="T45" fmla="*/ 4036 h 5382"/>
              <a:gd name="T46" fmla="*/ 8 w 4000"/>
              <a:gd name="T47" fmla="*/ 3993 h 5382"/>
              <a:gd name="T48" fmla="*/ 3 w 4000"/>
              <a:gd name="T49" fmla="*/ 3948 h 5382"/>
              <a:gd name="T50" fmla="*/ 0 w 4000"/>
              <a:gd name="T51" fmla="*/ 3902 h 5382"/>
              <a:gd name="T52" fmla="*/ 0 w 4000"/>
              <a:gd name="T53" fmla="*/ 3855 h 5382"/>
              <a:gd name="T54" fmla="*/ 5 w 4000"/>
              <a:gd name="T55" fmla="*/ 3807 h 5382"/>
              <a:gd name="T56" fmla="*/ 545 w 4000"/>
              <a:gd name="T57" fmla="*/ 564 h 5382"/>
              <a:gd name="T58" fmla="*/ 555 w 4000"/>
              <a:gd name="T59" fmla="*/ 516 h 5382"/>
              <a:gd name="T60" fmla="*/ 567 w 4000"/>
              <a:gd name="T61" fmla="*/ 471 h 5382"/>
              <a:gd name="T62" fmla="*/ 583 w 4000"/>
              <a:gd name="T63" fmla="*/ 427 h 5382"/>
              <a:gd name="T64" fmla="*/ 602 w 4000"/>
              <a:gd name="T65" fmla="*/ 385 h 5382"/>
              <a:gd name="T66" fmla="*/ 624 w 4000"/>
              <a:gd name="T67" fmla="*/ 345 h 5382"/>
              <a:gd name="T68" fmla="*/ 650 w 4000"/>
              <a:gd name="T69" fmla="*/ 308 h 5382"/>
              <a:gd name="T70" fmla="*/ 679 w 4000"/>
              <a:gd name="T71" fmla="*/ 274 h 5382"/>
              <a:gd name="T72" fmla="*/ 712 w 4000"/>
              <a:gd name="T73" fmla="*/ 242 h 5382"/>
              <a:gd name="T74" fmla="*/ 746 w 4000"/>
              <a:gd name="T75" fmla="*/ 214 h 5382"/>
              <a:gd name="T76" fmla="*/ 786 w 4000"/>
              <a:gd name="T77" fmla="*/ 187 h 5382"/>
              <a:gd name="T78" fmla="*/ 829 w 4000"/>
              <a:gd name="T79" fmla="*/ 165 h 5382"/>
              <a:gd name="T80" fmla="*/ 875 w 4000"/>
              <a:gd name="T81" fmla="*/ 145 h 5382"/>
              <a:gd name="T82" fmla="*/ 924 w 4000"/>
              <a:gd name="T83" fmla="*/ 130 h 5382"/>
              <a:gd name="T84" fmla="*/ 978 w 4000"/>
              <a:gd name="T85" fmla="*/ 117 h 5382"/>
              <a:gd name="T86" fmla="*/ 1035 w 4000"/>
              <a:gd name="T87" fmla="*/ 109 h 5382"/>
              <a:gd name="T88" fmla="*/ 1096 w 4000"/>
              <a:gd name="T89" fmla="*/ 105 h 5382"/>
              <a:gd name="T90" fmla="*/ 3814 w 4000"/>
              <a:gd name="T91" fmla="*/ 0 h 5382"/>
              <a:gd name="T92" fmla="*/ 3857 w 4000"/>
              <a:gd name="T93" fmla="*/ 7 h 5382"/>
              <a:gd name="T94" fmla="*/ 3897 w 4000"/>
              <a:gd name="T95" fmla="*/ 22 h 5382"/>
              <a:gd name="T96" fmla="*/ 3932 w 4000"/>
              <a:gd name="T97" fmla="*/ 44 h 5382"/>
              <a:gd name="T98" fmla="*/ 3960 w 4000"/>
              <a:gd name="T99" fmla="*/ 72 h 5382"/>
              <a:gd name="T100" fmla="*/ 3977 w 4000"/>
              <a:gd name="T101" fmla="*/ 97 h 5382"/>
              <a:gd name="T102" fmla="*/ 3987 w 4000"/>
              <a:gd name="T103" fmla="*/ 115 h 5382"/>
              <a:gd name="T104" fmla="*/ 3993 w 4000"/>
              <a:gd name="T105" fmla="*/ 134 h 5382"/>
              <a:gd name="T106" fmla="*/ 3997 w 4000"/>
              <a:gd name="T107" fmla="*/ 154 h 5382"/>
              <a:gd name="T108" fmla="*/ 4000 w 4000"/>
              <a:gd name="T109" fmla="*/ 174 h 5382"/>
              <a:gd name="T110" fmla="*/ 3998 w 4000"/>
              <a:gd name="T111" fmla="*/ 197 h 5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000" h="5382">
                <a:moveTo>
                  <a:pt x="3997" y="207"/>
                </a:moveTo>
                <a:lnTo>
                  <a:pt x="3159" y="5238"/>
                </a:lnTo>
                <a:lnTo>
                  <a:pt x="3157" y="5249"/>
                </a:lnTo>
                <a:lnTo>
                  <a:pt x="3155" y="5259"/>
                </a:lnTo>
                <a:lnTo>
                  <a:pt x="3151" y="5270"/>
                </a:lnTo>
                <a:lnTo>
                  <a:pt x="3146" y="5280"/>
                </a:lnTo>
                <a:lnTo>
                  <a:pt x="3143" y="5289"/>
                </a:lnTo>
                <a:lnTo>
                  <a:pt x="3137" y="5299"/>
                </a:lnTo>
                <a:lnTo>
                  <a:pt x="3132" y="5307"/>
                </a:lnTo>
                <a:lnTo>
                  <a:pt x="3126" y="5315"/>
                </a:lnTo>
                <a:lnTo>
                  <a:pt x="3120" y="5323"/>
                </a:lnTo>
                <a:lnTo>
                  <a:pt x="3113" y="5330"/>
                </a:lnTo>
                <a:lnTo>
                  <a:pt x="3106" y="5337"/>
                </a:lnTo>
                <a:lnTo>
                  <a:pt x="3098" y="5343"/>
                </a:lnTo>
                <a:lnTo>
                  <a:pt x="3081" y="5354"/>
                </a:lnTo>
                <a:lnTo>
                  <a:pt x="3064" y="5364"/>
                </a:lnTo>
                <a:lnTo>
                  <a:pt x="3044" y="5372"/>
                </a:lnTo>
                <a:lnTo>
                  <a:pt x="3024" y="5378"/>
                </a:lnTo>
                <a:lnTo>
                  <a:pt x="3005" y="5381"/>
                </a:lnTo>
                <a:lnTo>
                  <a:pt x="2984" y="5382"/>
                </a:lnTo>
                <a:lnTo>
                  <a:pt x="2962" y="5382"/>
                </a:lnTo>
                <a:lnTo>
                  <a:pt x="2941" y="5380"/>
                </a:lnTo>
                <a:lnTo>
                  <a:pt x="2920" y="5375"/>
                </a:lnTo>
                <a:lnTo>
                  <a:pt x="2898" y="5368"/>
                </a:lnTo>
                <a:lnTo>
                  <a:pt x="381" y="4396"/>
                </a:lnTo>
                <a:lnTo>
                  <a:pt x="354" y="4384"/>
                </a:lnTo>
                <a:lnTo>
                  <a:pt x="326" y="4371"/>
                </a:lnTo>
                <a:lnTo>
                  <a:pt x="300" y="4358"/>
                </a:lnTo>
                <a:lnTo>
                  <a:pt x="275" y="4346"/>
                </a:lnTo>
                <a:lnTo>
                  <a:pt x="250" y="4332"/>
                </a:lnTo>
                <a:lnTo>
                  <a:pt x="228" y="4317"/>
                </a:lnTo>
                <a:lnTo>
                  <a:pt x="206" y="4301"/>
                </a:lnTo>
                <a:lnTo>
                  <a:pt x="186" y="4285"/>
                </a:lnTo>
                <a:lnTo>
                  <a:pt x="166" y="4269"/>
                </a:lnTo>
                <a:lnTo>
                  <a:pt x="149" y="4253"/>
                </a:lnTo>
                <a:lnTo>
                  <a:pt x="132" y="4235"/>
                </a:lnTo>
                <a:lnTo>
                  <a:pt x="115" y="4217"/>
                </a:lnTo>
                <a:lnTo>
                  <a:pt x="100" y="4198"/>
                </a:lnTo>
                <a:lnTo>
                  <a:pt x="87" y="4179"/>
                </a:lnTo>
                <a:lnTo>
                  <a:pt x="75" y="4161"/>
                </a:lnTo>
                <a:lnTo>
                  <a:pt x="62" y="4141"/>
                </a:lnTo>
                <a:lnTo>
                  <a:pt x="51" y="4121"/>
                </a:lnTo>
                <a:lnTo>
                  <a:pt x="42" y="4100"/>
                </a:lnTo>
                <a:lnTo>
                  <a:pt x="34" y="4079"/>
                </a:lnTo>
                <a:lnTo>
                  <a:pt x="26" y="4059"/>
                </a:lnTo>
                <a:lnTo>
                  <a:pt x="19" y="4036"/>
                </a:lnTo>
                <a:lnTo>
                  <a:pt x="13" y="4016"/>
                </a:lnTo>
                <a:lnTo>
                  <a:pt x="8" y="3993"/>
                </a:lnTo>
                <a:lnTo>
                  <a:pt x="5" y="3970"/>
                </a:lnTo>
                <a:lnTo>
                  <a:pt x="3" y="3948"/>
                </a:lnTo>
                <a:lnTo>
                  <a:pt x="0" y="3925"/>
                </a:lnTo>
                <a:lnTo>
                  <a:pt x="0" y="3902"/>
                </a:lnTo>
                <a:lnTo>
                  <a:pt x="0" y="3878"/>
                </a:lnTo>
                <a:lnTo>
                  <a:pt x="0" y="3855"/>
                </a:lnTo>
                <a:lnTo>
                  <a:pt x="3" y="3831"/>
                </a:lnTo>
                <a:lnTo>
                  <a:pt x="5" y="3807"/>
                </a:lnTo>
                <a:lnTo>
                  <a:pt x="8" y="3783"/>
                </a:lnTo>
                <a:lnTo>
                  <a:pt x="545" y="564"/>
                </a:lnTo>
                <a:lnTo>
                  <a:pt x="549" y="539"/>
                </a:lnTo>
                <a:lnTo>
                  <a:pt x="555" y="516"/>
                </a:lnTo>
                <a:lnTo>
                  <a:pt x="560" y="493"/>
                </a:lnTo>
                <a:lnTo>
                  <a:pt x="567" y="471"/>
                </a:lnTo>
                <a:lnTo>
                  <a:pt x="574" y="449"/>
                </a:lnTo>
                <a:lnTo>
                  <a:pt x="583" y="427"/>
                </a:lnTo>
                <a:lnTo>
                  <a:pt x="592" y="406"/>
                </a:lnTo>
                <a:lnTo>
                  <a:pt x="602" y="385"/>
                </a:lnTo>
                <a:lnTo>
                  <a:pt x="613" y="365"/>
                </a:lnTo>
                <a:lnTo>
                  <a:pt x="624" y="345"/>
                </a:lnTo>
                <a:lnTo>
                  <a:pt x="637" y="327"/>
                </a:lnTo>
                <a:lnTo>
                  <a:pt x="650" y="308"/>
                </a:lnTo>
                <a:lnTo>
                  <a:pt x="664" y="291"/>
                </a:lnTo>
                <a:lnTo>
                  <a:pt x="679" y="274"/>
                </a:lnTo>
                <a:lnTo>
                  <a:pt x="695" y="258"/>
                </a:lnTo>
                <a:lnTo>
                  <a:pt x="712" y="242"/>
                </a:lnTo>
                <a:lnTo>
                  <a:pt x="729" y="228"/>
                </a:lnTo>
                <a:lnTo>
                  <a:pt x="746" y="214"/>
                </a:lnTo>
                <a:lnTo>
                  <a:pt x="766" y="200"/>
                </a:lnTo>
                <a:lnTo>
                  <a:pt x="786" y="187"/>
                </a:lnTo>
                <a:lnTo>
                  <a:pt x="807" y="176"/>
                </a:lnTo>
                <a:lnTo>
                  <a:pt x="829" y="165"/>
                </a:lnTo>
                <a:lnTo>
                  <a:pt x="851" y="155"/>
                </a:lnTo>
                <a:lnTo>
                  <a:pt x="875" y="145"/>
                </a:lnTo>
                <a:lnTo>
                  <a:pt x="900" y="137"/>
                </a:lnTo>
                <a:lnTo>
                  <a:pt x="924" y="130"/>
                </a:lnTo>
                <a:lnTo>
                  <a:pt x="951" y="123"/>
                </a:lnTo>
                <a:lnTo>
                  <a:pt x="978" y="117"/>
                </a:lnTo>
                <a:lnTo>
                  <a:pt x="1007" y="113"/>
                </a:lnTo>
                <a:lnTo>
                  <a:pt x="1035" y="109"/>
                </a:lnTo>
                <a:lnTo>
                  <a:pt x="1065" y="107"/>
                </a:lnTo>
                <a:lnTo>
                  <a:pt x="1096" y="105"/>
                </a:lnTo>
                <a:lnTo>
                  <a:pt x="3791" y="0"/>
                </a:lnTo>
                <a:lnTo>
                  <a:pt x="3814" y="0"/>
                </a:lnTo>
                <a:lnTo>
                  <a:pt x="3836" y="2"/>
                </a:lnTo>
                <a:lnTo>
                  <a:pt x="3857" y="7"/>
                </a:lnTo>
                <a:lnTo>
                  <a:pt x="3877" y="14"/>
                </a:lnTo>
                <a:lnTo>
                  <a:pt x="3897" y="22"/>
                </a:lnTo>
                <a:lnTo>
                  <a:pt x="3915" y="33"/>
                </a:lnTo>
                <a:lnTo>
                  <a:pt x="3932" y="44"/>
                </a:lnTo>
                <a:lnTo>
                  <a:pt x="3947" y="57"/>
                </a:lnTo>
                <a:lnTo>
                  <a:pt x="3960" y="72"/>
                </a:lnTo>
                <a:lnTo>
                  <a:pt x="3973" y="88"/>
                </a:lnTo>
                <a:lnTo>
                  <a:pt x="3977" y="97"/>
                </a:lnTo>
                <a:lnTo>
                  <a:pt x="3982" y="106"/>
                </a:lnTo>
                <a:lnTo>
                  <a:pt x="3987" y="115"/>
                </a:lnTo>
                <a:lnTo>
                  <a:pt x="3990" y="124"/>
                </a:lnTo>
                <a:lnTo>
                  <a:pt x="3993" y="134"/>
                </a:lnTo>
                <a:lnTo>
                  <a:pt x="3996" y="143"/>
                </a:lnTo>
                <a:lnTo>
                  <a:pt x="3997" y="154"/>
                </a:lnTo>
                <a:lnTo>
                  <a:pt x="3998" y="164"/>
                </a:lnTo>
                <a:lnTo>
                  <a:pt x="4000" y="174"/>
                </a:lnTo>
                <a:lnTo>
                  <a:pt x="4000" y="185"/>
                </a:lnTo>
                <a:lnTo>
                  <a:pt x="3998" y="197"/>
                </a:lnTo>
                <a:lnTo>
                  <a:pt x="3997" y="207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Freeform 7"/>
          <p:cNvSpPr>
            <a:spLocks/>
          </p:cNvSpPr>
          <p:nvPr userDrawn="1"/>
        </p:nvSpPr>
        <p:spPr bwMode="auto">
          <a:xfrm>
            <a:off x="9231842" y="4125920"/>
            <a:ext cx="674158" cy="1425575"/>
          </a:xfrm>
          <a:custGeom>
            <a:avLst/>
            <a:gdLst>
              <a:gd name="T0" fmla="*/ 1569 w 1569"/>
              <a:gd name="T1" fmla="*/ 3384 h 3590"/>
              <a:gd name="T2" fmla="*/ 205 w 1569"/>
              <a:gd name="T3" fmla="*/ 3589 h 3590"/>
              <a:gd name="T4" fmla="*/ 194 w 1569"/>
              <a:gd name="T5" fmla="*/ 3590 h 3590"/>
              <a:gd name="T6" fmla="*/ 182 w 1569"/>
              <a:gd name="T7" fmla="*/ 3590 h 3590"/>
              <a:gd name="T8" fmla="*/ 172 w 1569"/>
              <a:gd name="T9" fmla="*/ 3590 h 3590"/>
              <a:gd name="T10" fmla="*/ 162 w 1569"/>
              <a:gd name="T11" fmla="*/ 3590 h 3590"/>
              <a:gd name="T12" fmla="*/ 151 w 1569"/>
              <a:gd name="T13" fmla="*/ 3588 h 3590"/>
              <a:gd name="T14" fmla="*/ 141 w 1569"/>
              <a:gd name="T15" fmla="*/ 3587 h 3590"/>
              <a:gd name="T16" fmla="*/ 131 w 1569"/>
              <a:gd name="T17" fmla="*/ 3584 h 3590"/>
              <a:gd name="T18" fmla="*/ 121 w 1569"/>
              <a:gd name="T19" fmla="*/ 3581 h 3590"/>
              <a:gd name="T20" fmla="*/ 112 w 1569"/>
              <a:gd name="T21" fmla="*/ 3577 h 3590"/>
              <a:gd name="T22" fmla="*/ 103 w 1569"/>
              <a:gd name="T23" fmla="*/ 3573 h 3590"/>
              <a:gd name="T24" fmla="*/ 94 w 1569"/>
              <a:gd name="T25" fmla="*/ 3568 h 3590"/>
              <a:gd name="T26" fmla="*/ 86 w 1569"/>
              <a:gd name="T27" fmla="*/ 3563 h 3590"/>
              <a:gd name="T28" fmla="*/ 70 w 1569"/>
              <a:gd name="T29" fmla="*/ 3551 h 3590"/>
              <a:gd name="T30" fmla="*/ 56 w 1569"/>
              <a:gd name="T31" fmla="*/ 3537 h 3590"/>
              <a:gd name="T32" fmla="*/ 42 w 1569"/>
              <a:gd name="T33" fmla="*/ 3521 h 3590"/>
              <a:gd name="T34" fmla="*/ 30 w 1569"/>
              <a:gd name="T35" fmla="*/ 3504 h 3590"/>
              <a:gd name="T36" fmla="*/ 21 w 1569"/>
              <a:gd name="T37" fmla="*/ 3486 h 3590"/>
              <a:gd name="T38" fmla="*/ 13 w 1569"/>
              <a:gd name="T39" fmla="*/ 3466 h 3590"/>
              <a:gd name="T40" fmla="*/ 7 w 1569"/>
              <a:gd name="T41" fmla="*/ 3446 h 3590"/>
              <a:gd name="T42" fmla="*/ 2 w 1569"/>
              <a:gd name="T43" fmla="*/ 3424 h 3590"/>
              <a:gd name="T44" fmla="*/ 0 w 1569"/>
              <a:gd name="T45" fmla="*/ 3403 h 3590"/>
              <a:gd name="T46" fmla="*/ 0 w 1569"/>
              <a:gd name="T47" fmla="*/ 3380 h 3590"/>
              <a:gd name="T48" fmla="*/ 149 w 1569"/>
              <a:gd name="T49" fmla="*/ 687 h 3590"/>
              <a:gd name="T50" fmla="*/ 150 w 1569"/>
              <a:gd name="T51" fmla="*/ 656 h 3590"/>
              <a:gd name="T52" fmla="*/ 153 w 1569"/>
              <a:gd name="T53" fmla="*/ 627 h 3590"/>
              <a:gd name="T54" fmla="*/ 158 w 1569"/>
              <a:gd name="T55" fmla="*/ 598 h 3590"/>
              <a:gd name="T56" fmla="*/ 163 w 1569"/>
              <a:gd name="T57" fmla="*/ 570 h 3590"/>
              <a:gd name="T58" fmla="*/ 168 w 1569"/>
              <a:gd name="T59" fmla="*/ 542 h 3590"/>
              <a:gd name="T60" fmla="*/ 175 w 1569"/>
              <a:gd name="T61" fmla="*/ 516 h 3590"/>
              <a:gd name="T62" fmla="*/ 184 w 1569"/>
              <a:gd name="T63" fmla="*/ 491 h 3590"/>
              <a:gd name="T64" fmla="*/ 193 w 1569"/>
              <a:gd name="T65" fmla="*/ 466 h 3590"/>
              <a:gd name="T66" fmla="*/ 202 w 1569"/>
              <a:gd name="T67" fmla="*/ 443 h 3590"/>
              <a:gd name="T68" fmla="*/ 213 w 1569"/>
              <a:gd name="T69" fmla="*/ 421 h 3590"/>
              <a:gd name="T70" fmla="*/ 224 w 1569"/>
              <a:gd name="T71" fmla="*/ 399 h 3590"/>
              <a:gd name="T72" fmla="*/ 236 w 1569"/>
              <a:gd name="T73" fmla="*/ 378 h 3590"/>
              <a:gd name="T74" fmla="*/ 249 w 1569"/>
              <a:gd name="T75" fmla="*/ 358 h 3590"/>
              <a:gd name="T76" fmla="*/ 263 w 1569"/>
              <a:gd name="T77" fmla="*/ 340 h 3590"/>
              <a:gd name="T78" fmla="*/ 277 w 1569"/>
              <a:gd name="T79" fmla="*/ 322 h 3590"/>
              <a:gd name="T80" fmla="*/ 292 w 1569"/>
              <a:gd name="T81" fmla="*/ 305 h 3590"/>
              <a:gd name="T82" fmla="*/ 308 w 1569"/>
              <a:gd name="T83" fmla="*/ 289 h 3590"/>
              <a:gd name="T84" fmla="*/ 324 w 1569"/>
              <a:gd name="T85" fmla="*/ 272 h 3590"/>
              <a:gd name="T86" fmla="*/ 342 w 1569"/>
              <a:gd name="T87" fmla="*/ 258 h 3590"/>
              <a:gd name="T88" fmla="*/ 359 w 1569"/>
              <a:gd name="T89" fmla="*/ 244 h 3590"/>
              <a:gd name="T90" fmla="*/ 378 w 1569"/>
              <a:gd name="T91" fmla="*/ 232 h 3590"/>
              <a:gd name="T92" fmla="*/ 396 w 1569"/>
              <a:gd name="T93" fmla="*/ 219 h 3590"/>
              <a:gd name="T94" fmla="*/ 416 w 1569"/>
              <a:gd name="T95" fmla="*/ 208 h 3590"/>
              <a:gd name="T96" fmla="*/ 436 w 1569"/>
              <a:gd name="T97" fmla="*/ 198 h 3590"/>
              <a:gd name="T98" fmla="*/ 457 w 1569"/>
              <a:gd name="T99" fmla="*/ 188 h 3590"/>
              <a:gd name="T100" fmla="*/ 478 w 1569"/>
              <a:gd name="T101" fmla="*/ 179 h 3590"/>
              <a:gd name="T102" fmla="*/ 500 w 1569"/>
              <a:gd name="T103" fmla="*/ 171 h 3590"/>
              <a:gd name="T104" fmla="*/ 522 w 1569"/>
              <a:gd name="T105" fmla="*/ 164 h 3590"/>
              <a:gd name="T106" fmla="*/ 545 w 1569"/>
              <a:gd name="T107" fmla="*/ 157 h 3590"/>
              <a:gd name="T108" fmla="*/ 568 w 1569"/>
              <a:gd name="T109" fmla="*/ 152 h 3590"/>
              <a:gd name="T110" fmla="*/ 592 w 1569"/>
              <a:gd name="T111" fmla="*/ 147 h 3590"/>
              <a:gd name="T112" fmla="*/ 616 w 1569"/>
              <a:gd name="T113" fmla="*/ 143 h 3590"/>
              <a:gd name="T114" fmla="*/ 1569 w 1569"/>
              <a:gd name="T115" fmla="*/ 0 h 3590"/>
              <a:gd name="T116" fmla="*/ 1569 w 1569"/>
              <a:gd name="T117" fmla="*/ 3384 h 35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569" h="3590">
                <a:moveTo>
                  <a:pt x="1569" y="3384"/>
                </a:moveTo>
                <a:lnTo>
                  <a:pt x="205" y="3589"/>
                </a:lnTo>
                <a:lnTo>
                  <a:pt x="194" y="3590"/>
                </a:lnTo>
                <a:lnTo>
                  <a:pt x="182" y="3590"/>
                </a:lnTo>
                <a:lnTo>
                  <a:pt x="172" y="3590"/>
                </a:lnTo>
                <a:lnTo>
                  <a:pt x="162" y="3590"/>
                </a:lnTo>
                <a:lnTo>
                  <a:pt x="151" y="3588"/>
                </a:lnTo>
                <a:lnTo>
                  <a:pt x="141" y="3587"/>
                </a:lnTo>
                <a:lnTo>
                  <a:pt x="131" y="3584"/>
                </a:lnTo>
                <a:lnTo>
                  <a:pt x="121" y="3581"/>
                </a:lnTo>
                <a:lnTo>
                  <a:pt x="112" y="3577"/>
                </a:lnTo>
                <a:lnTo>
                  <a:pt x="103" y="3573"/>
                </a:lnTo>
                <a:lnTo>
                  <a:pt x="94" y="3568"/>
                </a:lnTo>
                <a:lnTo>
                  <a:pt x="86" y="3563"/>
                </a:lnTo>
                <a:lnTo>
                  <a:pt x="70" y="3551"/>
                </a:lnTo>
                <a:lnTo>
                  <a:pt x="56" y="3537"/>
                </a:lnTo>
                <a:lnTo>
                  <a:pt x="42" y="3521"/>
                </a:lnTo>
                <a:lnTo>
                  <a:pt x="30" y="3504"/>
                </a:lnTo>
                <a:lnTo>
                  <a:pt x="21" y="3486"/>
                </a:lnTo>
                <a:lnTo>
                  <a:pt x="13" y="3466"/>
                </a:lnTo>
                <a:lnTo>
                  <a:pt x="7" y="3446"/>
                </a:lnTo>
                <a:lnTo>
                  <a:pt x="2" y="3424"/>
                </a:lnTo>
                <a:lnTo>
                  <a:pt x="0" y="3403"/>
                </a:lnTo>
                <a:lnTo>
                  <a:pt x="0" y="3380"/>
                </a:lnTo>
                <a:lnTo>
                  <a:pt x="149" y="687"/>
                </a:lnTo>
                <a:lnTo>
                  <a:pt x="150" y="656"/>
                </a:lnTo>
                <a:lnTo>
                  <a:pt x="153" y="627"/>
                </a:lnTo>
                <a:lnTo>
                  <a:pt x="158" y="598"/>
                </a:lnTo>
                <a:lnTo>
                  <a:pt x="163" y="570"/>
                </a:lnTo>
                <a:lnTo>
                  <a:pt x="168" y="542"/>
                </a:lnTo>
                <a:lnTo>
                  <a:pt x="175" y="516"/>
                </a:lnTo>
                <a:lnTo>
                  <a:pt x="184" y="491"/>
                </a:lnTo>
                <a:lnTo>
                  <a:pt x="193" y="466"/>
                </a:lnTo>
                <a:lnTo>
                  <a:pt x="202" y="443"/>
                </a:lnTo>
                <a:lnTo>
                  <a:pt x="213" y="421"/>
                </a:lnTo>
                <a:lnTo>
                  <a:pt x="224" y="399"/>
                </a:lnTo>
                <a:lnTo>
                  <a:pt x="236" y="378"/>
                </a:lnTo>
                <a:lnTo>
                  <a:pt x="249" y="358"/>
                </a:lnTo>
                <a:lnTo>
                  <a:pt x="263" y="340"/>
                </a:lnTo>
                <a:lnTo>
                  <a:pt x="277" y="322"/>
                </a:lnTo>
                <a:lnTo>
                  <a:pt x="292" y="305"/>
                </a:lnTo>
                <a:lnTo>
                  <a:pt x="308" y="289"/>
                </a:lnTo>
                <a:lnTo>
                  <a:pt x="324" y="272"/>
                </a:lnTo>
                <a:lnTo>
                  <a:pt x="342" y="258"/>
                </a:lnTo>
                <a:lnTo>
                  <a:pt x="359" y="244"/>
                </a:lnTo>
                <a:lnTo>
                  <a:pt x="378" y="232"/>
                </a:lnTo>
                <a:lnTo>
                  <a:pt x="396" y="219"/>
                </a:lnTo>
                <a:lnTo>
                  <a:pt x="416" y="208"/>
                </a:lnTo>
                <a:lnTo>
                  <a:pt x="436" y="198"/>
                </a:lnTo>
                <a:lnTo>
                  <a:pt x="457" y="188"/>
                </a:lnTo>
                <a:lnTo>
                  <a:pt x="478" y="179"/>
                </a:lnTo>
                <a:lnTo>
                  <a:pt x="500" y="171"/>
                </a:lnTo>
                <a:lnTo>
                  <a:pt x="522" y="164"/>
                </a:lnTo>
                <a:lnTo>
                  <a:pt x="545" y="157"/>
                </a:lnTo>
                <a:lnTo>
                  <a:pt x="568" y="152"/>
                </a:lnTo>
                <a:lnTo>
                  <a:pt x="592" y="147"/>
                </a:lnTo>
                <a:lnTo>
                  <a:pt x="616" y="143"/>
                </a:lnTo>
                <a:lnTo>
                  <a:pt x="1569" y="0"/>
                </a:lnTo>
                <a:lnTo>
                  <a:pt x="1569" y="3384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0" name="Freeform 9"/>
          <p:cNvSpPr>
            <a:spLocks/>
          </p:cNvSpPr>
          <p:nvPr userDrawn="1"/>
        </p:nvSpPr>
        <p:spPr bwMode="auto">
          <a:xfrm>
            <a:off x="8905177" y="5940604"/>
            <a:ext cx="1000919" cy="917575"/>
          </a:xfrm>
          <a:custGeom>
            <a:avLst/>
            <a:gdLst>
              <a:gd name="T0" fmla="*/ 759 w 2327"/>
              <a:gd name="T1" fmla="*/ 2310 h 2310"/>
              <a:gd name="T2" fmla="*/ 19 w 2327"/>
              <a:gd name="T3" fmla="*/ 851 h 2310"/>
              <a:gd name="T4" fmla="*/ 14 w 2327"/>
              <a:gd name="T5" fmla="*/ 841 h 2310"/>
              <a:gd name="T6" fmla="*/ 9 w 2327"/>
              <a:gd name="T7" fmla="*/ 832 h 2310"/>
              <a:gd name="T8" fmla="*/ 6 w 2327"/>
              <a:gd name="T9" fmla="*/ 821 h 2310"/>
              <a:gd name="T10" fmla="*/ 4 w 2327"/>
              <a:gd name="T11" fmla="*/ 811 h 2310"/>
              <a:gd name="T12" fmla="*/ 1 w 2327"/>
              <a:gd name="T13" fmla="*/ 800 h 2310"/>
              <a:gd name="T14" fmla="*/ 0 w 2327"/>
              <a:gd name="T15" fmla="*/ 790 h 2310"/>
              <a:gd name="T16" fmla="*/ 0 w 2327"/>
              <a:gd name="T17" fmla="*/ 781 h 2310"/>
              <a:gd name="T18" fmla="*/ 0 w 2327"/>
              <a:gd name="T19" fmla="*/ 770 h 2310"/>
              <a:gd name="T20" fmla="*/ 0 w 2327"/>
              <a:gd name="T21" fmla="*/ 760 h 2310"/>
              <a:gd name="T22" fmla="*/ 1 w 2327"/>
              <a:gd name="T23" fmla="*/ 750 h 2310"/>
              <a:gd name="T24" fmla="*/ 4 w 2327"/>
              <a:gd name="T25" fmla="*/ 740 h 2310"/>
              <a:gd name="T26" fmla="*/ 6 w 2327"/>
              <a:gd name="T27" fmla="*/ 731 h 2310"/>
              <a:gd name="T28" fmla="*/ 13 w 2327"/>
              <a:gd name="T29" fmla="*/ 712 h 2310"/>
              <a:gd name="T30" fmla="*/ 21 w 2327"/>
              <a:gd name="T31" fmla="*/ 693 h 2310"/>
              <a:gd name="T32" fmla="*/ 32 w 2327"/>
              <a:gd name="T33" fmla="*/ 676 h 2310"/>
              <a:gd name="T34" fmla="*/ 44 w 2327"/>
              <a:gd name="T35" fmla="*/ 660 h 2310"/>
              <a:gd name="T36" fmla="*/ 58 w 2327"/>
              <a:gd name="T37" fmla="*/ 645 h 2310"/>
              <a:gd name="T38" fmla="*/ 75 w 2327"/>
              <a:gd name="T39" fmla="*/ 631 h 2310"/>
              <a:gd name="T40" fmla="*/ 92 w 2327"/>
              <a:gd name="T41" fmla="*/ 619 h 2310"/>
              <a:gd name="T42" fmla="*/ 111 w 2327"/>
              <a:gd name="T43" fmla="*/ 607 h 2310"/>
              <a:gd name="T44" fmla="*/ 130 w 2327"/>
              <a:gd name="T45" fmla="*/ 599 h 2310"/>
              <a:gd name="T46" fmla="*/ 152 w 2327"/>
              <a:gd name="T47" fmla="*/ 592 h 2310"/>
              <a:gd name="T48" fmla="*/ 2327 w 2327"/>
              <a:gd name="T49" fmla="*/ 0 h 2310"/>
              <a:gd name="T50" fmla="*/ 2327 w 2327"/>
              <a:gd name="T51" fmla="*/ 2310 h 2310"/>
              <a:gd name="T52" fmla="*/ 759 w 2327"/>
              <a:gd name="T53" fmla="*/ 2310 h 2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2327" h="2310">
                <a:moveTo>
                  <a:pt x="759" y="2310"/>
                </a:moveTo>
                <a:lnTo>
                  <a:pt x="19" y="851"/>
                </a:lnTo>
                <a:lnTo>
                  <a:pt x="14" y="841"/>
                </a:lnTo>
                <a:lnTo>
                  <a:pt x="9" y="832"/>
                </a:lnTo>
                <a:lnTo>
                  <a:pt x="6" y="821"/>
                </a:lnTo>
                <a:lnTo>
                  <a:pt x="4" y="811"/>
                </a:lnTo>
                <a:lnTo>
                  <a:pt x="1" y="800"/>
                </a:lnTo>
                <a:lnTo>
                  <a:pt x="0" y="790"/>
                </a:lnTo>
                <a:lnTo>
                  <a:pt x="0" y="781"/>
                </a:lnTo>
                <a:lnTo>
                  <a:pt x="0" y="770"/>
                </a:lnTo>
                <a:lnTo>
                  <a:pt x="0" y="760"/>
                </a:lnTo>
                <a:lnTo>
                  <a:pt x="1" y="750"/>
                </a:lnTo>
                <a:lnTo>
                  <a:pt x="4" y="740"/>
                </a:lnTo>
                <a:lnTo>
                  <a:pt x="6" y="731"/>
                </a:lnTo>
                <a:lnTo>
                  <a:pt x="13" y="712"/>
                </a:lnTo>
                <a:lnTo>
                  <a:pt x="21" y="693"/>
                </a:lnTo>
                <a:lnTo>
                  <a:pt x="32" y="676"/>
                </a:lnTo>
                <a:lnTo>
                  <a:pt x="44" y="660"/>
                </a:lnTo>
                <a:lnTo>
                  <a:pt x="58" y="645"/>
                </a:lnTo>
                <a:lnTo>
                  <a:pt x="75" y="631"/>
                </a:lnTo>
                <a:lnTo>
                  <a:pt x="92" y="619"/>
                </a:lnTo>
                <a:lnTo>
                  <a:pt x="111" y="607"/>
                </a:lnTo>
                <a:lnTo>
                  <a:pt x="130" y="599"/>
                </a:lnTo>
                <a:lnTo>
                  <a:pt x="152" y="592"/>
                </a:lnTo>
                <a:lnTo>
                  <a:pt x="2327" y="0"/>
                </a:lnTo>
                <a:lnTo>
                  <a:pt x="2327" y="2310"/>
                </a:lnTo>
                <a:lnTo>
                  <a:pt x="759" y="2310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2" name="Freeform 11"/>
          <p:cNvSpPr>
            <a:spLocks/>
          </p:cNvSpPr>
          <p:nvPr userDrawn="1"/>
        </p:nvSpPr>
        <p:spPr bwMode="auto">
          <a:xfrm>
            <a:off x="7248937" y="6127750"/>
            <a:ext cx="1389592" cy="730250"/>
          </a:xfrm>
          <a:custGeom>
            <a:avLst/>
            <a:gdLst>
              <a:gd name="T0" fmla="*/ 0 w 3232"/>
              <a:gd name="T1" fmla="*/ 1840 h 1840"/>
              <a:gd name="T2" fmla="*/ 1817 w 3232"/>
              <a:gd name="T3" fmla="*/ 49 h 1840"/>
              <a:gd name="T4" fmla="*/ 1825 w 3232"/>
              <a:gd name="T5" fmla="*/ 42 h 1840"/>
              <a:gd name="T6" fmla="*/ 1834 w 3232"/>
              <a:gd name="T7" fmla="*/ 35 h 1840"/>
              <a:gd name="T8" fmla="*/ 1842 w 3232"/>
              <a:gd name="T9" fmla="*/ 28 h 1840"/>
              <a:gd name="T10" fmla="*/ 1852 w 3232"/>
              <a:gd name="T11" fmla="*/ 22 h 1840"/>
              <a:gd name="T12" fmla="*/ 1861 w 3232"/>
              <a:gd name="T13" fmla="*/ 18 h 1840"/>
              <a:gd name="T14" fmla="*/ 1870 w 3232"/>
              <a:gd name="T15" fmla="*/ 13 h 1840"/>
              <a:gd name="T16" fmla="*/ 1880 w 3232"/>
              <a:gd name="T17" fmla="*/ 10 h 1840"/>
              <a:gd name="T18" fmla="*/ 1889 w 3232"/>
              <a:gd name="T19" fmla="*/ 7 h 1840"/>
              <a:gd name="T20" fmla="*/ 1899 w 3232"/>
              <a:gd name="T21" fmla="*/ 4 h 1840"/>
              <a:gd name="T22" fmla="*/ 1909 w 3232"/>
              <a:gd name="T23" fmla="*/ 3 h 1840"/>
              <a:gd name="T24" fmla="*/ 1919 w 3232"/>
              <a:gd name="T25" fmla="*/ 1 h 1840"/>
              <a:gd name="T26" fmla="*/ 1928 w 3232"/>
              <a:gd name="T27" fmla="*/ 0 h 1840"/>
              <a:gd name="T28" fmla="*/ 1949 w 3232"/>
              <a:gd name="T29" fmla="*/ 0 h 1840"/>
              <a:gd name="T30" fmla="*/ 1969 w 3232"/>
              <a:gd name="T31" fmla="*/ 4 h 1840"/>
              <a:gd name="T32" fmla="*/ 1989 w 3232"/>
              <a:gd name="T33" fmla="*/ 8 h 1840"/>
              <a:gd name="T34" fmla="*/ 2007 w 3232"/>
              <a:gd name="T35" fmla="*/ 15 h 1840"/>
              <a:gd name="T36" fmla="*/ 2026 w 3232"/>
              <a:gd name="T37" fmla="*/ 25 h 1840"/>
              <a:gd name="T38" fmla="*/ 2045 w 3232"/>
              <a:gd name="T39" fmla="*/ 35 h 1840"/>
              <a:gd name="T40" fmla="*/ 2061 w 3232"/>
              <a:gd name="T41" fmla="*/ 48 h 1840"/>
              <a:gd name="T42" fmla="*/ 2077 w 3232"/>
              <a:gd name="T43" fmla="*/ 63 h 1840"/>
              <a:gd name="T44" fmla="*/ 2092 w 3232"/>
              <a:gd name="T45" fmla="*/ 79 h 1840"/>
              <a:gd name="T46" fmla="*/ 2105 w 3232"/>
              <a:gd name="T47" fmla="*/ 98 h 1840"/>
              <a:gd name="T48" fmla="*/ 3232 w 3232"/>
              <a:gd name="T49" fmla="*/ 1840 h 1840"/>
              <a:gd name="T50" fmla="*/ 0 w 3232"/>
              <a:gd name="T51" fmla="*/ 1840 h 18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232" h="1840">
                <a:moveTo>
                  <a:pt x="0" y="1840"/>
                </a:moveTo>
                <a:lnTo>
                  <a:pt x="1817" y="49"/>
                </a:lnTo>
                <a:lnTo>
                  <a:pt x="1825" y="42"/>
                </a:lnTo>
                <a:lnTo>
                  <a:pt x="1834" y="35"/>
                </a:lnTo>
                <a:lnTo>
                  <a:pt x="1842" y="28"/>
                </a:lnTo>
                <a:lnTo>
                  <a:pt x="1852" y="22"/>
                </a:lnTo>
                <a:lnTo>
                  <a:pt x="1861" y="18"/>
                </a:lnTo>
                <a:lnTo>
                  <a:pt x="1870" y="13"/>
                </a:lnTo>
                <a:lnTo>
                  <a:pt x="1880" y="10"/>
                </a:lnTo>
                <a:lnTo>
                  <a:pt x="1889" y="7"/>
                </a:lnTo>
                <a:lnTo>
                  <a:pt x="1899" y="4"/>
                </a:lnTo>
                <a:lnTo>
                  <a:pt x="1909" y="3"/>
                </a:lnTo>
                <a:lnTo>
                  <a:pt x="1919" y="1"/>
                </a:lnTo>
                <a:lnTo>
                  <a:pt x="1928" y="0"/>
                </a:lnTo>
                <a:lnTo>
                  <a:pt x="1949" y="0"/>
                </a:lnTo>
                <a:lnTo>
                  <a:pt x="1969" y="4"/>
                </a:lnTo>
                <a:lnTo>
                  <a:pt x="1989" y="8"/>
                </a:lnTo>
                <a:lnTo>
                  <a:pt x="2007" y="15"/>
                </a:lnTo>
                <a:lnTo>
                  <a:pt x="2026" y="25"/>
                </a:lnTo>
                <a:lnTo>
                  <a:pt x="2045" y="35"/>
                </a:lnTo>
                <a:lnTo>
                  <a:pt x="2061" y="48"/>
                </a:lnTo>
                <a:lnTo>
                  <a:pt x="2077" y="63"/>
                </a:lnTo>
                <a:lnTo>
                  <a:pt x="2092" y="79"/>
                </a:lnTo>
                <a:lnTo>
                  <a:pt x="2105" y="98"/>
                </a:lnTo>
                <a:lnTo>
                  <a:pt x="3232" y="1840"/>
                </a:lnTo>
                <a:lnTo>
                  <a:pt x="0" y="1840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4" name="Freeform 13"/>
          <p:cNvSpPr>
            <a:spLocks/>
          </p:cNvSpPr>
          <p:nvPr userDrawn="1"/>
        </p:nvSpPr>
        <p:spPr bwMode="auto">
          <a:xfrm>
            <a:off x="5510213" y="4397554"/>
            <a:ext cx="2424906" cy="1976437"/>
          </a:xfrm>
          <a:custGeom>
            <a:avLst/>
            <a:gdLst>
              <a:gd name="T0" fmla="*/ 5548 w 5640"/>
              <a:gd name="T1" fmla="*/ 2360 h 4980"/>
              <a:gd name="T2" fmla="*/ 5567 w 5640"/>
              <a:gd name="T3" fmla="*/ 2372 h 4980"/>
              <a:gd name="T4" fmla="*/ 5584 w 5640"/>
              <a:gd name="T5" fmla="*/ 2385 h 4980"/>
              <a:gd name="T6" fmla="*/ 5598 w 5640"/>
              <a:gd name="T7" fmla="*/ 2400 h 4980"/>
              <a:gd name="T8" fmla="*/ 5611 w 5640"/>
              <a:gd name="T9" fmla="*/ 2415 h 4980"/>
              <a:gd name="T10" fmla="*/ 5621 w 5640"/>
              <a:gd name="T11" fmla="*/ 2432 h 4980"/>
              <a:gd name="T12" fmla="*/ 5629 w 5640"/>
              <a:gd name="T13" fmla="*/ 2451 h 4980"/>
              <a:gd name="T14" fmla="*/ 5639 w 5640"/>
              <a:gd name="T15" fmla="*/ 2490 h 4980"/>
              <a:gd name="T16" fmla="*/ 5640 w 5640"/>
              <a:gd name="T17" fmla="*/ 2531 h 4980"/>
              <a:gd name="T18" fmla="*/ 5632 w 5640"/>
              <a:gd name="T19" fmla="*/ 2572 h 4980"/>
              <a:gd name="T20" fmla="*/ 5616 w 5640"/>
              <a:gd name="T21" fmla="*/ 2611 h 4980"/>
              <a:gd name="T22" fmla="*/ 5591 w 5640"/>
              <a:gd name="T23" fmla="*/ 2648 h 4980"/>
              <a:gd name="T24" fmla="*/ 3873 w 5640"/>
              <a:gd name="T25" fmla="*/ 4768 h 4980"/>
              <a:gd name="T26" fmla="*/ 3834 w 5640"/>
              <a:gd name="T27" fmla="*/ 4811 h 4980"/>
              <a:gd name="T28" fmla="*/ 3792 w 5640"/>
              <a:gd name="T29" fmla="*/ 4850 h 4980"/>
              <a:gd name="T30" fmla="*/ 3750 w 5640"/>
              <a:gd name="T31" fmla="*/ 4882 h 4980"/>
              <a:gd name="T32" fmla="*/ 3707 w 5640"/>
              <a:gd name="T33" fmla="*/ 4910 h 4980"/>
              <a:gd name="T34" fmla="*/ 3664 w 5640"/>
              <a:gd name="T35" fmla="*/ 4933 h 4980"/>
              <a:gd name="T36" fmla="*/ 3620 w 5640"/>
              <a:gd name="T37" fmla="*/ 4952 h 4980"/>
              <a:gd name="T38" fmla="*/ 3576 w 5640"/>
              <a:gd name="T39" fmla="*/ 4966 h 4980"/>
              <a:gd name="T40" fmla="*/ 3530 w 5640"/>
              <a:gd name="T41" fmla="*/ 4975 h 4980"/>
              <a:gd name="T42" fmla="*/ 3486 w 5640"/>
              <a:gd name="T43" fmla="*/ 4980 h 4980"/>
              <a:gd name="T44" fmla="*/ 3441 w 5640"/>
              <a:gd name="T45" fmla="*/ 4980 h 4980"/>
              <a:gd name="T46" fmla="*/ 3397 w 5640"/>
              <a:gd name="T47" fmla="*/ 4976 h 4980"/>
              <a:gd name="T48" fmla="*/ 3351 w 5640"/>
              <a:gd name="T49" fmla="*/ 4968 h 4980"/>
              <a:gd name="T50" fmla="*/ 3306 w 5640"/>
              <a:gd name="T51" fmla="*/ 4957 h 4980"/>
              <a:gd name="T52" fmla="*/ 3262 w 5640"/>
              <a:gd name="T53" fmla="*/ 4941 h 4980"/>
              <a:gd name="T54" fmla="*/ 3218 w 5640"/>
              <a:gd name="T55" fmla="*/ 4923 h 4980"/>
              <a:gd name="T56" fmla="*/ 297 w 5640"/>
              <a:gd name="T57" fmla="*/ 3413 h 4980"/>
              <a:gd name="T58" fmla="*/ 254 w 5640"/>
              <a:gd name="T59" fmla="*/ 3390 h 4980"/>
              <a:gd name="T60" fmla="*/ 215 w 5640"/>
              <a:gd name="T61" fmla="*/ 3363 h 4980"/>
              <a:gd name="T62" fmla="*/ 179 w 5640"/>
              <a:gd name="T63" fmla="*/ 3335 h 4980"/>
              <a:gd name="T64" fmla="*/ 144 w 5640"/>
              <a:gd name="T65" fmla="*/ 3304 h 4980"/>
              <a:gd name="T66" fmla="*/ 113 w 5640"/>
              <a:gd name="T67" fmla="*/ 3270 h 4980"/>
              <a:gd name="T68" fmla="*/ 87 w 5640"/>
              <a:gd name="T69" fmla="*/ 3235 h 4980"/>
              <a:gd name="T70" fmla="*/ 62 w 5640"/>
              <a:gd name="T71" fmla="*/ 3197 h 4980"/>
              <a:gd name="T72" fmla="*/ 43 w 5640"/>
              <a:gd name="T73" fmla="*/ 3156 h 4980"/>
              <a:gd name="T74" fmla="*/ 25 w 5640"/>
              <a:gd name="T75" fmla="*/ 3113 h 4980"/>
              <a:gd name="T76" fmla="*/ 13 w 5640"/>
              <a:gd name="T77" fmla="*/ 3068 h 4980"/>
              <a:gd name="T78" fmla="*/ 4 w 5640"/>
              <a:gd name="T79" fmla="*/ 3020 h 4980"/>
              <a:gd name="T80" fmla="*/ 1 w 5640"/>
              <a:gd name="T81" fmla="*/ 2972 h 4980"/>
              <a:gd name="T82" fmla="*/ 1 w 5640"/>
              <a:gd name="T83" fmla="*/ 2919 h 4980"/>
              <a:gd name="T84" fmla="*/ 5 w 5640"/>
              <a:gd name="T85" fmla="*/ 2865 h 4980"/>
              <a:gd name="T86" fmla="*/ 15 w 5640"/>
              <a:gd name="T87" fmla="*/ 2808 h 4980"/>
              <a:gd name="T88" fmla="*/ 30 w 5640"/>
              <a:gd name="T89" fmla="*/ 2748 h 4980"/>
              <a:gd name="T90" fmla="*/ 764 w 5640"/>
              <a:gd name="T91" fmla="*/ 130 h 4980"/>
              <a:gd name="T92" fmla="*/ 784 w 5640"/>
              <a:gd name="T93" fmla="*/ 90 h 4980"/>
              <a:gd name="T94" fmla="*/ 810 w 5640"/>
              <a:gd name="T95" fmla="*/ 58 h 4980"/>
              <a:gd name="T96" fmla="*/ 841 w 5640"/>
              <a:gd name="T97" fmla="*/ 31 h 4980"/>
              <a:gd name="T98" fmla="*/ 877 w 5640"/>
              <a:gd name="T99" fmla="*/ 11 h 4980"/>
              <a:gd name="T100" fmla="*/ 906 w 5640"/>
              <a:gd name="T101" fmla="*/ 3 h 4980"/>
              <a:gd name="T102" fmla="*/ 926 w 5640"/>
              <a:gd name="T103" fmla="*/ 1 h 4980"/>
              <a:gd name="T104" fmla="*/ 946 w 5640"/>
              <a:gd name="T105" fmla="*/ 0 h 4980"/>
              <a:gd name="T106" fmla="*/ 967 w 5640"/>
              <a:gd name="T107" fmla="*/ 2 h 4980"/>
              <a:gd name="T108" fmla="*/ 986 w 5640"/>
              <a:gd name="T109" fmla="*/ 7 h 4980"/>
              <a:gd name="T110" fmla="*/ 1007 w 5640"/>
              <a:gd name="T111" fmla="*/ 14 h 49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640" h="4980">
                <a:moveTo>
                  <a:pt x="1018" y="20"/>
                </a:moveTo>
                <a:lnTo>
                  <a:pt x="5548" y="2360"/>
                </a:lnTo>
                <a:lnTo>
                  <a:pt x="5557" y="2366"/>
                </a:lnTo>
                <a:lnTo>
                  <a:pt x="5567" y="2372"/>
                </a:lnTo>
                <a:lnTo>
                  <a:pt x="5576" y="2378"/>
                </a:lnTo>
                <a:lnTo>
                  <a:pt x="5584" y="2385"/>
                </a:lnTo>
                <a:lnTo>
                  <a:pt x="5591" y="2392"/>
                </a:lnTo>
                <a:lnTo>
                  <a:pt x="5598" y="2400"/>
                </a:lnTo>
                <a:lnTo>
                  <a:pt x="5605" y="2407"/>
                </a:lnTo>
                <a:lnTo>
                  <a:pt x="5611" y="2415"/>
                </a:lnTo>
                <a:lnTo>
                  <a:pt x="5617" y="2424"/>
                </a:lnTo>
                <a:lnTo>
                  <a:pt x="5621" y="2432"/>
                </a:lnTo>
                <a:lnTo>
                  <a:pt x="5626" y="2442"/>
                </a:lnTo>
                <a:lnTo>
                  <a:pt x="5629" y="2451"/>
                </a:lnTo>
                <a:lnTo>
                  <a:pt x="5635" y="2471"/>
                </a:lnTo>
                <a:lnTo>
                  <a:pt x="5639" y="2490"/>
                </a:lnTo>
                <a:lnTo>
                  <a:pt x="5640" y="2510"/>
                </a:lnTo>
                <a:lnTo>
                  <a:pt x="5640" y="2531"/>
                </a:lnTo>
                <a:lnTo>
                  <a:pt x="5636" y="2551"/>
                </a:lnTo>
                <a:lnTo>
                  <a:pt x="5632" y="2572"/>
                </a:lnTo>
                <a:lnTo>
                  <a:pt x="5625" y="2592"/>
                </a:lnTo>
                <a:lnTo>
                  <a:pt x="5616" y="2611"/>
                </a:lnTo>
                <a:lnTo>
                  <a:pt x="5605" y="2631"/>
                </a:lnTo>
                <a:lnTo>
                  <a:pt x="5591" y="2648"/>
                </a:lnTo>
                <a:lnTo>
                  <a:pt x="3894" y="4745"/>
                </a:lnTo>
                <a:lnTo>
                  <a:pt x="3873" y="4768"/>
                </a:lnTo>
                <a:lnTo>
                  <a:pt x="3854" y="4790"/>
                </a:lnTo>
                <a:lnTo>
                  <a:pt x="3834" y="4811"/>
                </a:lnTo>
                <a:lnTo>
                  <a:pt x="3813" y="4831"/>
                </a:lnTo>
                <a:lnTo>
                  <a:pt x="3792" y="4850"/>
                </a:lnTo>
                <a:lnTo>
                  <a:pt x="3771" y="4867"/>
                </a:lnTo>
                <a:lnTo>
                  <a:pt x="3750" y="4882"/>
                </a:lnTo>
                <a:lnTo>
                  <a:pt x="3729" y="4897"/>
                </a:lnTo>
                <a:lnTo>
                  <a:pt x="3707" y="4910"/>
                </a:lnTo>
                <a:lnTo>
                  <a:pt x="3686" y="4923"/>
                </a:lnTo>
                <a:lnTo>
                  <a:pt x="3664" y="4933"/>
                </a:lnTo>
                <a:lnTo>
                  <a:pt x="3642" y="4944"/>
                </a:lnTo>
                <a:lnTo>
                  <a:pt x="3620" y="4952"/>
                </a:lnTo>
                <a:lnTo>
                  <a:pt x="3598" y="4959"/>
                </a:lnTo>
                <a:lnTo>
                  <a:pt x="3576" y="4966"/>
                </a:lnTo>
                <a:lnTo>
                  <a:pt x="3554" y="4971"/>
                </a:lnTo>
                <a:lnTo>
                  <a:pt x="3530" y="4975"/>
                </a:lnTo>
                <a:lnTo>
                  <a:pt x="3508" y="4978"/>
                </a:lnTo>
                <a:lnTo>
                  <a:pt x="3486" y="4980"/>
                </a:lnTo>
                <a:lnTo>
                  <a:pt x="3464" y="4980"/>
                </a:lnTo>
                <a:lnTo>
                  <a:pt x="3441" y="4980"/>
                </a:lnTo>
                <a:lnTo>
                  <a:pt x="3419" y="4979"/>
                </a:lnTo>
                <a:lnTo>
                  <a:pt x="3397" y="4976"/>
                </a:lnTo>
                <a:lnTo>
                  <a:pt x="3374" y="4973"/>
                </a:lnTo>
                <a:lnTo>
                  <a:pt x="3351" y="4968"/>
                </a:lnTo>
                <a:lnTo>
                  <a:pt x="3329" y="4964"/>
                </a:lnTo>
                <a:lnTo>
                  <a:pt x="3306" y="4957"/>
                </a:lnTo>
                <a:lnTo>
                  <a:pt x="3284" y="4950"/>
                </a:lnTo>
                <a:lnTo>
                  <a:pt x="3262" y="4941"/>
                </a:lnTo>
                <a:lnTo>
                  <a:pt x="3240" y="4932"/>
                </a:lnTo>
                <a:lnTo>
                  <a:pt x="3218" y="4923"/>
                </a:lnTo>
                <a:lnTo>
                  <a:pt x="3196" y="4911"/>
                </a:lnTo>
                <a:lnTo>
                  <a:pt x="297" y="3413"/>
                </a:lnTo>
                <a:lnTo>
                  <a:pt x="275" y="3402"/>
                </a:lnTo>
                <a:lnTo>
                  <a:pt x="254" y="3390"/>
                </a:lnTo>
                <a:lnTo>
                  <a:pt x="234" y="3377"/>
                </a:lnTo>
                <a:lnTo>
                  <a:pt x="215" y="3363"/>
                </a:lnTo>
                <a:lnTo>
                  <a:pt x="196" y="3349"/>
                </a:lnTo>
                <a:lnTo>
                  <a:pt x="179" y="3335"/>
                </a:lnTo>
                <a:lnTo>
                  <a:pt x="161" y="3320"/>
                </a:lnTo>
                <a:lnTo>
                  <a:pt x="144" y="3304"/>
                </a:lnTo>
                <a:lnTo>
                  <a:pt x="129" y="3288"/>
                </a:lnTo>
                <a:lnTo>
                  <a:pt x="113" y="3270"/>
                </a:lnTo>
                <a:lnTo>
                  <a:pt x="99" y="3253"/>
                </a:lnTo>
                <a:lnTo>
                  <a:pt x="87" y="3235"/>
                </a:lnTo>
                <a:lnTo>
                  <a:pt x="74" y="3217"/>
                </a:lnTo>
                <a:lnTo>
                  <a:pt x="62" y="3197"/>
                </a:lnTo>
                <a:lnTo>
                  <a:pt x="52" y="3177"/>
                </a:lnTo>
                <a:lnTo>
                  <a:pt x="43" y="3156"/>
                </a:lnTo>
                <a:lnTo>
                  <a:pt x="33" y="3135"/>
                </a:lnTo>
                <a:lnTo>
                  <a:pt x="25" y="3113"/>
                </a:lnTo>
                <a:lnTo>
                  <a:pt x="18" y="3091"/>
                </a:lnTo>
                <a:lnTo>
                  <a:pt x="13" y="3068"/>
                </a:lnTo>
                <a:lnTo>
                  <a:pt x="8" y="3045"/>
                </a:lnTo>
                <a:lnTo>
                  <a:pt x="4" y="3020"/>
                </a:lnTo>
                <a:lnTo>
                  <a:pt x="2" y="2996"/>
                </a:lnTo>
                <a:lnTo>
                  <a:pt x="1" y="2972"/>
                </a:lnTo>
                <a:lnTo>
                  <a:pt x="0" y="2945"/>
                </a:lnTo>
                <a:lnTo>
                  <a:pt x="1" y="2919"/>
                </a:lnTo>
                <a:lnTo>
                  <a:pt x="2" y="2891"/>
                </a:lnTo>
                <a:lnTo>
                  <a:pt x="5" y="2865"/>
                </a:lnTo>
                <a:lnTo>
                  <a:pt x="10" y="2836"/>
                </a:lnTo>
                <a:lnTo>
                  <a:pt x="15" y="2808"/>
                </a:lnTo>
                <a:lnTo>
                  <a:pt x="22" y="2779"/>
                </a:lnTo>
                <a:lnTo>
                  <a:pt x="30" y="2748"/>
                </a:lnTo>
                <a:lnTo>
                  <a:pt x="757" y="151"/>
                </a:lnTo>
                <a:lnTo>
                  <a:pt x="764" y="130"/>
                </a:lnTo>
                <a:lnTo>
                  <a:pt x="772" y="109"/>
                </a:lnTo>
                <a:lnTo>
                  <a:pt x="784" y="90"/>
                </a:lnTo>
                <a:lnTo>
                  <a:pt x="796" y="73"/>
                </a:lnTo>
                <a:lnTo>
                  <a:pt x="810" y="58"/>
                </a:lnTo>
                <a:lnTo>
                  <a:pt x="825" y="43"/>
                </a:lnTo>
                <a:lnTo>
                  <a:pt x="841" y="31"/>
                </a:lnTo>
                <a:lnTo>
                  <a:pt x="858" y="21"/>
                </a:lnTo>
                <a:lnTo>
                  <a:pt x="877" y="11"/>
                </a:lnTo>
                <a:lnTo>
                  <a:pt x="896" y="6"/>
                </a:lnTo>
                <a:lnTo>
                  <a:pt x="906" y="3"/>
                </a:lnTo>
                <a:lnTo>
                  <a:pt x="915" y="2"/>
                </a:lnTo>
                <a:lnTo>
                  <a:pt x="926" y="1"/>
                </a:lnTo>
                <a:lnTo>
                  <a:pt x="936" y="0"/>
                </a:lnTo>
                <a:lnTo>
                  <a:pt x="946" y="0"/>
                </a:lnTo>
                <a:lnTo>
                  <a:pt x="956" y="1"/>
                </a:lnTo>
                <a:lnTo>
                  <a:pt x="967" y="2"/>
                </a:lnTo>
                <a:lnTo>
                  <a:pt x="977" y="4"/>
                </a:lnTo>
                <a:lnTo>
                  <a:pt x="986" y="7"/>
                </a:lnTo>
                <a:lnTo>
                  <a:pt x="997" y="10"/>
                </a:lnTo>
                <a:lnTo>
                  <a:pt x="1007" y="14"/>
                </a:lnTo>
                <a:lnTo>
                  <a:pt x="1018" y="20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6" name="Группа 15"/>
          <p:cNvGrpSpPr/>
          <p:nvPr userDrawn="1"/>
        </p:nvGrpSpPr>
        <p:grpSpPr>
          <a:xfrm>
            <a:off x="531416" y="487363"/>
            <a:ext cx="2332038" cy="455612"/>
            <a:chOff x="490538" y="487363"/>
            <a:chExt cx="2152650" cy="455612"/>
          </a:xfrm>
        </p:grpSpPr>
        <p:sp>
          <p:nvSpPr>
            <p:cNvPr id="17" name="Freeform 5"/>
            <p:cNvSpPr>
              <a:spLocks noEditPoints="1"/>
            </p:cNvSpPr>
            <p:nvPr userDrawn="1"/>
          </p:nvSpPr>
          <p:spPr bwMode="auto">
            <a:xfrm>
              <a:off x="1144588" y="590550"/>
              <a:ext cx="1498600" cy="247650"/>
            </a:xfrm>
            <a:custGeom>
              <a:avLst/>
              <a:gdLst>
                <a:gd name="T0" fmla="*/ 2465 w 11327"/>
                <a:gd name="T1" fmla="*/ 803 h 1868"/>
                <a:gd name="T2" fmla="*/ 2667 w 11327"/>
                <a:gd name="T3" fmla="*/ 466 h 1868"/>
                <a:gd name="T4" fmla="*/ 3049 w 11327"/>
                <a:gd name="T5" fmla="*/ 345 h 1868"/>
                <a:gd name="T6" fmla="*/ 3430 w 11327"/>
                <a:gd name="T7" fmla="*/ 466 h 1868"/>
                <a:gd name="T8" fmla="*/ 3632 w 11327"/>
                <a:gd name="T9" fmla="*/ 803 h 1868"/>
                <a:gd name="T10" fmla="*/ 3574 w 11327"/>
                <a:gd name="T11" fmla="*/ 1233 h 1868"/>
                <a:gd name="T12" fmla="*/ 3284 w 11327"/>
                <a:gd name="T13" fmla="*/ 1483 h 1868"/>
                <a:gd name="T14" fmla="*/ 2870 w 11327"/>
                <a:gd name="T15" fmla="*/ 1500 h 1868"/>
                <a:gd name="T16" fmla="*/ 2553 w 11327"/>
                <a:gd name="T17" fmla="*/ 1281 h 1868"/>
                <a:gd name="T18" fmla="*/ 4046 w 11327"/>
                <a:gd name="T19" fmla="*/ 882 h 1868"/>
                <a:gd name="T20" fmla="*/ 3784 w 11327"/>
                <a:gd name="T21" fmla="*/ 289 h 1868"/>
                <a:gd name="T22" fmla="*/ 3199 w 11327"/>
                <a:gd name="T23" fmla="*/ 10 h 1868"/>
                <a:gd name="T24" fmla="*/ 2536 w 11327"/>
                <a:gd name="T25" fmla="*/ 125 h 1868"/>
                <a:gd name="T26" fmla="*/ 2113 w 11327"/>
                <a:gd name="T27" fmla="*/ 595 h 1868"/>
                <a:gd name="T28" fmla="*/ 2113 w 11327"/>
                <a:gd name="T29" fmla="*/ 1273 h 1868"/>
                <a:gd name="T30" fmla="*/ 2536 w 11327"/>
                <a:gd name="T31" fmla="*/ 1743 h 1868"/>
                <a:gd name="T32" fmla="*/ 3199 w 11327"/>
                <a:gd name="T33" fmla="*/ 1858 h 1868"/>
                <a:gd name="T34" fmla="*/ 3784 w 11327"/>
                <a:gd name="T35" fmla="*/ 1579 h 1868"/>
                <a:gd name="T36" fmla="*/ 4046 w 11327"/>
                <a:gd name="T37" fmla="*/ 985 h 1868"/>
                <a:gd name="T38" fmla="*/ 4444 w 11327"/>
                <a:gd name="T39" fmla="*/ 1443 h 1868"/>
                <a:gd name="T40" fmla="*/ 4540 w 11327"/>
                <a:gd name="T41" fmla="*/ 1808 h 1868"/>
                <a:gd name="T42" fmla="*/ 4811 w 11327"/>
                <a:gd name="T43" fmla="*/ 1650 h 1868"/>
                <a:gd name="T44" fmla="*/ 5796 w 11327"/>
                <a:gd name="T45" fmla="*/ 403 h 1868"/>
                <a:gd name="T46" fmla="*/ 7304 w 11327"/>
                <a:gd name="T47" fmla="*/ 1292 h 1868"/>
                <a:gd name="T48" fmla="*/ 7673 w 11327"/>
                <a:gd name="T49" fmla="*/ 1730 h 1868"/>
                <a:gd name="T50" fmla="*/ 8267 w 11327"/>
                <a:gd name="T51" fmla="*/ 1867 h 1868"/>
                <a:gd name="T52" fmla="*/ 8871 w 11327"/>
                <a:gd name="T53" fmla="*/ 1653 h 1868"/>
                <a:gd name="T54" fmla="*/ 9178 w 11327"/>
                <a:gd name="T55" fmla="*/ 1094 h 1868"/>
                <a:gd name="T56" fmla="*/ 9049 w 11327"/>
                <a:gd name="T57" fmla="*/ 414 h 1868"/>
                <a:gd name="T58" fmla="*/ 8552 w 11327"/>
                <a:gd name="T59" fmla="*/ 48 h 1868"/>
                <a:gd name="T60" fmla="*/ 7924 w 11327"/>
                <a:gd name="T61" fmla="*/ 36 h 1868"/>
                <a:gd name="T62" fmla="*/ 7459 w 11327"/>
                <a:gd name="T63" fmla="*/ 313 h 1868"/>
                <a:gd name="T64" fmla="*/ 6585 w 11327"/>
                <a:gd name="T65" fmla="*/ 42 h 1868"/>
                <a:gd name="T66" fmla="*/ 7740 w 11327"/>
                <a:gd name="T67" fmla="*/ 563 h 1868"/>
                <a:gd name="T68" fmla="*/ 8053 w 11327"/>
                <a:gd name="T69" fmla="*/ 361 h 1868"/>
                <a:gd name="T70" fmla="*/ 8492 w 11327"/>
                <a:gd name="T71" fmla="*/ 396 h 1868"/>
                <a:gd name="T72" fmla="*/ 8744 w 11327"/>
                <a:gd name="T73" fmla="*/ 660 h 1868"/>
                <a:gd name="T74" fmla="*/ 8775 w 11327"/>
                <a:gd name="T75" fmla="*/ 1095 h 1868"/>
                <a:gd name="T76" fmla="*/ 8585 w 11327"/>
                <a:gd name="T77" fmla="*/ 1418 h 1868"/>
                <a:gd name="T78" fmla="*/ 8182 w 11327"/>
                <a:gd name="T79" fmla="*/ 1522 h 1868"/>
                <a:gd name="T80" fmla="*/ 7807 w 11327"/>
                <a:gd name="T81" fmla="*/ 1385 h 1868"/>
                <a:gd name="T82" fmla="*/ 7649 w 11327"/>
                <a:gd name="T83" fmla="*/ 1033 h 1868"/>
                <a:gd name="T84" fmla="*/ 11121 w 11327"/>
                <a:gd name="T85" fmla="*/ 228 h 1868"/>
                <a:gd name="T86" fmla="*/ 10716 w 11327"/>
                <a:gd name="T87" fmla="*/ 30 h 1868"/>
                <a:gd name="T88" fmla="*/ 10126 w 11327"/>
                <a:gd name="T89" fmla="*/ 37 h 1868"/>
                <a:gd name="T90" fmla="*/ 9598 w 11327"/>
                <a:gd name="T91" fmla="*/ 385 h 1868"/>
                <a:gd name="T92" fmla="*/ 9435 w 11327"/>
                <a:gd name="T93" fmla="*/ 1039 h 1868"/>
                <a:gd name="T94" fmla="*/ 9714 w 11327"/>
                <a:gd name="T95" fmla="*/ 1617 h 1868"/>
                <a:gd name="T96" fmla="*/ 10320 w 11327"/>
                <a:gd name="T97" fmla="*/ 1863 h 1868"/>
                <a:gd name="T98" fmla="*/ 10845 w 11327"/>
                <a:gd name="T99" fmla="*/ 1799 h 1868"/>
                <a:gd name="T100" fmla="*/ 11211 w 11327"/>
                <a:gd name="T101" fmla="*/ 1551 h 1868"/>
                <a:gd name="T102" fmla="*/ 10919 w 11327"/>
                <a:gd name="T103" fmla="*/ 1325 h 1868"/>
                <a:gd name="T104" fmla="*/ 10676 w 11327"/>
                <a:gd name="T105" fmla="*/ 1473 h 1868"/>
                <a:gd name="T106" fmla="*/ 10324 w 11327"/>
                <a:gd name="T107" fmla="*/ 1504 h 1868"/>
                <a:gd name="T108" fmla="*/ 9975 w 11327"/>
                <a:gd name="T109" fmla="*/ 1332 h 1868"/>
                <a:gd name="T110" fmla="*/ 9831 w 11327"/>
                <a:gd name="T111" fmla="*/ 966 h 1868"/>
                <a:gd name="T112" fmla="*/ 9938 w 11327"/>
                <a:gd name="T113" fmla="*/ 575 h 1868"/>
                <a:gd name="T114" fmla="*/ 10261 w 11327"/>
                <a:gd name="T115" fmla="*/ 373 h 1868"/>
                <a:gd name="T116" fmla="*/ 10634 w 11327"/>
                <a:gd name="T117" fmla="*/ 382 h 1868"/>
                <a:gd name="T118" fmla="*/ 10890 w 11327"/>
                <a:gd name="T119" fmla="*/ 515 h 1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27" h="1868">
                  <a:moveTo>
                    <a:pt x="0" y="42"/>
                  </a:moveTo>
                  <a:lnTo>
                    <a:pt x="0" y="1822"/>
                  </a:lnTo>
                  <a:lnTo>
                    <a:pt x="399" y="1822"/>
                  </a:lnTo>
                  <a:lnTo>
                    <a:pt x="399" y="400"/>
                  </a:lnTo>
                  <a:lnTo>
                    <a:pt x="1352" y="400"/>
                  </a:lnTo>
                  <a:lnTo>
                    <a:pt x="1352" y="1822"/>
                  </a:lnTo>
                  <a:lnTo>
                    <a:pt x="1755" y="1822"/>
                  </a:lnTo>
                  <a:lnTo>
                    <a:pt x="1755" y="42"/>
                  </a:lnTo>
                  <a:lnTo>
                    <a:pt x="0" y="42"/>
                  </a:lnTo>
                  <a:close/>
                  <a:moveTo>
                    <a:pt x="2454" y="933"/>
                  </a:moveTo>
                  <a:lnTo>
                    <a:pt x="2454" y="900"/>
                  </a:lnTo>
                  <a:lnTo>
                    <a:pt x="2457" y="866"/>
                  </a:lnTo>
                  <a:lnTo>
                    <a:pt x="2460" y="835"/>
                  </a:lnTo>
                  <a:lnTo>
                    <a:pt x="2465" y="803"/>
                  </a:lnTo>
                  <a:lnTo>
                    <a:pt x="2472" y="773"/>
                  </a:lnTo>
                  <a:lnTo>
                    <a:pt x="2480" y="743"/>
                  </a:lnTo>
                  <a:lnTo>
                    <a:pt x="2489" y="715"/>
                  </a:lnTo>
                  <a:lnTo>
                    <a:pt x="2499" y="686"/>
                  </a:lnTo>
                  <a:lnTo>
                    <a:pt x="2511" y="660"/>
                  </a:lnTo>
                  <a:lnTo>
                    <a:pt x="2524" y="634"/>
                  </a:lnTo>
                  <a:lnTo>
                    <a:pt x="2538" y="610"/>
                  </a:lnTo>
                  <a:lnTo>
                    <a:pt x="2553" y="586"/>
                  </a:lnTo>
                  <a:lnTo>
                    <a:pt x="2570" y="563"/>
                  </a:lnTo>
                  <a:lnTo>
                    <a:pt x="2588" y="542"/>
                  </a:lnTo>
                  <a:lnTo>
                    <a:pt x="2606" y="521"/>
                  </a:lnTo>
                  <a:lnTo>
                    <a:pt x="2626" y="501"/>
                  </a:lnTo>
                  <a:lnTo>
                    <a:pt x="2646" y="483"/>
                  </a:lnTo>
                  <a:lnTo>
                    <a:pt x="2667" y="466"/>
                  </a:lnTo>
                  <a:lnTo>
                    <a:pt x="2691" y="449"/>
                  </a:lnTo>
                  <a:lnTo>
                    <a:pt x="2713" y="434"/>
                  </a:lnTo>
                  <a:lnTo>
                    <a:pt x="2737" y="420"/>
                  </a:lnTo>
                  <a:lnTo>
                    <a:pt x="2763" y="408"/>
                  </a:lnTo>
                  <a:lnTo>
                    <a:pt x="2788" y="396"/>
                  </a:lnTo>
                  <a:lnTo>
                    <a:pt x="2815" y="385"/>
                  </a:lnTo>
                  <a:lnTo>
                    <a:pt x="2842" y="375"/>
                  </a:lnTo>
                  <a:lnTo>
                    <a:pt x="2870" y="367"/>
                  </a:lnTo>
                  <a:lnTo>
                    <a:pt x="2898" y="361"/>
                  </a:lnTo>
                  <a:lnTo>
                    <a:pt x="2928" y="355"/>
                  </a:lnTo>
                  <a:lnTo>
                    <a:pt x="2957" y="351"/>
                  </a:lnTo>
                  <a:lnTo>
                    <a:pt x="2988" y="347"/>
                  </a:lnTo>
                  <a:lnTo>
                    <a:pt x="3018" y="345"/>
                  </a:lnTo>
                  <a:lnTo>
                    <a:pt x="3049" y="345"/>
                  </a:lnTo>
                  <a:lnTo>
                    <a:pt x="3080" y="345"/>
                  </a:lnTo>
                  <a:lnTo>
                    <a:pt x="3111" y="347"/>
                  </a:lnTo>
                  <a:lnTo>
                    <a:pt x="3141" y="351"/>
                  </a:lnTo>
                  <a:lnTo>
                    <a:pt x="3171" y="355"/>
                  </a:lnTo>
                  <a:lnTo>
                    <a:pt x="3200" y="361"/>
                  </a:lnTo>
                  <a:lnTo>
                    <a:pt x="3229" y="367"/>
                  </a:lnTo>
                  <a:lnTo>
                    <a:pt x="3256" y="375"/>
                  </a:lnTo>
                  <a:lnTo>
                    <a:pt x="3284" y="385"/>
                  </a:lnTo>
                  <a:lnTo>
                    <a:pt x="3310" y="396"/>
                  </a:lnTo>
                  <a:lnTo>
                    <a:pt x="3335" y="408"/>
                  </a:lnTo>
                  <a:lnTo>
                    <a:pt x="3361" y="420"/>
                  </a:lnTo>
                  <a:lnTo>
                    <a:pt x="3384" y="434"/>
                  </a:lnTo>
                  <a:lnTo>
                    <a:pt x="3408" y="449"/>
                  </a:lnTo>
                  <a:lnTo>
                    <a:pt x="3430" y="466"/>
                  </a:lnTo>
                  <a:lnTo>
                    <a:pt x="3452" y="483"/>
                  </a:lnTo>
                  <a:lnTo>
                    <a:pt x="3473" y="501"/>
                  </a:lnTo>
                  <a:lnTo>
                    <a:pt x="3492" y="521"/>
                  </a:lnTo>
                  <a:lnTo>
                    <a:pt x="3510" y="542"/>
                  </a:lnTo>
                  <a:lnTo>
                    <a:pt x="3528" y="563"/>
                  </a:lnTo>
                  <a:lnTo>
                    <a:pt x="3545" y="586"/>
                  </a:lnTo>
                  <a:lnTo>
                    <a:pt x="3560" y="610"/>
                  </a:lnTo>
                  <a:lnTo>
                    <a:pt x="3574" y="634"/>
                  </a:lnTo>
                  <a:lnTo>
                    <a:pt x="3587" y="660"/>
                  </a:lnTo>
                  <a:lnTo>
                    <a:pt x="3599" y="686"/>
                  </a:lnTo>
                  <a:lnTo>
                    <a:pt x="3609" y="715"/>
                  </a:lnTo>
                  <a:lnTo>
                    <a:pt x="3618" y="743"/>
                  </a:lnTo>
                  <a:lnTo>
                    <a:pt x="3626" y="773"/>
                  </a:lnTo>
                  <a:lnTo>
                    <a:pt x="3632" y="803"/>
                  </a:lnTo>
                  <a:lnTo>
                    <a:pt x="3637" y="835"/>
                  </a:lnTo>
                  <a:lnTo>
                    <a:pt x="3642" y="866"/>
                  </a:lnTo>
                  <a:lnTo>
                    <a:pt x="3644" y="900"/>
                  </a:lnTo>
                  <a:lnTo>
                    <a:pt x="3645" y="933"/>
                  </a:lnTo>
                  <a:lnTo>
                    <a:pt x="3644" y="968"/>
                  </a:lnTo>
                  <a:lnTo>
                    <a:pt x="3642" y="1001"/>
                  </a:lnTo>
                  <a:lnTo>
                    <a:pt x="3637" y="1033"/>
                  </a:lnTo>
                  <a:lnTo>
                    <a:pt x="3632" y="1065"/>
                  </a:lnTo>
                  <a:lnTo>
                    <a:pt x="3626" y="1095"/>
                  </a:lnTo>
                  <a:lnTo>
                    <a:pt x="3618" y="1125"/>
                  </a:lnTo>
                  <a:lnTo>
                    <a:pt x="3609" y="1153"/>
                  </a:lnTo>
                  <a:lnTo>
                    <a:pt x="3599" y="1181"/>
                  </a:lnTo>
                  <a:lnTo>
                    <a:pt x="3587" y="1207"/>
                  </a:lnTo>
                  <a:lnTo>
                    <a:pt x="3574" y="1233"/>
                  </a:lnTo>
                  <a:lnTo>
                    <a:pt x="3560" y="1258"/>
                  </a:lnTo>
                  <a:lnTo>
                    <a:pt x="3545" y="1281"/>
                  </a:lnTo>
                  <a:lnTo>
                    <a:pt x="3528" y="1305"/>
                  </a:lnTo>
                  <a:lnTo>
                    <a:pt x="3510" y="1326"/>
                  </a:lnTo>
                  <a:lnTo>
                    <a:pt x="3492" y="1346"/>
                  </a:lnTo>
                  <a:lnTo>
                    <a:pt x="3473" y="1366"/>
                  </a:lnTo>
                  <a:lnTo>
                    <a:pt x="3452" y="1385"/>
                  </a:lnTo>
                  <a:lnTo>
                    <a:pt x="3430" y="1402"/>
                  </a:lnTo>
                  <a:lnTo>
                    <a:pt x="3408" y="1418"/>
                  </a:lnTo>
                  <a:lnTo>
                    <a:pt x="3384" y="1434"/>
                  </a:lnTo>
                  <a:lnTo>
                    <a:pt x="3361" y="1447"/>
                  </a:lnTo>
                  <a:lnTo>
                    <a:pt x="3335" y="1460"/>
                  </a:lnTo>
                  <a:lnTo>
                    <a:pt x="3310" y="1472"/>
                  </a:lnTo>
                  <a:lnTo>
                    <a:pt x="3284" y="1483"/>
                  </a:lnTo>
                  <a:lnTo>
                    <a:pt x="3256" y="1492"/>
                  </a:lnTo>
                  <a:lnTo>
                    <a:pt x="3229" y="1500"/>
                  </a:lnTo>
                  <a:lnTo>
                    <a:pt x="3200" y="1507"/>
                  </a:lnTo>
                  <a:lnTo>
                    <a:pt x="3171" y="1513"/>
                  </a:lnTo>
                  <a:lnTo>
                    <a:pt x="3141" y="1517"/>
                  </a:lnTo>
                  <a:lnTo>
                    <a:pt x="3111" y="1520"/>
                  </a:lnTo>
                  <a:lnTo>
                    <a:pt x="3080" y="1522"/>
                  </a:lnTo>
                  <a:lnTo>
                    <a:pt x="3049" y="1523"/>
                  </a:lnTo>
                  <a:lnTo>
                    <a:pt x="3018" y="1522"/>
                  </a:lnTo>
                  <a:lnTo>
                    <a:pt x="2988" y="1520"/>
                  </a:lnTo>
                  <a:lnTo>
                    <a:pt x="2957" y="1517"/>
                  </a:lnTo>
                  <a:lnTo>
                    <a:pt x="2928" y="1513"/>
                  </a:lnTo>
                  <a:lnTo>
                    <a:pt x="2898" y="1507"/>
                  </a:lnTo>
                  <a:lnTo>
                    <a:pt x="2870" y="1500"/>
                  </a:lnTo>
                  <a:lnTo>
                    <a:pt x="2842" y="1492"/>
                  </a:lnTo>
                  <a:lnTo>
                    <a:pt x="2815" y="1483"/>
                  </a:lnTo>
                  <a:lnTo>
                    <a:pt x="2788" y="1472"/>
                  </a:lnTo>
                  <a:lnTo>
                    <a:pt x="2763" y="1460"/>
                  </a:lnTo>
                  <a:lnTo>
                    <a:pt x="2737" y="1447"/>
                  </a:lnTo>
                  <a:lnTo>
                    <a:pt x="2713" y="1434"/>
                  </a:lnTo>
                  <a:lnTo>
                    <a:pt x="2691" y="1418"/>
                  </a:lnTo>
                  <a:lnTo>
                    <a:pt x="2667" y="1402"/>
                  </a:lnTo>
                  <a:lnTo>
                    <a:pt x="2646" y="1385"/>
                  </a:lnTo>
                  <a:lnTo>
                    <a:pt x="2626" y="1366"/>
                  </a:lnTo>
                  <a:lnTo>
                    <a:pt x="2606" y="1346"/>
                  </a:lnTo>
                  <a:lnTo>
                    <a:pt x="2588" y="1326"/>
                  </a:lnTo>
                  <a:lnTo>
                    <a:pt x="2570" y="1305"/>
                  </a:lnTo>
                  <a:lnTo>
                    <a:pt x="2553" y="1281"/>
                  </a:lnTo>
                  <a:lnTo>
                    <a:pt x="2538" y="1258"/>
                  </a:lnTo>
                  <a:lnTo>
                    <a:pt x="2524" y="1233"/>
                  </a:lnTo>
                  <a:lnTo>
                    <a:pt x="2511" y="1207"/>
                  </a:lnTo>
                  <a:lnTo>
                    <a:pt x="2499" y="1181"/>
                  </a:lnTo>
                  <a:lnTo>
                    <a:pt x="2489" y="1153"/>
                  </a:lnTo>
                  <a:lnTo>
                    <a:pt x="2480" y="1125"/>
                  </a:lnTo>
                  <a:lnTo>
                    <a:pt x="2472" y="1095"/>
                  </a:lnTo>
                  <a:lnTo>
                    <a:pt x="2465" y="1065"/>
                  </a:lnTo>
                  <a:lnTo>
                    <a:pt x="2460" y="1033"/>
                  </a:lnTo>
                  <a:lnTo>
                    <a:pt x="2457" y="1001"/>
                  </a:lnTo>
                  <a:lnTo>
                    <a:pt x="2454" y="968"/>
                  </a:lnTo>
                  <a:lnTo>
                    <a:pt x="2454" y="933"/>
                  </a:lnTo>
                  <a:close/>
                  <a:moveTo>
                    <a:pt x="4047" y="933"/>
                  </a:moveTo>
                  <a:lnTo>
                    <a:pt x="4046" y="882"/>
                  </a:lnTo>
                  <a:lnTo>
                    <a:pt x="4042" y="831"/>
                  </a:lnTo>
                  <a:lnTo>
                    <a:pt x="4035" y="781"/>
                  </a:lnTo>
                  <a:lnTo>
                    <a:pt x="4026" y="733"/>
                  </a:lnTo>
                  <a:lnTo>
                    <a:pt x="4015" y="685"/>
                  </a:lnTo>
                  <a:lnTo>
                    <a:pt x="4002" y="640"/>
                  </a:lnTo>
                  <a:lnTo>
                    <a:pt x="3985" y="595"/>
                  </a:lnTo>
                  <a:lnTo>
                    <a:pt x="3967" y="551"/>
                  </a:lnTo>
                  <a:lnTo>
                    <a:pt x="3947" y="509"/>
                  </a:lnTo>
                  <a:lnTo>
                    <a:pt x="3924" y="469"/>
                  </a:lnTo>
                  <a:lnTo>
                    <a:pt x="3900" y="430"/>
                  </a:lnTo>
                  <a:lnTo>
                    <a:pt x="3874" y="392"/>
                  </a:lnTo>
                  <a:lnTo>
                    <a:pt x="3846" y="356"/>
                  </a:lnTo>
                  <a:lnTo>
                    <a:pt x="3815" y="321"/>
                  </a:lnTo>
                  <a:lnTo>
                    <a:pt x="3784" y="289"/>
                  </a:lnTo>
                  <a:lnTo>
                    <a:pt x="3751" y="257"/>
                  </a:lnTo>
                  <a:lnTo>
                    <a:pt x="3716" y="227"/>
                  </a:lnTo>
                  <a:lnTo>
                    <a:pt x="3679" y="199"/>
                  </a:lnTo>
                  <a:lnTo>
                    <a:pt x="3642" y="173"/>
                  </a:lnTo>
                  <a:lnTo>
                    <a:pt x="3603" y="147"/>
                  </a:lnTo>
                  <a:lnTo>
                    <a:pt x="3562" y="125"/>
                  </a:lnTo>
                  <a:lnTo>
                    <a:pt x="3521" y="104"/>
                  </a:lnTo>
                  <a:lnTo>
                    <a:pt x="3477" y="84"/>
                  </a:lnTo>
                  <a:lnTo>
                    <a:pt x="3433" y="67"/>
                  </a:lnTo>
                  <a:lnTo>
                    <a:pt x="3388" y="52"/>
                  </a:lnTo>
                  <a:lnTo>
                    <a:pt x="3342" y="39"/>
                  </a:lnTo>
                  <a:lnTo>
                    <a:pt x="3295" y="26"/>
                  </a:lnTo>
                  <a:lnTo>
                    <a:pt x="3247" y="17"/>
                  </a:lnTo>
                  <a:lnTo>
                    <a:pt x="3199" y="10"/>
                  </a:lnTo>
                  <a:lnTo>
                    <a:pt x="3149" y="4"/>
                  </a:lnTo>
                  <a:lnTo>
                    <a:pt x="3099" y="1"/>
                  </a:lnTo>
                  <a:lnTo>
                    <a:pt x="3049" y="0"/>
                  </a:lnTo>
                  <a:lnTo>
                    <a:pt x="2999" y="1"/>
                  </a:lnTo>
                  <a:lnTo>
                    <a:pt x="2949" y="4"/>
                  </a:lnTo>
                  <a:lnTo>
                    <a:pt x="2899" y="10"/>
                  </a:lnTo>
                  <a:lnTo>
                    <a:pt x="2851" y="17"/>
                  </a:lnTo>
                  <a:lnTo>
                    <a:pt x="2804" y="26"/>
                  </a:lnTo>
                  <a:lnTo>
                    <a:pt x="2756" y="39"/>
                  </a:lnTo>
                  <a:lnTo>
                    <a:pt x="2710" y="52"/>
                  </a:lnTo>
                  <a:lnTo>
                    <a:pt x="2665" y="67"/>
                  </a:lnTo>
                  <a:lnTo>
                    <a:pt x="2620" y="84"/>
                  </a:lnTo>
                  <a:lnTo>
                    <a:pt x="2578" y="104"/>
                  </a:lnTo>
                  <a:lnTo>
                    <a:pt x="2536" y="125"/>
                  </a:lnTo>
                  <a:lnTo>
                    <a:pt x="2495" y="147"/>
                  </a:lnTo>
                  <a:lnTo>
                    <a:pt x="2457" y="173"/>
                  </a:lnTo>
                  <a:lnTo>
                    <a:pt x="2418" y="199"/>
                  </a:lnTo>
                  <a:lnTo>
                    <a:pt x="2382" y="227"/>
                  </a:lnTo>
                  <a:lnTo>
                    <a:pt x="2347" y="257"/>
                  </a:lnTo>
                  <a:lnTo>
                    <a:pt x="2313" y="289"/>
                  </a:lnTo>
                  <a:lnTo>
                    <a:pt x="2282" y="321"/>
                  </a:lnTo>
                  <a:lnTo>
                    <a:pt x="2252" y="356"/>
                  </a:lnTo>
                  <a:lnTo>
                    <a:pt x="2224" y="392"/>
                  </a:lnTo>
                  <a:lnTo>
                    <a:pt x="2197" y="430"/>
                  </a:lnTo>
                  <a:lnTo>
                    <a:pt x="2173" y="469"/>
                  </a:lnTo>
                  <a:lnTo>
                    <a:pt x="2152" y="509"/>
                  </a:lnTo>
                  <a:lnTo>
                    <a:pt x="2131" y="551"/>
                  </a:lnTo>
                  <a:lnTo>
                    <a:pt x="2113" y="595"/>
                  </a:lnTo>
                  <a:lnTo>
                    <a:pt x="2097" y="640"/>
                  </a:lnTo>
                  <a:lnTo>
                    <a:pt x="2083" y="685"/>
                  </a:lnTo>
                  <a:lnTo>
                    <a:pt x="2071" y="733"/>
                  </a:lnTo>
                  <a:lnTo>
                    <a:pt x="2063" y="781"/>
                  </a:lnTo>
                  <a:lnTo>
                    <a:pt x="2056" y="831"/>
                  </a:lnTo>
                  <a:lnTo>
                    <a:pt x="2052" y="882"/>
                  </a:lnTo>
                  <a:lnTo>
                    <a:pt x="2051" y="933"/>
                  </a:lnTo>
                  <a:lnTo>
                    <a:pt x="2052" y="985"/>
                  </a:lnTo>
                  <a:lnTo>
                    <a:pt x="2056" y="1036"/>
                  </a:lnTo>
                  <a:lnTo>
                    <a:pt x="2063" y="1086"/>
                  </a:lnTo>
                  <a:lnTo>
                    <a:pt x="2071" y="1135"/>
                  </a:lnTo>
                  <a:lnTo>
                    <a:pt x="2083" y="1182"/>
                  </a:lnTo>
                  <a:lnTo>
                    <a:pt x="2097" y="1228"/>
                  </a:lnTo>
                  <a:lnTo>
                    <a:pt x="2113" y="1273"/>
                  </a:lnTo>
                  <a:lnTo>
                    <a:pt x="2131" y="1316"/>
                  </a:lnTo>
                  <a:lnTo>
                    <a:pt x="2152" y="1357"/>
                  </a:lnTo>
                  <a:lnTo>
                    <a:pt x="2173" y="1398"/>
                  </a:lnTo>
                  <a:lnTo>
                    <a:pt x="2197" y="1438"/>
                  </a:lnTo>
                  <a:lnTo>
                    <a:pt x="2224" y="1475"/>
                  </a:lnTo>
                  <a:lnTo>
                    <a:pt x="2252" y="1512"/>
                  </a:lnTo>
                  <a:lnTo>
                    <a:pt x="2282" y="1547"/>
                  </a:lnTo>
                  <a:lnTo>
                    <a:pt x="2313" y="1579"/>
                  </a:lnTo>
                  <a:lnTo>
                    <a:pt x="2347" y="1611"/>
                  </a:lnTo>
                  <a:lnTo>
                    <a:pt x="2382" y="1640"/>
                  </a:lnTo>
                  <a:lnTo>
                    <a:pt x="2418" y="1669"/>
                  </a:lnTo>
                  <a:lnTo>
                    <a:pt x="2457" y="1695"/>
                  </a:lnTo>
                  <a:lnTo>
                    <a:pt x="2495" y="1719"/>
                  </a:lnTo>
                  <a:lnTo>
                    <a:pt x="2536" y="1743"/>
                  </a:lnTo>
                  <a:lnTo>
                    <a:pt x="2578" y="1764"/>
                  </a:lnTo>
                  <a:lnTo>
                    <a:pt x="2620" y="1782"/>
                  </a:lnTo>
                  <a:lnTo>
                    <a:pt x="2665" y="1801"/>
                  </a:lnTo>
                  <a:lnTo>
                    <a:pt x="2710" y="1816"/>
                  </a:lnTo>
                  <a:lnTo>
                    <a:pt x="2756" y="1829"/>
                  </a:lnTo>
                  <a:lnTo>
                    <a:pt x="2804" y="1840"/>
                  </a:lnTo>
                  <a:lnTo>
                    <a:pt x="2851" y="1851"/>
                  </a:lnTo>
                  <a:lnTo>
                    <a:pt x="2899" y="1858"/>
                  </a:lnTo>
                  <a:lnTo>
                    <a:pt x="2949" y="1863"/>
                  </a:lnTo>
                  <a:lnTo>
                    <a:pt x="2999" y="1866"/>
                  </a:lnTo>
                  <a:lnTo>
                    <a:pt x="3049" y="1868"/>
                  </a:lnTo>
                  <a:lnTo>
                    <a:pt x="3099" y="1866"/>
                  </a:lnTo>
                  <a:lnTo>
                    <a:pt x="3149" y="1863"/>
                  </a:lnTo>
                  <a:lnTo>
                    <a:pt x="3199" y="1858"/>
                  </a:lnTo>
                  <a:lnTo>
                    <a:pt x="3247" y="1851"/>
                  </a:lnTo>
                  <a:lnTo>
                    <a:pt x="3295" y="1840"/>
                  </a:lnTo>
                  <a:lnTo>
                    <a:pt x="3342" y="1829"/>
                  </a:lnTo>
                  <a:lnTo>
                    <a:pt x="3388" y="1816"/>
                  </a:lnTo>
                  <a:lnTo>
                    <a:pt x="3433" y="1801"/>
                  </a:lnTo>
                  <a:lnTo>
                    <a:pt x="3477" y="1782"/>
                  </a:lnTo>
                  <a:lnTo>
                    <a:pt x="3521" y="1764"/>
                  </a:lnTo>
                  <a:lnTo>
                    <a:pt x="3562" y="1743"/>
                  </a:lnTo>
                  <a:lnTo>
                    <a:pt x="3603" y="1719"/>
                  </a:lnTo>
                  <a:lnTo>
                    <a:pt x="3642" y="1695"/>
                  </a:lnTo>
                  <a:lnTo>
                    <a:pt x="3679" y="1669"/>
                  </a:lnTo>
                  <a:lnTo>
                    <a:pt x="3716" y="1640"/>
                  </a:lnTo>
                  <a:lnTo>
                    <a:pt x="3751" y="1611"/>
                  </a:lnTo>
                  <a:lnTo>
                    <a:pt x="3784" y="1579"/>
                  </a:lnTo>
                  <a:lnTo>
                    <a:pt x="3815" y="1547"/>
                  </a:lnTo>
                  <a:lnTo>
                    <a:pt x="3846" y="1512"/>
                  </a:lnTo>
                  <a:lnTo>
                    <a:pt x="3874" y="1475"/>
                  </a:lnTo>
                  <a:lnTo>
                    <a:pt x="3900" y="1438"/>
                  </a:lnTo>
                  <a:lnTo>
                    <a:pt x="3924" y="1398"/>
                  </a:lnTo>
                  <a:lnTo>
                    <a:pt x="3947" y="1357"/>
                  </a:lnTo>
                  <a:lnTo>
                    <a:pt x="3967" y="1316"/>
                  </a:lnTo>
                  <a:lnTo>
                    <a:pt x="3985" y="1273"/>
                  </a:lnTo>
                  <a:lnTo>
                    <a:pt x="4002" y="1228"/>
                  </a:lnTo>
                  <a:lnTo>
                    <a:pt x="4015" y="1182"/>
                  </a:lnTo>
                  <a:lnTo>
                    <a:pt x="4026" y="1135"/>
                  </a:lnTo>
                  <a:lnTo>
                    <a:pt x="4035" y="1086"/>
                  </a:lnTo>
                  <a:lnTo>
                    <a:pt x="4042" y="1036"/>
                  </a:lnTo>
                  <a:lnTo>
                    <a:pt x="4046" y="985"/>
                  </a:lnTo>
                  <a:lnTo>
                    <a:pt x="4047" y="933"/>
                  </a:lnTo>
                  <a:close/>
                  <a:moveTo>
                    <a:pt x="4779" y="42"/>
                  </a:moveTo>
                  <a:lnTo>
                    <a:pt x="4540" y="1317"/>
                  </a:lnTo>
                  <a:lnTo>
                    <a:pt x="4535" y="1334"/>
                  </a:lnTo>
                  <a:lnTo>
                    <a:pt x="4530" y="1350"/>
                  </a:lnTo>
                  <a:lnTo>
                    <a:pt x="4524" y="1366"/>
                  </a:lnTo>
                  <a:lnTo>
                    <a:pt x="4517" y="1379"/>
                  </a:lnTo>
                  <a:lnTo>
                    <a:pt x="4510" y="1392"/>
                  </a:lnTo>
                  <a:lnTo>
                    <a:pt x="4501" y="1403"/>
                  </a:lnTo>
                  <a:lnTo>
                    <a:pt x="4491" y="1413"/>
                  </a:lnTo>
                  <a:lnTo>
                    <a:pt x="4481" y="1423"/>
                  </a:lnTo>
                  <a:lnTo>
                    <a:pt x="4469" y="1431"/>
                  </a:lnTo>
                  <a:lnTo>
                    <a:pt x="4457" y="1437"/>
                  </a:lnTo>
                  <a:lnTo>
                    <a:pt x="4444" y="1443"/>
                  </a:lnTo>
                  <a:lnTo>
                    <a:pt x="4430" y="1447"/>
                  </a:lnTo>
                  <a:lnTo>
                    <a:pt x="4415" y="1451"/>
                  </a:lnTo>
                  <a:lnTo>
                    <a:pt x="4399" y="1453"/>
                  </a:lnTo>
                  <a:lnTo>
                    <a:pt x="4383" y="1455"/>
                  </a:lnTo>
                  <a:lnTo>
                    <a:pt x="4366" y="1455"/>
                  </a:lnTo>
                  <a:lnTo>
                    <a:pt x="4172" y="1455"/>
                  </a:lnTo>
                  <a:lnTo>
                    <a:pt x="4172" y="1822"/>
                  </a:lnTo>
                  <a:lnTo>
                    <a:pt x="4385" y="1822"/>
                  </a:lnTo>
                  <a:lnTo>
                    <a:pt x="4412" y="1822"/>
                  </a:lnTo>
                  <a:lnTo>
                    <a:pt x="4439" y="1821"/>
                  </a:lnTo>
                  <a:lnTo>
                    <a:pt x="4465" y="1819"/>
                  </a:lnTo>
                  <a:lnTo>
                    <a:pt x="4491" y="1816"/>
                  </a:lnTo>
                  <a:lnTo>
                    <a:pt x="4515" y="1812"/>
                  </a:lnTo>
                  <a:lnTo>
                    <a:pt x="4540" y="1808"/>
                  </a:lnTo>
                  <a:lnTo>
                    <a:pt x="4563" y="1802"/>
                  </a:lnTo>
                  <a:lnTo>
                    <a:pt x="4586" y="1796"/>
                  </a:lnTo>
                  <a:lnTo>
                    <a:pt x="4609" y="1789"/>
                  </a:lnTo>
                  <a:lnTo>
                    <a:pt x="4630" y="1780"/>
                  </a:lnTo>
                  <a:lnTo>
                    <a:pt x="4651" y="1771"/>
                  </a:lnTo>
                  <a:lnTo>
                    <a:pt x="4672" y="1762"/>
                  </a:lnTo>
                  <a:lnTo>
                    <a:pt x="4692" y="1751"/>
                  </a:lnTo>
                  <a:lnTo>
                    <a:pt x="4710" y="1740"/>
                  </a:lnTo>
                  <a:lnTo>
                    <a:pt x="4730" y="1728"/>
                  </a:lnTo>
                  <a:lnTo>
                    <a:pt x="4747" y="1713"/>
                  </a:lnTo>
                  <a:lnTo>
                    <a:pt x="4764" y="1699"/>
                  </a:lnTo>
                  <a:lnTo>
                    <a:pt x="4781" y="1684"/>
                  </a:lnTo>
                  <a:lnTo>
                    <a:pt x="4796" y="1668"/>
                  </a:lnTo>
                  <a:lnTo>
                    <a:pt x="4811" y="1650"/>
                  </a:lnTo>
                  <a:lnTo>
                    <a:pt x="4825" y="1633"/>
                  </a:lnTo>
                  <a:lnTo>
                    <a:pt x="4839" y="1614"/>
                  </a:lnTo>
                  <a:lnTo>
                    <a:pt x="4852" y="1593"/>
                  </a:lnTo>
                  <a:lnTo>
                    <a:pt x="4864" y="1572"/>
                  </a:lnTo>
                  <a:lnTo>
                    <a:pt x="4875" y="1551"/>
                  </a:lnTo>
                  <a:lnTo>
                    <a:pt x="4885" y="1527"/>
                  </a:lnTo>
                  <a:lnTo>
                    <a:pt x="4895" y="1504"/>
                  </a:lnTo>
                  <a:lnTo>
                    <a:pt x="4905" y="1478"/>
                  </a:lnTo>
                  <a:lnTo>
                    <a:pt x="4913" y="1452"/>
                  </a:lnTo>
                  <a:lnTo>
                    <a:pt x="4920" y="1426"/>
                  </a:lnTo>
                  <a:lnTo>
                    <a:pt x="4927" y="1397"/>
                  </a:lnTo>
                  <a:lnTo>
                    <a:pt x="4932" y="1369"/>
                  </a:lnTo>
                  <a:lnTo>
                    <a:pt x="5113" y="403"/>
                  </a:lnTo>
                  <a:lnTo>
                    <a:pt x="5796" y="403"/>
                  </a:lnTo>
                  <a:lnTo>
                    <a:pt x="5796" y="1822"/>
                  </a:lnTo>
                  <a:lnTo>
                    <a:pt x="6198" y="1822"/>
                  </a:lnTo>
                  <a:lnTo>
                    <a:pt x="6198" y="42"/>
                  </a:lnTo>
                  <a:lnTo>
                    <a:pt x="4779" y="42"/>
                  </a:lnTo>
                  <a:close/>
                  <a:moveTo>
                    <a:pt x="6585" y="42"/>
                  </a:moveTo>
                  <a:lnTo>
                    <a:pt x="6585" y="1822"/>
                  </a:lnTo>
                  <a:lnTo>
                    <a:pt x="6980" y="1822"/>
                  </a:lnTo>
                  <a:lnTo>
                    <a:pt x="6980" y="1069"/>
                  </a:lnTo>
                  <a:lnTo>
                    <a:pt x="7251" y="1069"/>
                  </a:lnTo>
                  <a:lnTo>
                    <a:pt x="7258" y="1116"/>
                  </a:lnTo>
                  <a:lnTo>
                    <a:pt x="7266" y="1162"/>
                  </a:lnTo>
                  <a:lnTo>
                    <a:pt x="7277" y="1207"/>
                  </a:lnTo>
                  <a:lnTo>
                    <a:pt x="7290" y="1251"/>
                  </a:lnTo>
                  <a:lnTo>
                    <a:pt x="7304" y="1292"/>
                  </a:lnTo>
                  <a:lnTo>
                    <a:pt x="7320" y="1333"/>
                  </a:lnTo>
                  <a:lnTo>
                    <a:pt x="7338" y="1372"/>
                  </a:lnTo>
                  <a:lnTo>
                    <a:pt x="7358" y="1409"/>
                  </a:lnTo>
                  <a:lnTo>
                    <a:pt x="7379" y="1446"/>
                  </a:lnTo>
                  <a:lnTo>
                    <a:pt x="7402" y="1482"/>
                  </a:lnTo>
                  <a:lnTo>
                    <a:pt x="7427" y="1514"/>
                  </a:lnTo>
                  <a:lnTo>
                    <a:pt x="7452" y="1547"/>
                  </a:lnTo>
                  <a:lnTo>
                    <a:pt x="7480" y="1577"/>
                  </a:lnTo>
                  <a:lnTo>
                    <a:pt x="7509" y="1607"/>
                  </a:lnTo>
                  <a:lnTo>
                    <a:pt x="7540" y="1634"/>
                  </a:lnTo>
                  <a:lnTo>
                    <a:pt x="7571" y="1660"/>
                  </a:lnTo>
                  <a:lnTo>
                    <a:pt x="7604" y="1685"/>
                  </a:lnTo>
                  <a:lnTo>
                    <a:pt x="7637" y="1708"/>
                  </a:lnTo>
                  <a:lnTo>
                    <a:pt x="7673" y="1730"/>
                  </a:lnTo>
                  <a:lnTo>
                    <a:pt x="7710" y="1750"/>
                  </a:lnTo>
                  <a:lnTo>
                    <a:pt x="7747" y="1768"/>
                  </a:lnTo>
                  <a:lnTo>
                    <a:pt x="7786" y="1786"/>
                  </a:lnTo>
                  <a:lnTo>
                    <a:pt x="7824" y="1801"/>
                  </a:lnTo>
                  <a:lnTo>
                    <a:pt x="7865" y="1815"/>
                  </a:lnTo>
                  <a:lnTo>
                    <a:pt x="7907" y="1827"/>
                  </a:lnTo>
                  <a:lnTo>
                    <a:pt x="7949" y="1837"/>
                  </a:lnTo>
                  <a:lnTo>
                    <a:pt x="7991" y="1847"/>
                  </a:lnTo>
                  <a:lnTo>
                    <a:pt x="8035" y="1854"/>
                  </a:lnTo>
                  <a:lnTo>
                    <a:pt x="8080" y="1860"/>
                  </a:lnTo>
                  <a:lnTo>
                    <a:pt x="8124" y="1864"/>
                  </a:lnTo>
                  <a:lnTo>
                    <a:pt x="8170" y="1867"/>
                  </a:lnTo>
                  <a:lnTo>
                    <a:pt x="8217" y="1868"/>
                  </a:lnTo>
                  <a:lnTo>
                    <a:pt x="8267" y="1867"/>
                  </a:lnTo>
                  <a:lnTo>
                    <a:pt x="8317" y="1864"/>
                  </a:lnTo>
                  <a:lnTo>
                    <a:pt x="8364" y="1859"/>
                  </a:lnTo>
                  <a:lnTo>
                    <a:pt x="8413" y="1852"/>
                  </a:lnTo>
                  <a:lnTo>
                    <a:pt x="8460" y="1842"/>
                  </a:lnTo>
                  <a:lnTo>
                    <a:pt x="8506" y="1832"/>
                  </a:lnTo>
                  <a:lnTo>
                    <a:pt x="8552" y="1820"/>
                  </a:lnTo>
                  <a:lnTo>
                    <a:pt x="8595" y="1805"/>
                  </a:lnTo>
                  <a:lnTo>
                    <a:pt x="8639" y="1789"/>
                  </a:lnTo>
                  <a:lnTo>
                    <a:pt x="8681" y="1771"/>
                  </a:lnTo>
                  <a:lnTo>
                    <a:pt x="8721" y="1751"/>
                  </a:lnTo>
                  <a:lnTo>
                    <a:pt x="8761" y="1729"/>
                  </a:lnTo>
                  <a:lnTo>
                    <a:pt x="8799" y="1705"/>
                  </a:lnTo>
                  <a:lnTo>
                    <a:pt x="8835" y="1680"/>
                  </a:lnTo>
                  <a:lnTo>
                    <a:pt x="8871" y="1653"/>
                  </a:lnTo>
                  <a:lnTo>
                    <a:pt x="8905" y="1624"/>
                  </a:lnTo>
                  <a:lnTo>
                    <a:pt x="8937" y="1593"/>
                  </a:lnTo>
                  <a:lnTo>
                    <a:pt x="8968" y="1561"/>
                  </a:lnTo>
                  <a:lnTo>
                    <a:pt x="8996" y="1526"/>
                  </a:lnTo>
                  <a:lnTo>
                    <a:pt x="9023" y="1491"/>
                  </a:lnTo>
                  <a:lnTo>
                    <a:pt x="9049" y="1453"/>
                  </a:lnTo>
                  <a:lnTo>
                    <a:pt x="9072" y="1414"/>
                  </a:lnTo>
                  <a:lnTo>
                    <a:pt x="9094" y="1374"/>
                  </a:lnTo>
                  <a:lnTo>
                    <a:pt x="9113" y="1331"/>
                  </a:lnTo>
                  <a:lnTo>
                    <a:pt x="9130" y="1287"/>
                  </a:lnTo>
                  <a:lnTo>
                    <a:pt x="9146" y="1242"/>
                  </a:lnTo>
                  <a:lnTo>
                    <a:pt x="9159" y="1194"/>
                  </a:lnTo>
                  <a:lnTo>
                    <a:pt x="9169" y="1145"/>
                  </a:lnTo>
                  <a:lnTo>
                    <a:pt x="9178" y="1094"/>
                  </a:lnTo>
                  <a:lnTo>
                    <a:pt x="9184" y="1042"/>
                  </a:lnTo>
                  <a:lnTo>
                    <a:pt x="9188" y="988"/>
                  </a:lnTo>
                  <a:lnTo>
                    <a:pt x="9189" y="933"/>
                  </a:lnTo>
                  <a:lnTo>
                    <a:pt x="9188" y="879"/>
                  </a:lnTo>
                  <a:lnTo>
                    <a:pt x="9184" y="825"/>
                  </a:lnTo>
                  <a:lnTo>
                    <a:pt x="9178" y="773"/>
                  </a:lnTo>
                  <a:lnTo>
                    <a:pt x="9169" y="723"/>
                  </a:lnTo>
                  <a:lnTo>
                    <a:pt x="9159" y="674"/>
                  </a:lnTo>
                  <a:lnTo>
                    <a:pt x="9146" y="626"/>
                  </a:lnTo>
                  <a:lnTo>
                    <a:pt x="9130" y="581"/>
                  </a:lnTo>
                  <a:lnTo>
                    <a:pt x="9113" y="537"/>
                  </a:lnTo>
                  <a:lnTo>
                    <a:pt x="9094" y="494"/>
                  </a:lnTo>
                  <a:lnTo>
                    <a:pt x="9072" y="453"/>
                  </a:lnTo>
                  <a:lnTo>
                    <a:pt x="9049" y="414"/>
                  </a:lnTo>
                  <a:lnTo>
                    <a:pt x="9023" y="376"/>
                  </a:lnTo>
                  <a:lnTo>
                    <a:pt x="8996" y="341"/>
                  </a:lnTo>
                  <a:lnTo>
                    <a:pt x="8968" y="307"/>
                  </a:lnTo>
                  <a:lnTo>
                    <a:pt x="8937" y="275"/>
                  </a:lnTo>
                  <a:lnTo>
                    <a:pt x="8905" y="244"/>
                  </a:lnTo>
                  <a:lnTo>
                    <a:pt x="8871" y="215"/>
                  </a:lnTo>
                  <a:lnTo>
                    <a:pt x="8835" y="187"/>
                  </a:lnTo>
                  <a:lnTo>
                    <a:pt x="8799" y="162"/>
                  </a:lnTo>
                  <a:lnTo>
                    <a:pt x="8761" y="138"/>
                  </a:lnTo>
                  <a:lnTo>
                    <a:pt x="8721" y="117"/>
                  </a:lnTo>
                  <a:lnTo>
                    <a:pt x="8681" y="97"/>
                  </a:lnTo>
                  <a:lnTo>
                    <a:pt x="8639" y="78"/>
                  </a:lnTo>
                  <a:lnTo>
                    <a:pt x="8595" y="62"/>
                  </a:lnTo>
                  <a:lnTo>
                    <a:pt x="8552" y="48"/>
                  </a:lnTo>
                  <a:lnTo>
                    <a:pt x="8506" y="36"/>
                  </a:lnTo>
                  <a:lnTo>
                    <a:pt x="8460" y="24"/>
                  </a:lnTo>
                  <a:lnTo>
                    <a:pt x="8413" y="16"/>
                  </a:lnTo>
                  <a:lnTo>
                    <a:pt x="8364" y="9"/>
                  </a:lnTo>
                  <a:lnTo>
                    <a:pt x="8317" y="4"/>
                  </a:lnTo>
                  <a:lnTo>
                    <a:pt x="8267" y="1"/>
                  </a:lnTo>
                  <a:lnTo>
                    <a:pt x="8217" y="0"/>
                  </a:lnTo>
                  <a:lnTo>
                    <a:pt x="8173" y="1"/>
                  </a:lnTo>
                  <a:lnTo>
                    <a:pt x="8131" y="3"/>
                  </a:lnTo>
                  <a:lnTo>
                    <a:pt x="8088" y="7"/>
                  </a:lnTo>
                  <a:lnTo>
                    <a:pt x="8046" y="12"/>
                  </a:lnTo>
                  <a:lnTo>
                    <a:pt x="8004" y="18"/>
                  </a:lnTo>
                  <a:lnTo>
                    <a:pt x="7964" y="26"/>
                  </a:lnTo>
                  <a:lnTo>
                    <a:pt x="7924" y="36"/>
                  </a:lnTo>
                  <a:lnTo>
                    <a:pt x="7884" y="47"/>
                  </a:lnTo>
                  <a:lnTo>
                    <a:pt x="7846" y="59"/>
                  </a:lnTo>
                  <a:lnTo>
                    <a:pt x="7808" y="73"/>
                  </a:lnTo>
                  <a:lnTo>
                    <a:pt x="7772" y="88"/>
                  </a:lnTo>
                  <a:lnTo>
                    <a:pt x="7736" y="105"/>
                  </a:lnTo>
                  <a:lnTo>
                    <a:pt x="7700" y="122"/>
                  </a:lnTo>
                  <a:lnTo>
                    <a:pt x="7667" y="141"/>
                  </a:lnTo>
                  <a:lnTo>
                    <a:pt x="7633" y="162"/>
                  </a:lnTo>
                  <a:lnTo>
                    <a:pt x="7602" y="184"/>
                  </a:lnTo>
                  <a:lnTo>
                    <a:pt x="7571" y="207"/>
                  </a:lnTo>
                  <a:lnTo>
                    <a:pt x="7542" y="232"/>
                  </a:lnTo>
                  <a:lnTo>
                    <a:pt x="7512" y="257"/>
                  </a:lnTo>
                  <a:lnTo>
                    <a:pt x="7486" y="285"/>
                  </a:lnTo>
                  <a:lnTo>
                    <a:pt x="7459" y="313"/>
                  </a:lnTo>
                  <a:lnTo>
                    <a:pt x="7435" y="343"/>
                  </a:lnTo>
                  <a:lnTo>
                    <a:pt x="7412" y="374"/>
                  </a:lnTo>
                  <a:lnTo>
                    <a:pt x="7389" y="406"/>
                  </a:lnTo>
                  <a:lnTo>
                    <a:pt x="7369" y="439"/>
                  </a:lnTo>
                  <a:lnTo>
                    <a:pt x="7350" y="475"/>
                  </a:lnTo>
                  <a:lnTo>
                    <a:pt x="7331" y="510"/>
                  </a:lnTo>
                  <a:lnTo>
                    <a:pt x="7315" y="548"/>
                  </a:lnTo>
                  <a:lnTo>
                    <a:pt x="7301" y="586"/>
                  </a:lnTo>
                  <a:lnTo>
                    <a:pt x="7287" y="625"/>
                  </a:lnTo>
                  <a:lnTo>
                    <a:pt x="7276" y="666"/>
                  </a:lnTo>
                  <a:lnTo>
                    <a:pt x="7267" y="709"/>
                  </a:lnTo>
                  <a:lnTo>
                    <a:pt x="6980" y="709"/>
                  </a:lnTo>
                  <a:lnTo>
                    <a:pt x="6980" y="42"/>
                  </a:lnTo>
                  <a:lnTo>
                    <a:pt x="6585" y="42"/>
                  </a:lnTo>
                  <a:close/>
                  <a:moveTo>
                    <a:pt x="7643" y="933"/>
                  </a:moveTo>
                  <a:lnTo>
                    <a:pt x="7644" y="900"/>
                  </a:lnTo>
                  <a:lnTo>
                    <a:pt x="7645" y="866"/>
                  </a:lnTo>
                  <a:lnTo>
                    <a:pt x="7649" y="835"/>
                  </a:lnTo>
                  <a:lnTo>
                    <a:pt x="7653" y="803"/>
                  </a:lnTo>
                  <a:lnTo>
                    <a:pt x="7658" y="773"/>
                  </a:lnTo>
                  <a:lnTo>
                    <a:pt x="7664" y="743"/>
                  </a:lnTo>
                  <a:lnTo>
                    <a:pt x="7672" y="715"/>
                  </a:lnTo>
                  <a:lnTo>
                    <a:pt x="7680" y="686"/>
                  </a:lnTo>
                  <a:lnTo>
                    <a:pt x="7690" y="660"/>
                  </a:lnTo>
                  <a:lnTo>
                    <a:pt x="7700" y="634"/>
                  </a:lnTo>
                  <a:lnTo>
                    <a:pt x="7713" y="610"/>
                  </a:lnTo>
                  <a:lnTo>
                    <a:pt x="7726" y="586"/>
                  </a:lnTo>
                  <a:lnTo>
                    <a:pt x="7740" y="563"/>
                  </a:lnTo>
                  <a:lnTo>
                    <a:pt x="7755" y="542"/>
                  </a:lnTo>
                  <a:lnTo>
                    <a:pt x="7772" y="521"/>
                  </a:lnTo>
                  <a:lnTo>
                    <a:pt x="7789" y="501"/>
                  </a:lnTo>
                  <a:lnTo>
                    <a:pt x="7807" y="483"/>
                  </a:lnTo>
                  <a:lnTo>
                    <a:pt x="7828" y="466"/>
                  </a:lnTo>
                  <a:lnTo>
                    <a:pt x="7848" y="449"/>
                  </a:lnTo>
                  <a:lnTo>
                    <a:pt x="7870" y="434"/>
                  </a:lnTo>
                  <a:lnTo>
                    <a:pt x="7893" y="420"/>
                  </a:lnTo>
                  <a:lnTo>
                    <a:pt x="7917" y="408"/>
                  </a:lnTo>
                  <a:lnTo>
                    <a:pt x="7942" y="396"/>
                  </a:lnTo>
                  <a:lnTo>
                    <a:pt x="7968" y="385"/>
                  </a:lnTo>
                  <a:lnTo>
                    <a:pt x="7995" y="375"/>
                  </a:lnTo>
                  <a:lnTo>
                    <a:pt x="8024" y="367"/>
                  </a:lnTo>
                  <a:lnTo>
                    <a:pt x="8053" y="361"/>
                  </a:lnTo>
                  <a:lnTo>
                    <a:pt x="8084" y="355"/>
                  </a:lnTo>
                  <a:lnTo>
                    <a:pt x="8115" y="351"/>
                  </a:lnTo>
                  <a:lnTo>
                    <a:pt x="8148" y="347"/>
                  </a:lnTo>
                  <a:lnTo>
                    <a:pt x="8182" y="345"/>
                  </a:lnTo>
                  <a:lnTo>
                    <a:pt x="8217" y="345"/>
                  </a:lnTo>
                  <a:lnTo>
                    <a:pt x="8252" y="345"/>
                  </a:lnTo>
                  <a:lnTo>
                    <a:pt x="8285" y="347"/>
                  </a:lnTo>
                  <a:lnTo>
                    <a:pt x="8318" y="351"/>
                  </a:lnTo>
                  <a:lnTo>
                    <a:pt x="8349" y="355"/>
                  </a:lnTo>
                  <a:lnTo>
                    <a:pt x="8380" y="361"/>
                  </a:lnTo>
                  <a:lnTo>
                    <a:pt x="8409" y="367"/>
                  </a:lnTo>
                  <a:lnTo>
                    <a:pt x="8438" y="375"/>
                  </a:lnTo>
                  <a:lnTo>
                    <a:pt x="8465" y="385"/>
                  </a:lnTo>
                  <a:lnTo>
                    <a:pt x="8492" y="396"/>
                  </a:lnTo>
                  <a:lnTo>
                    <a:pt x="8517" y="408"/>
                  </a:lnTo>
                  <a:lnTo>
                    <a:pt x="8540" y="420"/>
                  </a:lnTo>
                  <a:lnTo>
                    <a:pt x="8564" y="434"/>
                  </a:lnTo>
                  <a:lnTo>
                    <a:pt x="8585" y="449"/>
                  </a:lnTo>
                  <a:lnTo>
                    <a:pt x="8607" y="466"/>
                  </a:lnTo>
                  <a:lnTo>
                    <a:pt x="8626" y="483"/>
                  </a:lnTo>
                  <a:lnTo>
                    <a:pt x="8644" y="501"/>
                  </a:lnTo>
                  <a:lnTo>
                    <a:pt x="8662" y="521"/>
                  </a:lnTo>
                  <a:lnTo>
                    <a:pt x="8679" y="542"/>
                  </a:lnTo>
                  <a:lnTo>
                    <a:pt x="8694" y="563"/>
                  </a:lnTo>
                  <a:lnTo>
                    <a:pt x="8708" y="586"/>
                  </a:lnTo>
                  <a:lnTo>
                    <a:pt x="8720" y="610"/>
                  </a:lnTo>
                  <a:lnTo>
                    <a:pt x="8733" y="634"/>
                  </a:lnTo>
                  <a:lnTo>
                    <a:pt x="8744" y="660"/>
                  </a:lnTo>
                  <a:lnTo>
                    <a:pt x="8753" y="686"/>
                  </a:lnTo>
                  <a:lnTo>
                    <a:pt x="8762" y="715"/>
                  </a:lnTo>
                  <a:lnTo>
                    <a:pt x="8769" y="743"/>
                  </a:lnTo>
                  <a:lnTo>
                    <a:pt x="8775" y="773"/>
                  </a:lnTo>
                  <a:lnTo>
                    <a:pt x="8780" y="803"/>
                  </a:lnTo>
                  <a:lnTo>
                    <a:pt x="8785" y="835"/>
                  </a:lnTo>
                  <a:lnTo>
                    <a:pt x="8788" y="866"/>
                  </a:lnTo>
                  <a:lnTo>
                    <a:pt x="8790" y="900"/>
                  </a:lnTo>
                  <a:lnTo>
                    <a:pt x="8790" y="933"/>
                  </a:lnTo>
                  <a:lnTo>
                    <a:pt x="8790" y="968"/>
                  </a:lnTo>
                  <a:lnTo>
                    <a:pt x="8788" y="1001"/>
                  </a:lnTo>
                  <a:lnTo>
                    <a:pt x="8785" y="1033"/>
                  </a:lnTo>
                  <a:lnTo>
                    <a:pt x="8780" y="1065"/>
                  </a:lnTo>
                  <a:lnTo>
                    <a:pt x="8775" y="1095"/>
                  </a:lnTo>
                  <a:lnTo>
                    <a:pt x="8769" y="1125"/>
                  </a:lnTo>
                  <a:lnTo>
                    <a:pt x="8762" y="1153"/>
                  </a:lnTo>
                  <a:lnTo>
                    <a:pt x="8753" y="1181"/>
                  </a:lnTo>
                  <a:lnTo>
                    <a:pt x="8744" y="1207"/>
                  </a:lnTo>
                  <a:lnTo>
                    <a:pt x="8733" y="1233"/>
                  </a:lnTo>
                  <a:lnTo>
                    <a:pt x="8720" y="1258"/>
                  </a:lnTo>
                  <a:lnTo>
                    <a:pt x="8708" y="1281"/>
                  </a:lnTo>
                  <a:lnTo>
                    <a:pt x="8694" y="1305"/>
                  </a:lnTo>
                  <a:lnTo>
                    <a:pt x="8679" y="1326"/>
                  </a:lnTo>
                  <a:lnTo>
                    <a:pt x="8662" y="1346"/>
                  </a:lnTo>
                  <a:lnTo>
                    <a:pt x="8644" y="1366"/>
                  </a:lnTo>
                  <a:lnTo>
                    <a:pt x="8626" y="1385"/>
                  </a:lnTo>
                  <a:lnTo>
                    <a:pt x="8607" y="1402"/>
                  </a:lnTo>
                  <a:lnTo>
                    <a:pt x="8585" y="1418"/>
                  </a:lnTo>
                  <a:lnTo>
                    <a:pt x="8564" y="1434"/>
                  </a:lnTo>
                  <a:lnTo>
                    <a:pt x="8540" y="1447"/>
                  </a:lnTo>
                  <a:lnTo>
                    <a:pt x="8517" y="1460"/>
                  </a:lnTo>
                  <a:lnTo>
                    <a:pt x="8492" y="1472"/>
                  </a:lnTo>
                  <a:lnTo>
                    <a:pt x="8465" y="1483"/>
                  </a:lnTo>
                  <a:lnTo>
                    <a:pt x="8438" y="1492"/>
                  </a:lnTo>
                  <a:lnTo>
                    <a:pt x="8409" y="1500"/>
                  </a:lnTo>
                  <a:lnTo>
                    <a:pt x="8380" y="1507"/>
                  </a:lnTo>
                  <a:lnTo>
                    <a:pt x="8349" y="1513"/>
                  </a:lnTo>
                  <a:lnTo>
                    <a:pt x="8318" y="1517"/>
                  </a:lnTo>
                  <a:lnTo>
                    <a:pt x="8285" y="1520"/>
                  </a:lnTo>
                  <a:lnTo>
                    <a:pt x="8252" y="1522"/>
                  </a:lnTo>
                  <a:lnTo>
                    <a:pt x="8217" y="1523"/>
                  </a:lnTo>
                  <a:lnTo>
                    <a:pt x="8182" y="1522"/>
                  </a:lnTo>
                  <a:lnTo>
                    <a:pt x="8148" y="1520"/>
                  </a:lnTo>
                  <a:lnTo>
                    <a:pt x="8115" y="1517"/>
                  </a:lnTo>
                  <a:lnTo>
                    <a:pt x="8084" y="1513"/>
                  </a:lnTo>
                  <a:lnTo>
                    <a:pt x="8053" y="1507"/>
                  </a:lnTo>
                  <a:lnTo>
                    <a:pt x="8024" y="1500"/>
                  </a:lnTo>
                  <a:lnTo>
                    <a:pt x="7995" y="1492"/>
                  </a:lnTo>
                  <a:lnTo>
                    <a:pt x="7968" y="1483"/>
                  </a:lnTo>
                  <a:lnTo>
                    <a:pt x="7942" y="1472"/>
                  </a:lnTo>
                  <a:lnTo>
                    <a:pt x="7917" y="1460"/>
                  </a:lnTo>
                  <a:lnTo>
                    <a:pt x="7893" y="1447"/>
                  </a:lnTo>
                  <a:lnTo>
                    <a:pt x="7870" y="1434"/>
                  </a:lnTo>
                  <a:lnTo>
                    <a:pt x="7848" y="1418"/>
                  </a:lnTo>
                  <a:lnTo>
                    <a:pt x="7828" y="1402"/>
                  </a:lnTo>
                  <a:lnTo>
                    <a:pt x="7807" y="1385"/>
                  </a:lnTo>
                  <a:lnTo>
                    <a:pt x="7789" y="1366"/>
                  </a:lnTo>
                  <a:lnTo>
                    <a:pt x="7772" y="1346"/>
                  </a:lnTo>
                  <a:lnTo>
                    <a:pt x="7755" y="1326"/>
                  </a:lnTo>
                  <a:lnTo>
                    <a:pt x="7740" y="1305"/>
                  </a:lnTo>
                  <a:lnTo>
                    <a:pt x="7726" y="1281"/>
                  </a:lnTo>
                  <a:lnTo>
                    <a:pt x="7713" y="1258"/>
                  </a:lnTo>
                  <a:lnTo>
                    <a:pt x="7700" y="1233"/>
                  </a:lnTo>
                  <a:lnTo>
                    <a:pt x="7690" y="1207"/>
                  </a:lnTo>
                  <a:lnTo>
                    <a:pt x="7680" y="1181"/>
                  </a:lnTo>
                  <a:lnTo>
                    <a:pt x="7672" y="1153"/>
                  </a:lnTo>
                  <a:lnTo>
                    <a:pt x="7664" y="1125"/>
                  </a:lnTo>
                  <a:lnTo>
                    <a:pt x="7658" y="1095"/>
                  </a:lnTo>
                  <a:lnTo>
                    <a:pt x="7653" y="1065"/>
                  </a:lnTo>
                  <a:lnTo>
                    <a:pt x="7649" y="1033"/>
                  </a:lnTo>
                  <a:lnTo>
                    <a:pt x="7645" y="1001"/>
                  </a:lnTo>
                  <a:lnTo>
                    <a:pt x="7644" y="968"/>
                  </a:lnTo>
                  <a:lnTo>
                    <a:pt x="7643" y="933"/>
                  </a:lnTo>
                  <a:close/>
                  <a:moveTo>
                    <a:pt x="11327" y="477"/>
                  </a:moveTo>
                  <a:lnTo>
                    <a:pt x="11310" y="447"/>
                  </a:lnTo>
                  <a:lnTo>
                    <a:pt x="11291" y="420"/>
                  </a:lnTo>
                  <a:lnTo>
                    <a:pt x="11272" y="392"/>
                  </a:lnTo>
                  <a:lnTo>
                    <a:pt x="11253" y="366"/>
                  </a:lnTo>
                  <a:lnTo>
                    <a:pt x="11232" y="341"/>
                  </a:lnTo>
                  <a:lnTo>
                    <a:pt x="11211" y="316"/>
                  </a:lnTo>
                  <a:lnTo>
                    <a:pt x="11190" y="293"/>
                  </a:lnTo>
                  <a:lnTo>
                    <a:pt x="11167" y="270"/>
                  </a:lnTo>
                  <a:lnTo>
                    <a:pt x="11144" y="248"/>
                  </a:lnTo>
                  <a:lnTo>
                    <a:pt x="11121" y="228"/>
                  </a:lnTo>
                  <a:lnTo>
                    <a:pt x="11096" y="207"/>
                  </a:lnTo>
                  <a:lnTo>
                    <a:pt x="11071" y="188"/>
                  </a:lnTo>
                  <a:lnTo>
                    <a:pt x="11045" y="171"/>
                  </a:lnTo>
                  <a:lnTo>
                    <a:pt x="11018" y="154"/>
                  </a:lnTo>
                  <a:lnTo>
                    <a:pt x="10991" y="136"/>
                  </a:lnTo>
                  <a:lnTo>
                    <a:pt x="10963" y="121"/>
                  </a:lnTo>
                  <a:lnTo>
                    <a:pt x="10934" y="107"/>
                  </a:lnTo>
                  <a:lnTo>
                    <a:pt x="10905" y="93"/>
                  </a:lnTo>
                  <a:lnTo>
                    <a:pt x="10875" y="80"/>
                  </a:lnTo>
                  <a:lnTo>
                    <a:pt x="10845" y="68"/>
                  </a:lnTo>
                  <a:lnTo>
                    <a:pt x="10813" y="58"/>
                  </a:lnTo>
                  <a:lnTo>
                    <a:pt x="10782" y="48"/>
                  </a:lnTo>
                  <a:lnTo>
                    <a:pt x="10749" y="39"/>
                  </a:lnTo>
                  <a:lnTo>
                    <a:pt x="10716" y="30"/>
                  </a:lnTo>
                  <a:lnTo>
                    <a:pt x="10682" y="23"/>
                  </a:lnTo>
                  <a:lnTo>
                    <a:pt x="10648" y="17"/>
                  </a:lnTo>
                  <a:lnTo>
                    <a:pt x="10612" y="12"/>
                  </a:lnTo>
                  <a:lnTo>
                    <a:pt x="10576" y="8"/>
                  </a:lnTo>
                  <a:lnTo>
                    <a:pt x="10540" y="4"/>
                  </a:lnTo>
                  <a:lnTo>
                    <a:pt x="10502" y="2"/>
                  </a:lnTo>
                  <a:lnTo>
                    <a:pt x="10465" y="1"/>
                  </a:lnTo>
                  <a:lnTo>
                    <a:pt x="10426" y="0"/>
                  </a:lnTo>
                  <a:lnTo>
                    <a:pt x="10373" y="1"/>
                  </a:lnTo>
                  <a:lnTo>
                    <a:pt x="10322" y="4"/>
                  </a:lnTo>
                  <a:lnTo>
                    <a:pt x="10271" y="9"/>
                  </a:lnTo>
                  <a:lnTo>
                    <a:pt x="10222" y="16"/>
                  </a:lnTo>
                  <a:lnTo>
                    <a:pt x="10174" y="25"/>
                  </a:lnTo>
                  <a:lnTo>
                    <a:pt x="10126" y="37"/>
                  </a:lnTo>
                  <a:lnTo>
                    <a:pt x="10079" y="50"/>
                  </a:lnTo>
                  <a:lnTo>
                    <a:pt x="10033" y="65"/>
                  </a:lnTo>
                  <a:lnTo>
                    <a:pt x="9990" y="81"/>
                  </a:lnTo>
                  <a:lnTo>
                    <a:pt x="9947" y="101"/>
                  </a:lnTo>
                  <a:lnTo>
                    <a:pt x="9905" y="121"/>
                  </a:lnTo>
                  <a:lnTo>
                    <a:pt x="9865" y="143"/>
                  </a:lnTo>
                  <a:lnTo>
                    <a:pt x="9826" y="168"/>
                  </a:lnTo>
                  <a:lnTo>
                    <a:pt x="9788" y="194"/>
                  </a:lnTo>
                  <a:lnTo>
                    <a:pt x="9753" y="222"/>
                  </a:lnTo>
                  <a:lnTo>
                    <a:pt x="9718" y="251"/>
                  </a:lnTo>
                  <a:lnTo>
                    <a:pt x="9686" y="282"/>
                  </a:lnTo>
                  <a:lnTo>
                    <a:pt x="9654" y="314"/>
                  </a:lnTo>
                  <a:lnTo>
                    <a:pt x="9626" y="349"/>
                  </a:lnTo>
                  <a:lnTo>
                    <a:pt x="9598" y="385"/>
                  </a:lnTo>
                  <a:lnTo>
                    <a:pt x="9572" y="423"/>
                  </a:lnTo>
                  <a:lnTo>
                    <a:pt x="9548" y="462"/>
                  </a:lnTo>
                  <a:lnTo>
                    <a:pt x="9527" y="502"/>
                  </a:lnTo>
                  <a:lnTo>
                    <a:pt x="9508" y="545"/>
                  </a:lnTo>
                  <a:lnTo>
                    <a:pt x="9489" y="589"/>
                  </a:lnTo>
                  <a:lnTo>
                    <a:pt x="9474" y="633"/>
                  </a:lnTo>
                  <a:lnTo>
                    <a:pt x="9461" y="680"/>
                  </a:lnTo>
                  <a:lnTo>
                    <a:pt x="9451" y="728"/>
                  </a:lnTo>
                  <a:lnTo>
                    <a:pt x="9441" y="778"/>
                  </a:lnTo>
                  <a:lnTo>
                    <a:pt x="9435" y="829"/>
                  </a:lnTo>
                  <a:lnTo>
                    <a:pt x="9432" y="881"/>
                  </a:lnTo>
                  <a:lnTo>
                    <a:pt x="9430" y="933"/>
                  </a:lnTo>
                  <a:lnTo>
                    <a:pt x="9431" y="987"/>
                  </a:lnTo>
                  <a:lnTo>
                    <a:pt x="9435" y="1039"/>
                  </a:lnTo>
                  <a:lnTo>
                    <a:pt x="9441" y="1090"/>
                  </a:lnTo>
                  <a:lnTo>
                    <a:pt x="9450" y="1139"/>
                  </a:lnTo>
                  <a:lnTo>
                    <a:pt x="9461" y="1188"/>
                  </a:lnTo>
                  <a:lnTo>
                    <a:pt x="9474" y="1234"/>
                  </a:lnTo>
                  <a:lnTo>
                    <a:pt x="9488" y="1279"/>
                  </a:lnTo>
                  <a:lnTo>
                    <a:pt x="9506" y="1323"/>
                  </a:lnTo>
                  <a:lnTo>
                    <a:pt x="9525" y="1365"/>
                  </a:lnTo>
                  <a:lnTo>
                    <a:pt x="9546" y="1405"/>
                  </a:lnTo>
                  <a:lnTo>
                    <a:pt x="9570" y="1445"/>
                  </a:lnTo>
                  <a:lnTo>
                    <a:pt x="9595" y="1483"/>
                  </a:lnTo>
                  <a:lnTo>
                    <a:pt x="9623" y="1518"/>
                  </a:lnTo>
                  <a:lnTo>
                    <a:pt x="9651" y="1553"/>
                  </a:lnTo>
                  <a:lnTo>
                    <a:pt x="9681" y="1585"/>
                  </a:lnTo>
                  <a:lnTo>
                    <a:pt x="9714" y="1617"/>
                  </a:lnTo>
                  <a:lnTo>
                    <a:pt x="9749" y="1646"/>
                  </a:lnTo>
                  <a:lnTo>
                    <a:pt x="9784" y="1674"/>
                  </a:lnTo>
                  <a:lnTo>
                    <a:pt x="9822" y="1700"/>
                  </a:lnTo>
                  <a:lnTo>
                    <a:pt x="9860" y="1724"/>
                  </a:lnTo>
                  <a:lnTo>
                    <a:pt x="9900" y="1746"/>
                  </a:lnTo>
                  <a:lnTo>
                    <a:pt x="9942" y="1767"/>
                  </a:lnTo>
                  <a:lnTo>
                    <a:pt x="9986" y="1786"/>
                  </a:lnTo>
                  <a:lnTo>
                    <a:pt x="10029" y="1803"/>
                  </a:lnTo>
                  <a:lnTo>
                    <a:pt x="10075" y="1818"/>
                  </a:lnTo>
                  <a:lnTo>
                    <a:pt x="10122" y="1830"/>
                  </a:lnTo>
                  <a:lnTo>
                    <a:pt x="10170" y="1841"/>
                  </a:lnTo>
                  <a:lnTo>
                    <a:pt x="10219" y="1851"/>
                  </a:lnTo>
                  <a:lnTo>
                    <a:pt x="10269" y="1858"/>
                  </a:lnTo>
                  <a:lnTo>
                    <a:pt x="10320" y="1863"/>
                  </a:lnTo>
                  <a:lnTo>
                    <a:pt x="10372" y="1867"/>
                  </a:lnTo>
                  <a:lnTo>
                    <a:pt x="10426" y="1868"/>
                  </a:lnTo>
                  <a:lnTo>
                    <a:pt x="10465" y="1867"/>
                  </a:lnTo>
                  <a:lnTo>
                    <a:pt x="10502" y="1866"/>
                  </a:lnTo>
                  <a:lnTo>
                    <a:pt x="10540" y="1863"/>
                  </a:lnTo>
                  <a:lnTo>
                    <a:pt x="10576" y="1860"/>
                  </a:lnTo>
                  <a:lnTo>
                    <a:pt x="10612" y="1856"/>
                  </a:lnTo>
                  <a:lnTo>
                    <a:pt x="10648" y="1851"/>
                  </a:lnTo>
                  <a:lnTo>
                    <a:pt x="10682" y="1845"/>
                  </a:lnTo>
                  <a:lnTo>
                    <a:pt x="10716" y="1837"/>
                  </a:lnTo>
                  <a:lnTo>
                    <a:pt x="10749" y="1829"/>
                  </a:lnTo>
                  <a:lnTo>
                    <a:pt x="10782" y="1820"/>
                  </a:lnTo>
                  <a:lnTo>
                    <a:pt x="10813" y="1810"/>
                  </a:lnTo>
                  <a:lnTo>
                    <a:pt x="10845" y="1799"/>
                  </a:lnTo>
                  <a:lnTo>
                    <a:pt x="10875" y="1788"/>
                  </a:lnTo>
                  <a:lnTo>
                    <a:pt x="10905" y="1774"/>
                  </a:lnTo>
                  <a:lnTo>
                    <a:pt x="10934" y="1761"/>
                  </a:lnTo>
                  <a:lnTo>
                    <a:pt x="10963" y="1746"/>
                  </a:lnTo>
                  <a:lnTo>
                    <a:pt x="10991" y="1731"/>
                  </a:lnTo>
                  <a:lnTo>
                    <a:pt x="11018" y="1714"/>
                  </a:lnTo>
                  <a:lnTo>
                    <a:pt x="11045" y="1697"/>
                  </a:lnTo>
                  <a:lnTo>
                    <a:pt x="11071" y="1679"/>
                  </a:lnTo>
                  <a:lnTo>
                    <a:pt x="11096" y="1659"/>
                  </a:lnTo>
                  <a:lnTo>
                    <a:pt x="11121" y="1640"/>
                  </a:lnTo>
                  <a:lnTo>
                    <a:pt x="11144" y="1619"/>
                  </a:lnTo>
                  <a:lnTo>
                    <a:pt x="11167" y="1597"/>
                  </a:lnTo>
                  <a:lnTo>
                    <a:pt x="11190" y="1574"/>
                  </a:lnTo>
                  <a:lnTo>
                    <a:pt x="11211" y="1551"/>
                  </a:lnTo>
                  <a:lnTo>
                    <a:pt x="11232" y="1526"/>
                  </a:lnTo>
                  <a:lnTo>
                    <a:pt x="11253" y="1501"/>
                  </a:lnTo>
                  <a:lnTo>
                    <a:pt x="11272" y="1474"/>
                  </a:lnTo>
                  <a:lnTo>
                    <a:pt x="11291" y="1448"/>
                  </a:lnTo>
                  <a:lnTo>
                    <a:pt x="11310" y="1419"/>
                  </a:lnTo>
                  <a:lnTo>
                    <a:pt x="11327" y="1391"/>
                  </a:lnTo>
                  <a:lnTo>
                    <a:pt x="11015" y="1211"/>
                  </a:lnTo>
                  <a:lnTo>
                    <a:pt x="11002" y="1228"/>
                  </a:lnTo>
                  <a:lnTo>
                    <a:pt x="10988" y="1246"/>
                  </a:lnTo>
                  <a:lnTo>
                    <a:pt x="10975" y="1263"/>
                  </a:lnTo>
                  <a:lnTo>
                    <a:pt x="10962" y="1279"/>
                  </a:lnTo>
                  <a:lnTo>
                    <a:pt x="10948" y="1294"/>
                  </a:lnTo>
                  <a:lnTo>
                    <a:pt x="10933" y="1310"/>
                  </a:lnTo>
                  <a:lnTo>
                    <a:pt x="10919" y="1325"/>
                  </a:lnTo>
                  <a:lnTo>
                    <a:pt x="10904" y="1339"/>
                  </a:lnTo>
                  <a:lnTo>
                    <a:pt x="10890" y="1352"/>
                  </a:lnTo>
                  <a:lnTo>
                    <a:pt x="10873" y="1366"/>
                  </a:lnTo>
                  <a:lnTo>
                    <a:pt x="10858" y="1378"/>
                  </a:lnTo>
                  <a:lnTo>
                    <a:pt x="10842" y="1390"/>
                  </a:lnTo>
                  <a:lnTo>
                    <a:pt x="10825" y="1402"/>
                  </a:lnTo>
                  <a:lnTo>
                    <a:pt x="10807" y="1412"/>
                  </a:lnTo>
                  <a:lnTo>
                    <a:pt x="10790" y="1423"/>
                  </a:lnTo>
                  <a:lnTo>
                    <a:pt x="10773" y="1433"/>
                  </a:lnTo>
                  <a:lnTo>
                    <a:pt x="10754" y="1442"/>
                  </a:lnTo>
                  <a:lnTo>
                    <a:pt x="10735" y="1451"/>
                  </a:lnTo>
                  <a:lnTo>
                    <a:pt x="10716" y="1459"/>
                  </a:lnTo>
                  <a:lnTo>
                    <a:pt x="10696" y="1466"/>
                  </a:lnTo>
                  <a:lnTo>
                    <a:pt x="10676" y="1473"/>
                  </a:lnTo>
                  <a:lnTo>
                    <a:pt x="10656" y="1479"/>
                  </a:lnTo>
                  <a:lnTo>
                    <a:pt x="10634" y="1486"/>
                  </a:lnTo>
                  <a:lnTo>
                    <a:pt x="10613" y="1491"/>
                  </a:lnTo>
                  <a:lnTo>
                    <a:pt x="10591" y="1495"/>
                  </a:lnTo>
                  <a:lnTo>
                    <a:pt x="10567" y="1499"/>
                  </a:lnTo>
                  <a:lnTo>
                    <a:pt x="10544" y="1502"/>
                  </a:lnTo>
                  <a:lnTo>
                    <a:pt x="10521" y="1505"/>
                  </a:lnTo>
                  <a:lnTo>
                    <a:pt x="10496" y="1507"/>
                  </a:lnTo>
                  <a:lnTo>
                    <a:pt x="10471" y="1509"/>
                  </a:lnTo>
                  <a:lnTo>
                    <a:pt x="10445" y="1510"/>
                  </a:lnTo>
                  <a:lnTo>
                    <a:pt x="10419" y="1510"/>
                  </a:lnTo>
                  <a:lnTo>
                    <a:pt x="10386" y="1509"/>
                  </a:lnTo>
                  <a:lnTo>
                    <a:pt x="10355" y="1507"/>
                  </a:lnTo>
                  <a:lnTo>
                    <a:pt x="10324" y="1504"/>
                  </a:lnTo>
                  <a:lnTo>
                    <a:pt x="10294" y="1500"/>
                  </a:lnTo>
                  <a:lnTo>
                    <a:pt x="10264" y="1494"/>
                  </a:lnTo>
                  <a:lnTo>
                    <a:pt x="10236" y="1487"/>
                  </a:lnTo>
                  <a:lnTo>
                    <a:pt x="10207" y="1478"/>
                  </a:lnTo>
                  <a:lnTo>
                    <a:pt x="10180" y="1468"/>
                  </a:lnTo>
                  <a:lnTo>
                    <a:pt x="10153" y="1458"/>
                  </a:lnTo>
                  <a:lnTo>
                    <a:pt x="10128" y="1446"/>
                  </a:lnTo>
                  <a:lnTo>
                    <a:pt x="10104" y="1433"/>
                  </a:lnTo>
                  <a:lnTo>
                    <a:pt x="10080" y="1418"/>
                  </a:lnTo>
                  <a:lnTo>
                    <a:pt x="10057" y="1403"/>
                  </a:lnTo>
                  <a:lnTo>
                    <a:pt x="10035" y="1387"/>
                  </a:lnTo>
                  <a:lnTo>
                    <a:pt x="10014" y="1370"/>
                  </a:lnTo>
                  <a:lnTo>
                    <a:pt x="9994" y="1351"/>
                  </a:lnTo>
                  <a:lnTo>
                    <a:pt x="9975" y="1332"/>
                  </a:lnTo>
                  <a:lnTo>
                    <a:pt x="9957" y="1312"/>
                  </a:lnTo>
                  <a:lnTo>
                    <a:pt x="9941" y="1289"/>
                  </a:lnTo>
                  <a:lnTo>
                    <a:pt x="9925" y="1268"/>
                  </a:lnTo>
                  <a:lnTo>
                    <a:pt x="9910" y="1245"/>
                  </a:lnTo>
                  <a:lnTo>
                    <a:pt x="9896" y="1220"/>
                  </a:lnTo>
                  <a:lnTo>
                    <a:pt x="9884" y="1195"/>
                  </a:lnTo>
                  <a:lnTo>
                    <a:pt x="9873" y="1169"/>
                  </a:lnTo>
                  <a:lnTo>
                    <a:pt x="9864" y="1143"/>
                  </a:lnTo>
                  <a:lnTo>
                    <a:pt x="9854" y="1114"/>
                  </a:lnTo>
                  <a:lnTo>
                    <a:pt x="9847" y="1087"/>
                  </a:lnTo>
                  <a:lnTo>
                    <a:pt x="9841" y="1057"/>
                  </a:lnTo>
                  <a:lnTo>
                    <a:pt x="9836" y="1028"/>
                  </a:lnTo>
                  <a:lnTo>
                    <a:pt x="9833" y="998"/>
                  </a:lnTo>
                  <a:lnTo>
                    <a:pt x="9831" y="966"/>
                  </a:lnTo>
                  <a:lnTo>
                    <a:pt x="9830" y="933"/>
                  </a:lnTo>
                  <a:lnTo>
                    <a:pt x="9831" y="901"/>
                  </a:lnTo>
                  <a:lnTo>
                    <a:pt x="9833" y="869"/>
                  </a:lnTo>
                  <a:lnTo>
                    <a:pt x="9836" y="839"/>
                  </a:lnTo>
                  <a:lnTo>
                    <a:pt x="9840" y="808"/>
                  </a:lnTo>
                  <a:lnTo>
                    <a:pt x="9846" y="779"/>
                  </a:lnTo>
                  <a:lnTo>
                    <a:pt x="9853" y="750"/>
                  </a:lnTo>
                  <a:lnTo>
                    <a:pt x="9863" y="723"/>
                  </a:lnTo>
                  <a:lnTo>
                    <a:pt x="9872" y="696"/>
                  </a:lnTo>
                  <a:lnTo>
                    <a:pt x="9883" y="670"/>
                  </a:lnTo>
                  <a:lnTo>
                    <a:pt x="9894" y="645"/>
                  </a:lnTo>
                  <a:lnTo>
                    <a:pt x="9907" y="620"/>
                  </a:lnTo>
                  <a:lnTo>
                    <a:pt x="9923" y="597"/>
                  </a:lnTo>
                  <a:lnTo>
                    <a:pt x="9938" y="575"/>
                  </a:lnTo>
                  <a:lnTo>
                    <a:pt x="9954" y="553"/>
                  </a:lnTo>
                  <a:lnTo>
                    <a:pt x="9971" y="533"/>
                  </a:lnTo>
                  <a:lnTo>
                    <a:pt x="9991" y="513"/>
                  </a:lnTo>
                  <a:lnTo>
                    <a:pt x="10010" y="496"/>
                  </a:lnTo>
                  <a:lnTo>
                    <a:pt x="10031" y="479"/>
                  </a:lnTo>
                  <a:lnTo>
                    <a:pt x="10053" y="463"/>
                  </a:lnTo>
                  <a:lnTo>
                    <a:pt x="10075" y="447"/>
                  </a:lnTo>
                  <a:lnTo>
                    <a:pt x="10099" y="433"/>
                  </a:lnTo>
                  <a:lnTo>
                    <a:pt x="10124" y="420"/>
                  </a:lnTo>
                  <a:lnTo>
                    <a:pt x="10149" y="409"/>
                  </a:lnTo>
                  <a:lnTo>
                    <a:pt x="10176" y="399"/>
                  </a:lnTo>
                  <a:lnTo>
                    <a:pt x="10203" y="388"/>
                  </a:lnTo>
                  <a:lnTo>
                    <a:pt x="10232" y="380"/>
                  </a:lnTo>
                  <a:lnTo>
                    <a:pt x="10261" y="373"/>
                  </a:lnTo>
                  <a:lnTo>
                    <a:pt x="10291" y="368"/>
                  </a:lnTo>
                  <a:lnTo>
                    <a:pt x="10322" y="363"/>
                  </a:lnTo>
                  <a:lnTo>
                    <a:pt x="10354" y="360"/>
                  </a:lnTo>
                  <a:lnTo>
                    <a:pt x="10386" y="358"/>
                  </a:lnTo>
                  <a:lnTo>
                    <a:pt x="10419" y="358"/>
                  </a:lnTo>
                  <a:lnTo>
                    <a:pt x="10445" y="358"/>
                  </a:lnTo>
                  <a:lnTo>
                    <a:pt x="10471" y="359"/>
                  </a:lnTo>
                  <a:lnTo>
                    <a:pt x="10496" y="360"/>
                  </a:lnTo>
                  <a:lnTo>
                    <a:pt x="10521" y="362"/>
                  </a:lnTo>
                  <a:lnTo>
                    <a:pt x="10544" y="365"/>
                  </a:lnTo>
                  <a:lnTo>
                    <a:pt x="10567" y="368"/>
                  </a:lnTo>
                  <a:lnTo>
                    <a:pt x="10591" y="372"/>
                  </a:lnTo>
                  <a:lnTo>
                    <a:pt x="10613" y="377"/>
                  </a:lnTo>
                  <a:lnTo>
                    <a:pt x="10634" y="382"/>
                  </a:lnTo>
                  <a:lnTo>
                    <a:pt x="10656" y="388"/>
                  </a:lnTo>
                  <a:lnTo>
                    <a:pt x="10676" y="395"/>
                  </a:lnTo>
                  <a:lnTo>
                    <a:pt x="10696" y="402"/>
                  </a:lnTo>
                  <a:lnTo>
                    <a:pt x="10716" y="409"/>
                  </a:lnTo>
                  <a:lnTo>
                    <a:pt x="10735" y="417"/>
                  </a:lnTo>
                  <a:lnTo>
                    <a:pt x="10754" y="425"/>
                  </a:lnTo>
                  <a:lnTo>
                    <a:pt x="10773" y="435"/>
                  </a:lnTo>
                  <a:lnTo>
                    <a:pt x="10790" y="444"/>
                  </a:lnTo>
                  <a:lnTo>
                    <a:pt x="10807" y="455"/>
                  </a:lnTo>
                  <a:lnTo>
                    <a:pt x="10825" y="466"/>
                  </a:lnTo>
                  <a:lnTo>
                    <a:pt x="10842" y="477"/>
                  </a:lnTo>
                  <a:lnTo>
                    <a:pt x="10858" y="489"/>
                  </a:lnTo>
                  <a:lnTo>
                    <a:pt x="10873" y="502"/>
                  </a:lnTo>
                  <a:lnTo>
                    <a:pt x="10890" y="515"/>
                  </a:lnTo>
                  <a:lnTo>
                    <a:pt x="10904" y="529"/>
                  </a:lnTo>
                  <a:lnTo>
                    <a:pt x="10919" y="543"/>
                  </a:lnTo>
                  <a:lnTo>
                    <a:pt x="10933" y="557"/>
                  </a:lnTo>
                  <a:lnTo>
                    <a:pt x="10948" y="572"/>
                  </a:lnTo>
                  <a:lnTo>
                    <a:pt x="10962" y="589"/>
                  </a:lnTo>
                  <a:lnTo>
                    <a:pt x="10975" y="605"/>
                  </a:lnTo>
                  <a:lnTo>
                    <a:pt x="10988" y="621"/>
                  </a:lnTo>
                  <a:lnTo>
                    <a:pt x="11002" y="639"/>
                  </a:lnTo>
                  <a:lnTo>
                    <a:pt x="11015" y="657"/>
                  </a:lnTo>
                  <a:lnTo>
                    <a:pt x="11327" y="4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490538" y="487363"/>
              <a:ext cx="466725" cy="455612"/>
            </a:xfrm>
            <a:custGeom>
              <a:avLst/>
              <a:gdLst>
                <a:gd name="T0" fmla="*/ 1853 w 3532"/>
                <a:gd name="T1" fmla="*/ 1336 h 3444"/>
                <a:gd name="T2" fmla="*/ 1828 w 3532"/>
                <a:gd name="T3" fmla="*/ 1351 h 3444"/>
                <a:gd name="T4" fmla="*/ 1795 w 3532"/>
                <a:gd name="T5" fmla="*/ 1349 h 3444"/>
                <a:gd name="T6" fmla="*/ 1104 w 3532"/>
                <a:gd name="T7" fmla="*/ 1069 h 3444"/>
                <a:gd name="T8" fmla="*/ 1071 w 3532"/>
                <a:gd name="T9" fmla="*/ 1010 h 3444"/>
                <a:gd name="T10" fmla="*/ 1204 w 3532"/>
                <a:gd name="T11" fmla="*/ 141 h 3444"/>
                <a:gd name="T12" fmla="*/ 1231 w 3532"/>
                <a:gd name="T13" fmla="*/ 77 h 3444"/>
                <a:gd name="T14" fmla="*/ 1287 w 3532"/>
                <a:gd name="T15" fmla="*/ 37 h 3444"/>
                <a:gd name="T16" fmla="*/ 2026 w 3532"/>
                <a:gd name="T17" fmla="*/ 0 h 3444"/>
                <a:gd name="T18" fmla="*/ 2055 w 3532"/>
                <a:gd name="T19" fmla="*/ 11 h 3444"/>
                <a:gd name="T20" fmla="*/ 2072 w 3532"/>
                <a:gd name="T21" fmla="*/ 37 h 3444"/>
                <a:gd name="T22" fmla="*/ 1399 w 3532"/>
                <a:gd name="T23" fmla="*/ 1554 h 3444"/>
                <a:gd name="T24" fmla="*/ 1417 w 3532"/>
                <a:gd name="T25" fmla="*/ 1578 h 3444"/>
                <a:gd name="T26" fmla="*/ 1414 w 3532"/>
                <a:gd name="T27" fmla="*/ 1610 h 3444"/>
                <a:gd name="T28" fmla="*/ 958 w 3532"/>
                <a:gd name="T29" fmla="*/ 2172 h 3444"/>
                <a:gd name="T30" fmla="*/ 893 w 3532"/>
                <a:gd name="T31" fmla="*/ 2208 h 3444"/>
                <a:gd name="T32" fmla="*/ 826 w 3532"/>
                <a:gd name="T33" fmla="*/ 2201 h 3444"/>
                <a:gd name="T34" fmla="*/ 45 w 3532"/>
                <a:gd name="T35" fmla="*/ 1796 h 3444"/>
                <a:gd name="T36" fmla="*/ 6 w 3532"/>
                <a:gd name="T37" fmla="*/ 1741 h 3444"/>
                <a:gd name="T38" fmla="*/ 4 w 3532"/>
                <a:gd name="T39" fmla="*/ 1664 h 3444"/>
                <a:gd name="T40" fmla="*/ 200 w 3532"/>
                <a:gd name="T41" fmla="*/ 976 h 3444"/>
                <a:gd name="T42" fmla="*/ 226 w 3532"/>
                <a:gd name="T43" fmla="*/ 959 h 3444"/>
                <a:gd name="T44" fmla="*/ 255 w 3532"/>
                <a:gd name="T45" fmla="*/ 963 h 3444"/>
                <a:gd name="T46" fmla="*/ 1491 w 3532"/>
                <a:gd name="T47" fmla="*/ 2055 h 3444"/>
                <a:gd name="T48" fmla="*/ 1521 w 3532"/>
                <a:gd name="T49" fmla="*/ 2057 h 3444"/>
                <a:gd name="T50" fmla="*/ 1546 w 3532"/>
                <a:gd name="T51" fmla="*/ 2077 h 3444"/>
                <a:gd name="T52" fmla="*/ 1940 w 3532"/>
                <a:gd name="T53" fmla="*/ 2711 h 3444"/>
                <a:gd name="T54" fmla="*/ 1933 w 3532"/>
                <a:gd name="T55" fmla="*/ 2779 h 3444"/>
                <a:gd name="T56" fmla="*/ 1315 w 3532"/>
                <a:gd name="T57" fmla="*/ 3402 h 3444"/>
                <a:gd name="T58" fmla="*/ 1256 w 3532"/>
                <a:gd name="T59" fmla="*/ 3439 h 3444"/>
                <a:gd name="T60" fmla="*/ 1187 w 3532"/>
                <a:gd name="T61" fmla="*/ 3439 h 3444"/>
                <a:gd name="T62" fmla="*/ 567 w 3532"/>
                <a:gd name="T63" fmla="*/ 3035 h 3444"/>
                <a:gd name="T64" fmla="*/ 549 w 3532"/>
                <a:gd name="T65" fmla="*/ 3009 h 3444"/>
                <a:gd name="T66" fmla="*/ 551 w 3532"/>
                <a:gd name="T67" fmla="*/ 2978 h 3444"/>
                <a:gd name="T68" fmla="*/ 1987 w 3532"/>
                <a:gd name="T69" fmla="*/ 2144 h 3444"/>
                <a:gd name="T70" fmla="*/ 1988 w 3532"/>
                <a:gd name="T71" fmla="*/ 2114 h 3444"/>
                <a:gd name="T72" fmla="*/ 2009 w 3532"/>
                <a:gd name="T73" fmla="*/ 2091 h 3444"/>
                <a:gd name="T74" fmla="*/ 2707 w 3532"/>
                <a:gd name="T75" fmla="*/ 1899 h 3444"/>
                <a:gd name="T76" fmla="*/ 2780 w 3532"/>
                <a:gd name="T77" fmla="*/ 1910 h 3444"/>
                <a:gd name="T78" fmla="*/ 2832 w 3532"/>
                <a:gd name="T79" fmla="*/ 1953 h 3444"/>
                <a:gd name="T80" fmla="*/ 3229 w 3532"/>
                <a:gd name="T81" fmla="*/ 2739 h 3444"/>
                <a:gd name="T82" fmla="*/ 3227 w 3532"/>
                <a:gd name="T83" fmla="*/ 2806 h 3444"/>
                <a:gd name="T84" fmla="*/ 3184 w 3532"/>
                <a:gd name="T85" fmla="*/ 2871 h 3444"/>
                <a:gd name="T86" fmla="*/ 2624 w 3532"/>
                <a:gd name="T87" fmla="*/ 3314 h 3444"/>
                <a:gd name="T88" fmla="*/ 2593 w 3532"/>
                <a:gd name="T89" fmla="*/ 3313 h 3444"/>
                <a:gd name="T90" fmla="*/ 2570 w 3532"/>
                <a:gd name="T91" fmla="*/ 3292 h 3444"/>
                <a:gd name="T92" fmla="*/ 2206 w 3532"/>
                <a:gd name="T93" fmla="*/ 1686 h 3444"/>
                <a:gd name="T94" fmla="*/ 2183 w 3532"/>
                <a:gd name="T95" fmla="*/ 1667 h 3444"/>
                <a:gd name="T96" fmla="*/ 2176 w 3532"/>
                <a:gd name="T97" fmla="*/ 1635 h 3444"/>
                <a:gd name="T98" fmla="*/ 2229 w 3532"/>
                <a:gd name="T99" fmla="*/ 892 h 3444"/>
                <a:gd name="T100" fmla="*/ 2275 w 3532"/>
                <a:gd name="T101" fmla="*/ 841 h 3444"/>
                <a:gd name="T102" fmla="*/ 3142 w 3532"/>
                <a:gd name="T103" fmla="*/ 700 h 3444"/>
                <a:gd name="T104" fmla="*/ 3211 w 3532"/>
                <a:gd name="T105" fmla="*/ 706 h 3444"/>
                <a:gd name="T106" fmla="*/ 3268 w 3532"/>
                <a:gd name="T107" fmla="*/ 746 h 3444"/>
                <a:gd name="T108" fmla="*/ 3530 w 3532"/>
                <a:gd name="T109" fmla="*/ 1438 h 3444"/>
                <a:gd name="T110" fmla="*/ 3529 w 3532"/>
                <a:gd name="T111" fmla="*/ 1469 h 3444"/>
                <a:gd name="T112" fmla="*/ 3510 w 3532"/>
                <a:gd name="T113" fmla="*/ 1493 h 3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32" h="3444">
                  <a:moveTo>
                    <a:pt x="2072" y="52"/>
                  </a:moveTo>
                  <a:lnTo>
                    <a:pt x="1861" y="1317"/>
                  </a:lnTo>
                  <a:lnTo>
                    <a:pt x="1860" y="1322"/>
                  </a:lnTo>
                  <a:lnTo>
                    <a:pt x="1858" y="1327"/>
                  </a:lnTo>
                  <a:lnTo>
                    <a:pt x="1856" y="1332"/>
                  </a:lnTo>
                  <a:lnTo>
                    <a:pt x="1853" y="1336"/>
                  </a:lnTo>
                  <a:lnTo>
                    <a:pt x="1849" y="1340"/>
                  </a:lnTo>
                  <a:lnTo>
                    <a:pt x="1846" y="1343"/>
                  </a:lnTo>
                  <a:lnTo>
                    <a:pt x="1842" y="1346"/>
                  </a:lnTo>
                  <a:lnTo>
                    <a:pt x="1837" y="1348"/>
                  </a:lnTo>
                  <a:lnTo>
                    <a:pt x="1833" y="1350"/>
                  </a:lnTo>
                  <a:lnTo>
                    <a:pt x="1828" y="1351"/>
                  </a:lnTo>
                  <a:lnTo>
                    <a:pt x="1822" y="1352"/>
                  </a:lnTo>
                  <a:lnTo>
                    <a:pt x="1817" y="1353"/>
                  </a:lnTo>
                  <a:lnTo>
                    <a:pt x="1811" y="1352"/>
                  </a:lnTo>
                  <a:lnTo>
                    <a:pt x="1806" y="1352"/>
                  </a:lnTo>
                  <a:lnTo>
                    <a:pt x="1801" y="1351"/>
                  </a:lnTo>
                  <a:lnTo>
                    <a:pt x="1795" y="1349"/>
                  </a:lnTo>
                  <a:lnTo>
                    <a:pt x="1163" y="1105"/>
                  </a:lnTo>
                  <a:lnTo>
                    <a:pt x="1149" y="1099"/>
                  </a:lnTo>
                  <a:lnTo>
                    <a:pt x="1136" y="1092"/>
                  </a:lnTo>
                  <a:lnTo>
                    <a:pt x="1125" y="1085"/>
                  </a:lnTo>
                  <a:lnTo>
                    <a:pt x="1114" y="1077"/>
                  </a:lnTo>
                  <a:lnTo>
                    <a:pt x="1104" y="1069"/>
                  </a:lnTo>
                  <a:lnTo>
                    <a:pt x="1096" y="1060"/>
                  </a:lnTo>
                  <a:lnTo>
                    <a:pt x="1089" y="1050"/>
                  </a:lnTo>
                  <a:lnTo>
                    <a:pt x="1083" y="1041"/>
                  </a:lnTo>
                  <a:lnTo>
                    <a:pt x="1078" y="1031"/>
                  </a:lnTo>
                  <a:lnTo>
                    <a:pt x="1074" y="1020"/>
                  </a:lnTo>
                  <a:lnTo>
                    <a:pt x="1071" y="1010"/>
                  </a:lnTo>
                  <a:lnTo>
                    <a:pt x="1068" y="999"/>
                  </a:lnTo>
                  <a:lnTo>
                    <a:pt x="1067" y="986"/>
                  </a:lnTo>
                  <a:lnTo>
                    <a:pt x="1067" y="975"/>
                  </a:lnTo>
                  <a:lnTo>
                    <a:pt x="1068" y="963"/>
                  </a:lnTo>
                  <a:lnTo>
                    <a:pt x="1069" y="951"/>
                  </a:lnTo>
                  <a:lnTo>
                    <a:pt x="1204" y="141"/>
                  </a:lnTo>
                  <a:lnTo>
                    <a:pt x="1206" y="130"/>
                  </a:lnTo>
                  <a:lnTo>
                    <a:pt x="1209" y="118"/>
                  </a:lnTo>
                  <a:lnTo>
                    <a:pt x="1213" y="107"/>
                  </a:lnTo>
                  <a:lnTo>
                    <a:pt x="1218" y="97"/>
                  </a:lnTo>
                  <a:lnTo>
                    <a:pt x="1224" y="86"/>
                  </a:lnTo>
                  <a:lnTo>
                    <a:pt x="1231" y="77"/>
                  </a:lnTo>
                  <a:lnTo>
                    <a:pt x="1238" y="69"/>
                  </a:lnTo>
                  <a:lnTo>
                    <a:pt x="1246" y="61"/>
                  </a:lnTo>
                  <a:lnTo>
                    <a:pt x="1255" y="54"/>
                  </a:lnTo>
                  <a:lnTo>
                    <a:pt x="1265" y="47"/>
                  </a:lnTo>
                  <a:lnTo>
                    <a:pt x="1275" y="42"/>
                  </a:lnTo>
                  <a:lnTo>
                    <a:pt x="1287" y="37"/>
                  </a:lnTo>
                  <a:lnTo>
                    <a:pt x="1300" y="33"/>
                  </a:lnTo>
                  <a:lnTo>
                    <a:pt x="1313" y="29"/>
                  </a:lnTo>
                  <a:lnTo>
                    <a:pt x="1327" y="27"/>
                  </a:lnTo>
                  <a:lnTo>
                    <a:pt x="1342" y="26"/>
                  </a:lnTo>
                  <a:lnTo>
                    <a:pt x="2020" y="0"/>
                  </a:lnTo>
                  <a:lnTo>
                    <a:pt x="2026" y="0"/>
                  </a:lnTo>
                  <a:lnTo>
                    <a:pt x="2031" y="1"/>
                  </a:lnTo>
                  <a:lnTo>
                    <a:pt x="2036" y="2"/>
                  </a:lnTo>
                  <a:lnTo>
                    <a:pt x="2042" y="3"/>
                  </a:lnTo>
                  <a:lnTo>
                    <a:pt x="2046" y="5"/>
                  </a:lnTo>
                  <a:lnTo>
                    <a:pt x="2051" y="8"/>
                  </a:lnTo>
                  <a:lnTo>
                    <a:pt x="2055" y="11"/>
                  </a:lnTo>
                  <a:lnTo>
                    <a:pt x="2059" y="14"/>
                  </a:lnTo>
                  <a:lnTo>
                    <a:pt x="2062" y="18"/>
                  </a:lnTo>
                  <a:lnTo>
                    <a:pt x="2066" y="22"/>
                  </a:lnTo>
                  <a:lnTo>
                    <a:pt x="2068" y="26"/>
                  </a:lnTo>
                  <a:lnTo>
                    <a:pt x="2070" y="32"/>
                  </a:lnTo>
                  <a:lnTo>
                    <a:pt x="2072" y="37"/>
                  </a:lnTo>
                  <a:lnTo>
                    <a:pt x="2072" y="42"/>
                  </a:lnTo>
                  <a:lnTo>
                    <a:pt x="2073" y="47"/>
                  </a:lnTo>
                  <a:lnTo>
                    <a:pt x="2072" y="52"/>
                  </a:lnTo>
                  <a:close/>
                  <a:moveTo>
                    <a:pt x="255" y="963"/>
                  </a:moveTo>
                  <a:lnTo>
                    <a:pt x="1394" y="1551"/>
                  </a:lnTo>
                  <a:lnTo>
                    <a:pt x="1399" y="1554"/>
                  </a:lnTo>
                  <a:lnTo>
                    <a:pt x="1403" y="1557"/>
                  </a:lnTo>
                  <a:lnTo>
                    <a:pt x="1408" y="1561"/>
                  </a:lnTo>
                  <a:lnTo>
                    <a:pt x="1411" y="1565"/>
                  </a:lnTo>
                  <a:lnTo>
                    <a:pt x="1413" y="1569"/>
                  </a:lnTo>
                  <a:lnTo>
                    <a:pt x="1415" y="1574"/>
                  </a:lnTo>
                  <a:lnTo>
                    <a:pt x="1417" y="1578"/>
                  </a:lnTo>
                  <a:lnTo>
                    <a:pt x="1418" y="1583"/>
                  </a:lnTo>
                  <a:lnTo>
                    <a:pt x="1418" y="1588"/>
                  </a:lnTo>
                  <a:lnTo>
                    <a:pt x="1418" y="1593"/>
                  </a:lnTo>
                  <a:lnTo>
                    <a:pt x="1417" y="1599"/>
                  </a:lnTo>
                  <a:lnTo>
                    <a:pt x="1416" y="1605"/>
                  </a:lnTo>
                  <a:lnTo>
                    <a:pt x="1414" y="1610"/>
                  </a:lnTo>
                  <a:lnTo>
                    <a:pt x="1412" y="1614"/>
                  </a:lnTo>
                  <a:lnTo>
                    <a:pt x="1409" y="1619"/>
                  </a:lnTo>
                  <a:lnTo>
                    <a:pt x="1405" y="1624"/>
                  </a:lnTo>
                  <a:lnTo>
                    <a:pt x="978" y="2151"/>
                  </a:lnTo>
                  <a:lnTo>
                    <a:pt x="969" y="2162"/>
                  </a:lnTo>
                  <a:lnTo>
                    <a:pt x="958" y="2172"/>
                  </a:lnTo>
                  <a:lnTo>
                    <a:pt x="948" y="2181"/>
                  </a:lnTo>
                  <a:lnTo>
                    <a:pt x="938" y="2188"/>
                  </a:lnTo>
                  <a:lnTo>
                    <a:pt x="926" y="2195"/>
                  </a:lnTo>
                  <a:lnTo>
                    <a:pt x="915" y="2200"/>
                  </a:lnTo>
                  <a:lnTo>
                    <a:pt x="904" y="2204"/>
                  </a:lnTo>
                  <a:lnTo>
                    <a:pt x="893" y="2208"/>
                  </a:lnTo>
                  <a:lnTo>
                    <a:pt x="882" y="2209"/>
                  </a:lnTo>
                  <a:lnTo>
                    <a:pt x="871" y="2210"/>
                  </a:lnTo>
                  <a:lnTo>
                    <a:pt x="859" y="2209"/>
                  </a:lnTo>
                  <a:lnTo>
                    <a:pt x="848" y="2208"/>
                  </a:lnTo>
                  <a:lnTo>
                    <a:pt x="837" y="2206"/>
                  </a:lnTo>
                  <a:lnTo>
                    <a:pt x="826" y="2201"/>
                  </a:lnTo>
                  <a:lnTo>
                    <a:pt x="815" y="2197"/>
                  </a:lnTo>
                  <a:lnTo>
                    <a:pt x="803" y="2192"/>
                  </a:lnTo>
                  <a:lnTo>
                    <a:pt x="74" y="1816"/>
                  </a:lnTo>
                  <a:lnTo>
                    <a:pt x="64" y="1810"/>
                  </a:lnTo>
                  <a:lnTo>
                    <a:pt x="54" y="1803"/>
                  </a:lnTo>
                  <a:lnTo>
                    <a:pt x="45" y="1796"/>
                  </a:lnTo>
                  <a:lnTo>
                    <a:pt x="37" y="1789"/>
                  </a:lnTo>
                  <a:lnTo>
                    <a:pt x="28" y="1779"/>
                  </a:lnTo>
                  <a:lnTo>
                    <a:pt x="21" y="1771"/>
                  </a:lnTo>
                  <a:lnTo>
                    <a:pt x="15" y="1761"/>
                  </a:lnTo>
                  <a:lnTo>
                    <a:pt x="10" y="1751"/>
                  </a:lnTo>
                  <a:lnTo>
                    <a:pt x="6" y="1741"/>
                  </a:lnTo>
                  <a:lnTo>
                    <a:pt x="3" y="1729"/>
                  </a:lnTo>
                  <a:lnTo>
                    <a:pt x="1" y="1717"/>
                  </a:lnTo>
                  <a:lnTo>
                    <a:pt x="0" y="1704"/>
                  </a:lnTo>
                  <a:lnTo>
                    <a:pt x="0" y="1691"/>
                  </a:lnTo>
                  <a:lnTo>
                    <a:pt x="1" y="1678"/>
                  </a:lnTo>
                  <a:lnTo>
                    <a:pt x="4" y="1664"/>
                  </a:lnTo>
                  <a:lnTo>
                    <a:pt x="7" y="1648"/>
                  </a:lnTo>
                  <a:lnTo>
                    <a:pt x="190" y="995"/>
                  </a:lnTo>
                  <a:lnTo>
                    <a:pt x="192" y="990"/>
                  </a:lnTo>
                  <a:lnTo>
                    <a:pt x="194" y="985"/>
                  </a:lnTo>
                  <a:lnTo>
                    <a:pt x="197" y="980"/>
                  </a:lnTo>
                  <a:lnTo>
                    <a:pt x="200" y="976"/>
                  </a:lnTo>
                  <a:lnTo>
                    <a:pt x="203" y="972"/>
                  </a:lnTo>
                  <a:lnTo>
                    <a:pt x="207" y="969"/>
                  </a:lnTo>
                  <a:lnTo>
                    <a:pt x="212" y="965"/>
                  </a:lnTo>
                  <a:lnTo>
                    <a:pt x="216" y="963"/>
                  </a:lnTo>
                  <a:lnTo>
                    <a:pt x="221" y="961"/>
                  </a:lnTo>
                  <a:lnTo>
                    <a:pt x="226" y="959"/>
                  </a:lnTo>
                  <a:lnTo>
                    <a:pt x="230" y="958"/>
                  </a:lnTo>
                  <a:lnTo>
                    <a:pt x="235" y="958"/>
                  </a:lnTo>
                  <a:lnTo>
                    <a:pt x="240" y="958"/>
                  </a:lnTo>
                  <a:lnTo>
                    <a:pt x="245" y="959"/>
                  </a:lnTo>
                  <a:lnTo>
                    <a:pt x="250" y="960"/>
                  </a:lnTo>
                  <a:lnTo>
                    <a:pt x="255" y="963"/>
                  </a:lnTo>
                  <a:close/>
                  <a:moveTo>
                    <a:pt x="560" y="2966"/>
                  </a:moveTo>
                  <a:lnTo>
                    <a:pt x="1474" y="2066"/>
                  </a:lnTo>
                  <a:lnTo>
                    <a:pt x="1478" y="2062"/>
                  </a:lnTo>
                  <a:lnTo>
                    <a:pt x="1482" y="2059"/>
                  </a:lnTo>
                  <a:lnTo>
                    <a:pt x="1487" y="2057"/>
                  </a:lnTo>
                  <a:lnTo>
                    <a:pt x="1491" y="2055"/>
                  </a:lnTo>
                  <a:lnTo>
                    <a:pt x="1496" y="2054"/>
                  </a:lnTo>
                  <a:lnTo>
                    <a:pt x="1501" y="2053"/>
                  </a:lnTo>
                  <a:lnTo>
                    <a:pt x="1506" y="2054"/>
                  </a:lnTo>
                  <a:lnTo>
                    <a:pt x="1511" y="2054"/>
                  </a:lnTo>
                  <a:lnTo>
                    <a:pt x="1516" y="2055"/>
                  </a:lnTo>
                  <a:lnTo>
                    <a:pt x="1521" y="2057"/>
                  </a:lnTo>
                  <a:lnTo>
                    <a:pt x="1526" y="2059"/>
                  </a:lnTo>
                  <a:lnTo>
                    <a:pt x="1531" y="2062"/>
                  </a:lnTo>
                  <a:lnTo>
                    <a:pt x="1535" y="2065"/>
                  </a:lnTo>
                  <a:lnTo>
                    <a:pt x="1539" y="2069"/>
                  </a:lnTo>
                  <a:lnTo>
                    <a:pt x="1543" y="2073"/>
                  </a:lnTo>
                  <a:lnTo>
                    <a:pt x="1546" y="2077"/>
                  </a:lnTo>
                  <a:lnTo>
                    <a:pt x="1914" y="2647"/>
                  </a:lnTo>
                  <a:lnTo>
                    <a:pt x="1922" y="2660"/>
                  </a:lnTo>
                  <a:lnTo>
                    <a:pt x="1928" y="2673"/>
                  </a:lnTo>
                  <a:lnTo>
                    <a:pt x="1933" y="2685"/>
                  </a:lnTo>
                  <a:lnTo>
                    <a:pt x="1937" y="2699"/>
                  </a:lnTo>
                  <a:lnTo>
                    <a:pt x="1940" y="2711"/>
                  </a:lnTo>
                  <a:lnTo>
                    <a:pt x="1941" y="2723"/>
                  </a:lnTo>
                  <a:lnTo>
                    <a:pt x="1942" y="2734"/>
                  </a:lnTo>
                  <a:lnTo>
                    <a:pt x="1941" y="2745"/>
                  </a:lnTo>
                  <a:lnTo>
                    <a:pt x="1939" y="2758"/>
                  </a:lnTo>
                  <a:lnTo>
                    <a:pt x="1936" y="2768"/>
                  </a:lnTo>
                  <a:lnTo>
                    <a:pt x="1933" y="2779"/>
                  </a:lnTo>
                  <a:lnTo>
                    <a:pt x="1928" y="2789"/>
                  </a:lnTo>
                  <a:lnTo>
                    <a:pt x="1922" y="2799"/>
                  </a:lnTo>
                  <a:lnTo>
                    <a:pt x="1915" y="2808"/>
                  </a:lnTo>
                  <a:lnTo>
                    <a:pt x="1908" y="2818"/>
                  </a:lnTo>
                  <a:lnTo>
                    <a:pt x="1900" y="2827"/>
                  </a:lnTo>
                  <a:lnTo>
                    <a:pt x="1315" y="3402"/>
                  </a:lnTo>
                  <a:lnTo>
                    <a:pt x="1307" y="3410"/>
                  </a:lnTo>
                  <a:lnTo>
                    <a:pt x="1297" y="3419"/>
                  </a:lnTo>
                  <a:lnTo>
                    <a:pt x="1288" y="3425"/>
                  </a:lnTo>
                  <a:lnTo>
                    <a:pt x="1277" y="3431"/>
                  </a:lnTo>
                  <a:lnTo>
                    <a:pt x="1267" y="3435"/>
                  </a:lnTo>
                  <a:lnTo>
                    <a:pt x="1256" y="3439"/>
                  </a:lnTo>
                  <a:lnTo>
                    <a:pt x="1245" y="3442"/>
                  </a:lnTo>
                  <a:lnTo>
                    <a:pt x="1234" y="3443"/>
                  </a:lnTo>
                  <a:lnTo>
                    <a:pt x="1222" y="3444"/>
                  </a:lnTo>
                  <a:lnTo>
                    <a:pt x="1211" y="3443"/>
                  </a:lnTo>
                  <a:lnTo>
                    <a:pt x="1199" y="3442"/>
                  </a:lnTo>
                  <a:lnTo>
                    <a:pt x="1187" y="3439"/>
                  </a:lnTo>
                  <a:lnTo>
                    <a:pt x="1174" y="3435"/>
                  </a:lnTo>
                  <a:lnTo>
                    <a:pt x="1161" y="3430"/>
                  </a:lnTo>
                  <a:lnTo>
                    <a:pt x="1148" y="3423"/>
                  </a:lnTo>
                  <a:lnTo>
                    <a:pt x="1136" y="3415"/>
                  </a:lnTo>
                  <a:lnTo>
                    <a:pt x="572" y="3038"/>
                  </a:lnTo>
                  <a:lnTo>
                    <a:pt x="567" y="3035"/>
                  </a:lnTo>
                  <a:lnTo>
                    <a:pt x="563" y="3031"/>
                  </a:lnTo>
                  <a:lnTo>
                    <a:pt x="559" y="3027"/>
                  </a:lnTo>
                  <a:lnTo>
                    <a:pt x="556" y="3023"/>
                  </a:lnTo>
                  <a:lnTo>
                    <a:pt x="553" y="3018"/>
                  </a:lnTo>
                  <a:lnTo>
                    <a:pt x="551" y="3014"/>
                  </a:lnTo>
                  <a:lnTo>
                    <a:pt x="549" y="3009"/>
                  </a:lnTo>
                  <a:lnTo>
                    <a:pt x="548" y="3004"/>
                  </a:lnTo>
                  <a:lnTo>
                    <a:pt x="548" y="2999"/>
                  </a:lnTo>
                  <a:lnTo>
                    <a:pt x="548" y="2994"/>
                  </a:lnTo>
                  <a:lnTo>
                    <a:pt x="548" y="2988"/>
                  </a:lnTo>
                  <a:lnTo>
                    <a:pt x="549" y="2983"/>
                  </a:lnTo>
                  <a:lnTo>
                    <a:pt x="551" y="2978"/>
                  </a:lnTo>
                  <a:lnTo>
                    <a:pt x="553" y="2974"/>
                  </a:lnTo>
                  <a:lnTo>
                    <a:pt x="556" y="2970"/>
                  </a:lnTo>
                  <a:lnTo>
                    <a:pt x="560" y="2966"/>
                  </a:lnTo>
                  <a:close/>
                  <a:moveTo>
                    <a:pt x="2570" y="3292"/>
                  </a:moveTo>
                  <a:lnTo>
                    <a:pt x="1990" y="2150"/>
                  </a:lnTo>
                  <a:lnTo>
                    <a:pt x="1987" y="2144"/>
                  </a:lnTo>
                  <a:lnTo>
                    <a:pt x="1986" y="2139"/>
                  </a:lnTo>
                  <a:lnTo>
                    <a:pt x="1985" y="2134"/>
                  </a:lnTo>
                  <a:lnTo>
                    <a:pt x="1985" y="2128"/>
                  </a:lnTo>
                  <a:lnTo>
                    <a:pt x="1986" y="2124"/>
                  </a:lnTo>
                  <a:lnTo>
                    <a:pt x="1987" y="2119"/>
                  </a:lnTo>
                  <a:lnTo>
                    <a:pt x="1988" y="2114"/>
                  </a:lnTo>
                  <a:lnTo>
                    <a:pt x="1990" y="2110"/>
                  </a:lnTo>
                  <a:lnTo>
                    <a:pt x="1993" y="2105"/>
                  </a:lnTo>
                  <a:lnTo>
                    <a:pt x="1996" y="2101"/>
                  </a:lnTo>
                  <a:lnTo>
                    <a:pt x="2000" y="2098"/>
                  </a:lnTo>
                  <a:lnTo>
                    <a:pt x="2003" y="2094"/>
                  </a:lnTo>
                  <a:lnTo>
                    <a:pt x="2009" y="2091"/>
                  </a:lnTo>
                  <a:lnTo>
                    <a:pt x="2013" y="2088"/>
                  </a:lnTo>
                  <a:lnTo>
                    <a:pt x="2018" y="2086"/>
                  </a:lnTo>
                  <a:lnTo>
                    <a:pt x="2024" y="2084"/>
                  </a:lnTo>
                  <a:lnTo>
                    <a:pt x="2678" y="1906"/>
                  </a:lnTo>
                  <a:lnTo>
                    <a:pt x="2693" y="1902"/>
                  </a:lnTo>
                  <a:lnTo>
                    <a:pt x="2707" y="1899"/>
                  </a:lnTo>
                  <a:lnTo>
                    <a:pt x="2720" y="1898"/>
                  </a:lnTo>
                  <a:lnTo>
                    <a:pt x="2734" y="1898"/>
                  </a:lnTo>
                  <a:lnTo>
                    <a:pt x="2746" y="1900"/>
                  </a:lnTo>
                  <a:lnTo>
                    <a:pt x="2758" y="1902"/>
                  </a:lnTo>
                  <a:lnTo>
                    <a:pt x="2769" y="1906"/>
                  </a:lnTo>
                  <a:lnTo>
                    <a:pt x="2780" y="1910"/>
                  </a:lnTo>
                  <a:lnTo>
                    <a:pt x="2791" y="1915"/>
                  </a:lnTo>
                  <a:lnTo>
                    <a:pt x="2800" y="1921"/>
                  </a:lnTo>
                  <a:lnTo>
                    <a:pt x="2809" y="1928"/>
                  </a:lnTo>
                  <a:lnTo>
                    <a:pt x="2817" y="1936"/>
                  </a:lnTo>
                  <a:lnTo>
                    <a:pt x="2825" y="1944"/>
                  </a:lnTo>
                  <a:lnTo>
                    <a:pt x="2832" y="1953"/>
                  </a:lnTo>
                  <a:lnTo>
                    <a:pt x="2838" y="1963"/>
                  </a:lnTo>
                  <a:lnTo>
                    <a:pt x="2845" y="1974"/>
                  </a:lnTo>
                  <a:lnTo>
                    <a:pt x="3216" y="2706"/>
                  </a:lnTo>
                  <a:lnTo>
                    <a:pt x="3221" y="2717"/>
                  </a:lnTo>
                  <a:lnTo>
                    <a:pt x="3225" y="2727"/>
                  </a:lnTo>
                  <a:lnTo>
                    <a:pt x="3229" y="2739"/>
                  </a:lnTo>
                  <a:lnTo>
                    <a:pt x="3231" y="2751"/>
                  </a:lnTo>
                  <a:lnTo>
                    <a:pt x="3232" y="2762"/>
                  </a:lnTo>
                  <a:lnTo>
                    <a:pt x="3233" y="2773"/>
                  </a:lnTo>
                  <a:lnTo>
                    <a:pt x="3232" y="2784"/>
                  </a:lnTo>
                  <a:lnTo>
                    <a:pt x="3230" y="2795"/>
                  </a:lnTo>
                  <a:lnTo>
                    <a:pt x="3227" y="2806"/>
                  </a:lnTo>
                  <a:lnTo>
                    <a:pt x="3223" y="2818"/>
                  </a:lnTo>
                  <a:lnTo>
                    <a:pt x="3218" y="2829"/>
                  </a:lnTo>
                  <a:lnTo>
                    <a:pt x="3212" y="2839"/>
                  </a:lnTo>
                  <a:lnTo>
                    <a:pt x="3204" y="2850"/>
                  </a:lnTo>
                  <a:lnTo>
                    <a:pt x="3194" y="2860"/>
                  </a:lnTo>
                  <a:lnTo>
                    <a:pt x="3184" y="2871"/>
                  </a:lnTo>
                  <a:lnTo>
                    <a:pt x="3173" y="2881"/>
                  </a:lnTo>
                  <a:lnTo>
                    <a:pt x="2643" y="3304"/>
                  </a:lnTo>
                  <a:lnTo>
                    <a:pt x="2638" y="3307"/>
                  </a:lnTo>
                  <a:lnTo>
                    <a:pt x="2633" y="3310"/>
                  </a:lnTo>
                  <a:lnTo>
                    <a:pt x="2629" y="3312"/>
                  </a:lnTo>
                  <a:lnTo>
                    <a:pt x="2624" y="3314"/>
                  </a:lnTo>
                  <a:lnTo>
                    <a:pt x="2619" y="3315"/>
                  </a:lnTo>
                  <a:lnTo>
                    <a:pt x="2613" y="3316"/>
                  </a:lnTo>
                  <a:lnTo>
                    <a:pt x="2608" y="3316"/>
                  </a:lnTo>
                  <a:lnTo>
                    <a:pt x="2603" y="3315"/>
                  </a:lnTo>
                  <a:lnTo>
                    <a:pt x="2598" y="3314"/>
                  </a:lnTo>
                  <a:lnTo>
                    <a:pt x="2593" y="3313"/>
                  </a:lnTo>
                  <a:lnTo>
                    <a:pt x="2588" y="3311"/>
                  </a:lnTo>
                  <a:lnTo>
                    <a:pt x="2584" y="3308"/>
                  </a:lnTo>
                  <a:lnTo>
                    <a:pt x="2580" y="3305"/>
                  </a:lnTo>
                  <a:lnTo>
                    <a:pt x="2576" y="3302"/>
                  </a:lnTo>
                  <a:lnTo>
                    <a:pt x="2573" y="3297"/>
                  </a:lnTo>
                  <a:lnTo>
                    <a:pt x="2570" y="3292"/>
                  </a:lnTo>
                  <a:close/>
                  <a:moveTo>
                    <a:pt x="3494" y="1498"/>
                  </a:moveTo>
                  <a:lnTo>
                    <a:pt x="2227" y="1688"/>
                  </a:lnTo>
                  <a:lnTo>
                    <a:pt x="2222" y="1688"/>
                  </a:lnTo>
                  <a:lnTo>
                    <a:pt x="2216" y="1688"/>
                  </a:lnTo>
                  <a:lnTo>
                    <a:pt x="2211" y="1687"/>
                  </a:lnTo>
                  <a:lnTo>
                    <a:pt x="2206" y="1686"/>
                  </a:lnTo>
                  <a:lnTo>
                    <a:pt x="2202" y="1684"/>
                  </a:lnTo>
                  <a:lnTo>
                    <a:pt x="2198" y="1681"/>
                  </a:lnTo>
                  <a:lnTo>
                    <a:pt x="2194" y="1678"/>
                  </a:lnTo>
                  <a:lnTo>
                    <a:pt x="2190" y="1675"/>
                  </a:lnTo>
                  <a:lnTo>
                    <a:pt x="2187" y="1671"/>
                  </a:lnTo>
                  <a:lnTo>
                    <a:pt x="2183" y="1667"/>
                  </a:lnTo>
                  <a:lnTo>
                    <a:pt x="2181" y="1661"/>
                  </a:lnTo>
                  <a:lnTo>
                    <a:pt x="2179" y="1657"/>
                  </a:lnTo>
                  <a:lnTo>
                    <a:pt x="2177" y="1652"/>
                  </a:lnTo>
                  <a:lnTo>
                    <a:pt x="2176" y="1646"/>
                  </a:lnTo>
                  <a:lnTo>
                    <a:pt x="2176" y="1641"/>
                  </a:lnTo>
                  <a:lnTo>
                    <a:pt x="2176" y="1635"/>
                  </a:lnTo>
                  <a:lnTo>
                    <a:pt x="2213" y="959"/>
                  </a:lnTo>
                  <a:lnTo>
                    <a:pt x="2214" y="944"/>
                  </a:lnTo>
                  <a:lnTo>
                    <a:pt x="2217" y="929"/>
                  </a:lnTo>
                  <a:lnTo>
                    <a:pt x="2220" y="915"/>
                  </a:lnTo>
                  <a:lnTo>
                    <a:pt x="2224" y="903"/>
                  </a:lnTo>
                  <a:lnTo>
                    <a:pt x="2229" y="892"/>
                  </a:lnTo>
                  <a:lnTo>
                    <a:pt x="2235" y="881"/>
                  </a:lnTo>
                  <a:lnTo>
                    <a:pt x="2241" y="871"/>
                  </a:lnTo>
                  <a:lnTo>
                    <a:pt x="2250" y="862"/>
                  </a:lnTo>
                  <a:lnTo>
                    <a:pt x="2257" y="854"/>
                  </a:lnTo>
                  <a:lnTo>
                    <a:pt x="2266" y="847"/>
                  </a:lnTo>
                  <a:lnTo>
                    <a:pt x="2275" y="841"/>
                  </a:lnTo>
                  <a:lnTo>
                    <a:pt x="2285" y="836"/>
                  </a:lnTo>
                  <a:lnTo>
                    <a:pt x="2296" y="831"/>
                  </a:lnTo>
                  <a:lnTo>
                    <a:pt x="2307" y="827"/>
                  </a:lnTo>
                  <a:lnTo>
                    <a:pt x="2319" y="824"/>
                  </a:lnTo>
                  <a:lnTo>
                    <a:pt x="2331" y="822"/>
                  </a:lnTo>
                  <a:lnTo>
                    <a:pt x="3142" y="700"/>
                  </a:lnTo>
                  <a:lnTo>
                    <a:pt x="3154" y="699"/>
                  </a:lnTo>
                  <a:lnTo>
                    <a:pt x="3166" y="699"/>
                  </a:lnTo>
                  <a:lnTo>
                    <a:pt x="3177" y="699"/>
                  </a:lnTo>
                  <a:lnTo>
                    <a:pt x="3189" y="700"/>
                  </a:lnTo>
                  <a:lnTo>
                    <a:pt x="3200" y="702"/>
                  </a:lnTo>
                  <a:lnTo>
                    <a:pt x="3211" y="706"/>
                  </a:lnTo>
                  <a:lnTo>
                    <a:pt x="3222" y="710"/>
                  </a:lnTo>
                  <a:lnTo>
                    <a:pt x="3232" y="715"/>
                  </a:lnTo>
                  <a:lnTo>
                    <a:pt x="3241" y="721"/>
                  </a:lnTo>
                  <a:lnTo>
                    <a:pt x="3250" y="728"/>
                  </a:lnTo>
                  <a:lnTo>
                    <a:pt x="3259" y="737"/>
                  </a:lnTo>
                  <a:lnTo>
                    <a:pt x="3268" y="746"/>
                  </a:lnTo>
                  <a:lnTo>
                    <a:pt x="3275" y="758"/>
                  </a:lnTo>
                  <a:lnTo>
                    <a:pt x="3282" y="769"/>
                  </a:lnTo>
                  <a:lnTo>
                    <a:pt x="3289" y="782"/>
                  </a:lnTo>
                  <a:lnTo>
                    <a:pt x="3294" y="796"/>
                  </a:lnTo>
                  <a:lnTo>
                    <a:pt x="3529" y="1433"/>
                  </a:lnTo>
                  <a:lnTo>
                    <a:pt x="3530" y="1438"/>
                  </a:lnTo>
                  <a:lnTo>
                    <a:pt x="3531" y="1443"/>
                  </a:lnTo>
                  <a:lnTo>
                    <a:pt x="3532" y="1449"/>
                  </a:lnTo>
                  <a:lnTo>
                    <a:pt x="3532" y="1454"/>
                  </a:lnTo>
                  <a:lnTo>
                    <a:pt x="3531" y="1459"/>
                  </a:lnTo>
                  <a:lnTo>
                    <a:pt x="3530" y="1464"/>
                  </a:lnTo>
                  <a:lnTo>
                    <a:pt x="3529" y="1469"/>
                  </a:lnTo>
                  <a:lnTo>
                    <a:pt x="3527" y="1474"/>
                  </a:lnTo>
                  <a:lnTo>
                    <a:pt x="3525" y="1478"/>
                  </a:lnTo>
                  <a:lnTo>
                    <a:pt x="3522" y="1483"/>
                  </a:lnTo>
                  <a:lnTo>
                    <a:pt x="3518" y="1487"/>
                  </a:lnTo>
                  <a:lnTo>
                    <a:pt x="3515" y="1490"/>
                  </a:lnTo>
                  <a:lnTo>
                    <a:pt x="3510" y="1493"/>
                  </a:lnTo>
                  <a:lnTo>
                    <a:pt x="3506" y="1495"/>
                  </a:lnTo>
                  <a:lnTo>
                    <a:pt x="3501" y="1497"/>
                  </a:lnTo>
                  <a:lnTo>
                    <a:pt x="3494" y="1498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9039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Вертикальный заголовок и текст"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5"/>
          <p:cNvSpPr>
            <a:spLocks/>
          </p:cNvSpPr>
          <p:nvPr userDrawn="1"/>
        </p:nvSpPr>
        <p:spPr bwMode="auto">
          <a:xfrm>
            <a:off x="7334912" y="2886077"/>
            <a:ext cx="1719792" cy="2135187"/>
          </a:xfrm>
          <a:custGeom>
            <a:avLst/>
            <a:gdLst>
              <a:gd name="T0" fmla="*/ 3159 w 4000"/>
              <a:gd name="T1" fmla="*/ 5238 h 5382"/>
              <a:gd name="T2" fmla="*/ 3155 w 4000"/>
              <a:gd name="T3" fmla="*/ 5259 h 5382"/>
              <a:gd name="T4" fmla="*/ 3146 w 4000"/>
              <a:gd name="T5" fmla="*/ 5280 h 5382"/>
              <a:gd name="T6" fmla="*/ 3137 w 4000"/>
              <a:gd name="T7" fmla="*/ 5299 h 5382"/>
              <a:gd name="T8" fmla="*/ 3126 w 4000"/>
              <a:gd name="T9" fmla="*/ 5315 h 5382"/>
              <a:gd name="T10" fmla="*/ 3113 w 4000"/>
              <a:gd name="T11" fmla="*/ 5330 h 5382"/>
              <a:gd name="T12" fmla="*/ 3098 w 4000"/>
              <a:gd name="T13" fmla="*/ 5343 h 5382"/>
              <a:gd name="T14" fmla="*/ 3064 w 4000"/>
              <a:gd name="T15" fmla="*/ 5364 h 5382"/>
              <a:gd name="T16" fmla="*/ 3024 w 4000"/>
              <a:gd name="T17" fmla="*/ 5378 h 5382"/>
              <a:gd name="T18" fmla="*/ 2984 w 4000"/>
              <a:gd name="T19" fmla="*/ 5382 h 5382"/>
              <a:gd name="T20" fmla="*/ 2941 w 4000"/>
              <a:gd name="T21" fmla="*/ 5380 h 5382"/>
              <a:gd name="T22" fmla="*/ 2898 w 4000"/>
              <a:gd name="T23" fmla="*/ 5368 h 5382"/>
              <a:gd name="T24" fmla="*/ 354 w 4000"/>
              <a:gd name="T25" fmla="*/ 4384 h 5382"/>
              <a:gd name="T26" fmla="*/ 300 w 4000"/>
              <a:gd name="T27" fmla="*/ 4358 h 5382"/>
              <a:gd name="T28" fmla="*/ 250 w 4000"/>
              <a:gd name="T29" fmla="*/ 4332 h 5382"/>
              <a:gd name="T30" fmla="*/ 206 w 4000"/>
              <a:gd name="T31" fmla="*/ 4301 h 5382"/>
              <a:gd name="T32" fmla="*/ 166 w 4000"/>
              <a:gd name="T33" fmla="*/ 4269 h 5382"/>
              <a:gd name="T34" fmla="*/ 132 w 4000"/>
              <a:gd name="T35" fmla="*/ 4235 h 5382"/>
              <a:gd name="T36" fmla="*/ 100 w 4000"/>
              <a:gd name="T37" fmla="*/ 4198 h 5382"/>
              <a:gd name="T38" fmla="*/ 75 w 4000"/>
              <a:gd name="T39" fmla="*/ 4161 h 5382"/>
              <a:gd name="T40" fmla="*/ 51 w 4000"/>
              <a:gd name="T41" fmla="*/ 4121 h 5382"/>
              <a:gd name="T42" fmla="*/ 34 w 4000"/>
              <a:gd name="T43" fmla="*/ 4079 h 5382"/>
              <a:gd name="T44" fmla="*/ 19 w 4000"/>
              <a:gd name="T45" fmla="*/ 4036 h 5382"/>
              <a:gd name="T46" fmla="*/ 8 w 4000"/>
              <a:gd name="T47" fmla="*/ 3993 h 5382"/>
              <a:gd name="T48" fmla="*/ 3 w 4000"/>
              <a:gd name="T49" fmla="*/ 3948 h 5382"/>
              <a:gd name="T50" fmla="*/ 0 w 4000"/>
              <a:gd name="T51" fmla="*/ 3902 h 5382"/>
              <a:gd name="T52" fmla="*/ 0 w 4000"/>
              <a:gd name="T53" fmla="*/ 3855 h 5382"/>
              <a:gd name="T54" fmla="*/ 5 w 4000"/>
              <a:gd name="T55" fmla="*/ 3807 h 5382"/>
              <a:gd name="T56" fmla="*/ 545 w 4000"/>
              <a:gd name="T57" fmla="*/ 564 h 5382"/>
              <a:gd name="T58" fmla="*/ 555 w 4000"/>
              <a:gd name="T59" fmla="*/ 516 h 5382"/>
              <a:gd name="T60" fmla="*/ 567 w 4000"/>
              <a:gd name="T61" fmla="*/ 471 h 5382"/>
              <a:gd name="T62" fmla="*/ 583 w 4000"/>
              <a:gd name="T63" fmla="*/ 427 h 5382"/>
              <a:gd name="T64" fmla="*/ 602 w 4000"/>
              <a:gd name="T65" fmla="*/ 385 h 5382"/>
              <a:gd name="T66" fmla="*/ 624 w 4000"/>
              <a:gd name="T67" fmla="*/ 345 h 5382"/>
              <a:gd name="T68" fmla="*/ 650 w 4000"/>
              <a:gd name="T69" fmla="*/ 308 h 5382"/>
              <a:gd name="T70" fmla="*/ 679 w 4000"/>
              <a:gd name="T71" fmla="*/ 274 h 5382"/>
              <a:gd name="T72" fmla="*/ 712 w 4000"/>
              <a:gd name="T73" fmla="*/ 242 h 5382"/>
              <a:gd name="T74" fmla="*/ 746 w 4000"/>
              <a:gd name="T75" fmla="*/ 214 h 5382"/>
              <a:gd name="T76" fmla="*/ 786 w 4000"/>
              <a:gd name="T77" fmla="*/ 187 h 5382"/>
              <a:gd name="T78" fmla="*/ 829 w 4000"/>
              <a:gd name="T79" fmla="*/ 165 h 5382"/>
              <a:gd name="T80" fmla="*/ 875 w 4000"/>
              <a:gd name="T81" fmla="*/ 145 h 5382"/>
              <a:gd name="T82" fmla="*/ 924 w 4000"/>
              <a:gd name="T83" fmla="*/ 130 h 5382"/>
              <a:gd name="T84" fmla="*/ 978 w 4000"/>
              <a:gd name="T85" fmla="*/ 117 h 5382"/>
              <a:gd name="T86" fmla="*/ 1035 w 4000"/>
              <a:gd name="T87" fmla="*/ 109 h 5382"/>
              <a:gd name="T88" fmla="*/ 1096 w 4000"/>
              <a:gd name="T89" fmla="*/ 105 h 5382"/>
              <a:gd name="T90" fmla="*/ 3814 w 4000"/>
              <a:gd name="T91" fmla="*/ 0 h 5382"/>
              <a:gd name="T92" fmla="*/ 3857 w 4000"/>
              <a:gd name="T93" fmla="*/ 7 h 5382"/>
              <a:gd name="T94" fmla="*/ 3897 w 4000"/>
              <a:gd name="T95" fmla="*/ 22 h 5382"/>
              <a:gd name="T96" fmla="*/ 3932 w 4000"/>
              <a:gd name="T97" fmla="*/ 44 h 5382"/>
              <a:gd name="T98" fmla="*/ 3960 w 4000"/>
              <a:gd name="T99" fmla="*/ 72 h 5382"/>
              <a:gd name="T100" fmla="*/ 3977 w 4000"/>
              <a:gd name="T101" fmla="*/ 97 h 5382"/>
              <a:gd name="T102" fmla="*/ 3987 w 4000"/>
              <a:gd name="T103" fmla="*/ 115 h 5382"/>
              <a:gd name="T104" fmla="*/ 3993 w 4000"/>
              <a:gd name="T105" fmla="*/ 134 h 5382"/>
              <a:gd name="T106" fmla="*/ 3997 w 4000"/>
              <a:gd name="T107" fmla="*/ 154 h 5382"/>
              <a:gd name="T108" fmla="*/ 4000 w 4000"/>
              <a:gd name="T109" fmla="*/ 174 h 5382"/>
              <a:gd name="T110" fmla="*/ 3998 w 4000"/>
              <a:gd name="T111" fmla="*/ 197 h 5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000" h="5382">
                <a:moveTo>
                  <a:pt x="3997" y="207"/>
                </a:moveTo>
                <a:lnTo>
                  <a:pt x="3159" y="5238"/>
                </a:lnTo>
                <a:lnTo>
                  <a:pt x="3157" y="5249"/>
                </a:lnTo>
                <a:lnTo>
                  <a:pt x="3155" y="5259"/>
                </a:lnTo>
                <a:lnTo>
                  <a:pt x="3151" y="5270"/>
                </a:lnTo>
                <a:lnTo>
                  <a:pt x="3146" y="5280"/>
                </a:lnTo>
                <a:lnTo>
                  <a:pt x="3143" y="5289"/>
                </a:lnTo>
                <a:lnTo>
                  <a:pt x="3137" y="5299"/>
                </a:lnTo>
                <a:lnTo>
                  <a:pt x="3132" y="5307"/>
                </a:lnTo>
                <a:lnTo>
                  <a:pt x="3126" y="5315"/>
                </a:lnTo>
                <a:lnTo>
                  <a:pt x="3120" y="5323"/>
                </a:lnTo>
                <a:lnTo>
                  <a:pt x="3113" y="5330"/>
                </a:lnTo>
                <a:lnTo>
                  <a:pt x="3106" y="5337"/>
                </a:lnTo>
                <a:lnTo>
                  <a:pt x="3098" y="5343"/>
                </a:lnTo>
                <a:lnTo>
                  <a:pt x="3081" y="5354"/>
                </a:lnTo>
                <a:lnTo>
                  <a:pt x="3064" y="5364"/>
                </a:lnTo>
                <a:lnTo>
                  <a:pt x="3044" y="5372"/>
                </a:lnTo>
                <a:lnTo>
                  <a:pt x="3024" y="5378"/>
                </a:lnTo>
                <a:lnTo>
                  <a:pt x="3005" y="5381"/>
                </a:lnTo>
                <a:lnTo>
                  <a:pt x="2984" y="5382"/>
                </a:lnTo>
                <a:lnTo>
                  <a:pt x="2962" y="5382"/>
                </a:lnTo>
                <a:lnTo>
                  <a:pt x="2941" y="5380"/>
                </a:lnTo>
                <a:lnTo>
                  <a:pt x="2920" y="5375"/>
                </a:lnTo>
                <a:lnTo>
                  <a:pt x="2898" y="5368"/>
                </a:lnTo>
                <a:lnTo>
                  <a:pt x="381" y="4396"/>
                </a:lnTo>
                <a:lnTo>
                  <a:pt x="354" y="4384"/>
                </a:lnTo>
                <a:lnTo>
                  <a:pt x="326" y="4371"/>
                </a:lnTo>
                <a:lnTo>
                  <a:pt x="300" y="4358"/>
                </a:lnTo>
                <a:lnTo>
                  <a:pt x="275" y="4346"/>
                </a:lnTo>
                <a:lnTo>
                  <a:pt x="250" y="4332"/>
                </a:lnTo>
                <a:lnTo>
                  <a:pt x="228" y="4317"/>
                </a:lnTo>
                <a:lnTo>
                  <a:pt x="206" y="4301"/>
                </a:lnTo>
                <a:lnTo>
                  <a:pt x="186" y="4285"/>
                </a:lnTo>
                <a:lnTo>
                  <a:pt x="166" y="4269"/>
                </a:lnTo>
                <a:lnTo>
                  <a:pt x="149" y="4253"/>
                </a:lnTo>
                <a:lnTo>
                  <a:pt x="132" y="4235"/>
                </a:lnTo>
                <a:lnTo>
                  <a:pt x="115" y="4217"/>
                </a:lnTo>
                <a:lnTo>
                  <a:pt x="100" y="4198"/>
                </a:lnTo>
                <a:lnTo>
                  <a:pt x="87" y="4179"/>
                </a:lnTo>
                <a:lnTo>
                  <a:pt x="75" y="4161"/>
                </a:lnTo>
                <a:lnTo>
                  <a:pt x="62" y="4141"/>
                </a:lnTo>
                <a:lnTo>
                  <a:pt x="51" y="4121"/>
                </a:lnTo>
                <a:lnTo>
                  <a:pt x="42" y="4100"/>
                </a:lnTo>
                <a:lnTo>
                  <a:pt x="34" y="4079"/>
                </a:lnTo>
                <a:lnTo>
                  <a:pt x="26" y="4059"/>
                </a:lnTo>
                <a:lnTo>
                  <a:pt x="19" y="4036"/>
                </a:lnTo>
                <a:lnTo>
                  <a:pt x="13" y="4016"/>
                </a:lnTo>
                <a:lnTo>
                  <a:pt x="8" y="3993"/>
                </a:lnTo>
                <a:lnTo>
                  <a:pt x="5" y="3970"/>
                </a:lnTo>
                <a:lnTo>
                  <a:pt x="3" y="3948"/>
                </a:lnTo>
                <a:lnTo>
                  <a:pt x="0" y="3925"/>
                </a:lnTo>
                <a:lnTo>
                  <a:pt x="0" y="3902"/>
                </a:lnTo>
                <a:lnTo>
                  <a:pt x="0" y="3878"/>
                </a:lnTo>
                <a:lnTo>
                  <a:pt x="0" y="3855"/>
                </a:lnTo>
                <a:lnTo>
                  <a:pt x="3" y="3831"/>
                </a:lnTo>
                <a:lnTo>
                  <a:pt x="5" y="3807"/>
                </a:lnTo>
                <a:lnTo>
                  <a:pt x="8" y="3783"/>
                </a:lnTo>
                <a:lnTo>
                  <a:pt x="545" y="564"/>
                </a:lnTo>
                <a:lnTo>
                  <a:pt x="549" y="539"/>
                </a:lnTo>
                <a:lnTo>
                  <a:pt x="555" y="516"/>
                </a:lnTo>
                <a:lnTo>
                  <a:pt x="560" y="493"/>
                </a:lnTo>
                <a:lnTo>
                  <a:pt x="567" y="471"/>
                </a:lnTo>
                <a:lnTo>
                  <a:pt x="574" y="449"/>
                </a:lnTo>
                <a:lnTo>
                  <a:pt x="583" y="427"/>
                </a:lnTo>
                <a:lnTo>
                  <a:pt x="592" y="406"/>
                </a:lnTo>
                <a:lnTo>
                  <a:pt x="602" y="385"/>
                </a:lnTo>
                <a:lnTo>
                  <a:pt x="613" y="365"/>
                </a:lnTo>
                <a:lnTo>
                  <a:pt x="624" y="345"/>
                </a:lnTo>
                <a:lnTo>
                  <a:pt x="637" y="327"/>
                </a:lnTo>
                <a:lnTo>
                  <a:pt x="650" y="308"/>
                </a:lnTo>
                <a:lnTo>
                  <a:pt x="664" y="291"/>
                </a:lnTo>
                <a:lnTo>
                  <a:pt x="679" y="274"/>
                </a:lnTo>
                <a:lnTo>
                  <a:pt x="695" y="258"/>
                </a:lnTo>
                <a:lnTo>
                  <a:pt x="712" y="242"/>
                </a:lnTo>
                <a:lnTo>
                  <a:pt x="729" y="228"/>
                </a:lnTo>
                <a:lnTo>
                  <a:pt x="746" y="214"/>
                </a:lnTo>
                <a:lnTo>
                  <a:pt x="766" y="200"/>
                </a:lnTo>
                <a:lnTo>
                  <a:pt x="786" y="187"/>
                </a:lnTo>
                <a:lnTo>
                  <a:pt x="807" y="176"/>
                </a:lnTo>
                <a:lnTo>
                  <a:pt x="829" y="165"/>
                </a:lnTo>
                <a:lnTo>
                  <a:pt x="851" y="155"/>
                </a:lnTo>
                <a:lnTo>
                  <a:pt x="875" y="145"/>
                </a:lnTo>
                <a:lnTo>
                  <a:pt x="900" y="137"/>
                </a:lnTo>
                <a:lnTo>
                  <a:pt x="924" y="130"/>
                </a:lnTo>
                <a:lnTo>
                  <a:pt x="951" y="123"/>
                </a:lnTo>
                <a:lnTo>
                  <a:pt x="978" y="117"/>
                </a:lnTo>
                <a:lnTo>
                  <a:pt x="1007" y="113"/>
                </a:lnTo>
                <a:lnTo>
                  <a:pt x="1035" y="109"/>
                </a:lnTo>
                <a:lnTo>
                  <a:pt x="1065" y="107"/>
                </a:lnTo>
                <a:lnTo>
                  <a:pt x="1096" y="105"/>
                </a:lnTo>
                <a:lnTo>
                  <a:pt x="3791" y="0"/>
                </a:lnTo>
                <a:lnTo>
                  <a:pt x="3814" y="0"/>
                </a:lnTo>
                <a:lnTo>
                  <a:pt x="3836" y="2"/>
                </a:lnTo>
                <a:lnTo>
                  <a:pt x="3857" y="7"/>
                </a:lnTo>
                <a:lnTo>
                  <a:pt x="3877" y="14"/>
                </a:lnTo>
                <a:lnTo>
                  <a:pt x="3897" y="22"/>
                </a:lnTo>
                <a:lnTo>
                  <a:pt x="3915" y="33"/>
                </a:lnTo>
                <a:lnTo>
                  <a:pt x="3932" y="44"/>
                </a:lnTo>
                <a:lnTo>
                  <a:pt x="3947" y="57"/>
                </a:lnTo>
                <a:lnTo>
                  <a:pt x="3960" y="72"/>
                </a:lnTo>
                <a:lnTo>
                  <a:pt x="3973" y="88"/>
                </a:lnTo>
                <a:lnTo>
                  <a:pt x="3977" y="97"/>
                </a:lnTo>
                <a:lnTo>
                  <a:pt x="3982" y="106"/>
                </a:lnTo>
                <a:lnTo>
                  <a:pt x="3987" y="115"/>
                </a:lnTo>
                <a:lnTo>
                  <a:pt x="3990" y="124"/>
                </a:lnTo>
                <a:lnTo>
                  <a:pt x="3993" y="134"/>
                </a:lnTo>
                <a:lnTo>
                  <a:pt x="3996" y="143"/>
                </a:lnTo>
                <a:lnTo>
                  <a:pt x="3997" y="154"/>
                </a:lnTo>
                <a:lnTo>
                  <a:pt x="3998" y="164"/>
                </a:lnTo>
                <a:lnTo>
                  <a:pt x="4000" y="174"/>
                </a:lnTo>
                <a:lnTo>
                  <a:pt x="4000" y="185"/>
                </a:lnTo>
                <a:lnTo>
                  <a:pt x="3998" y="197"/>
                </a:lnTo>
                <a:lnTo>
                  <a:pt x="3997" y="207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Freeform 7"/>
          <p:cNvSpPr>
            <a:spLocks/>
          </p:cNvSpPr>
          <p:nvPr userDrawn="1"/>
        </p:nvSpPr>
        <p:spPr bwMode="auto">
          <a:xfrm>
            <a:off x="9231842" y="4125920"/>
            <a:ext cx="674158" cy="1425575"/>
          </a:xfrm>
          <a:custGeom>
            <a:avLst/>
            <a:gdLst>
              <a:gd name="T0" fmla="*/ 1569 w 1569"/>
              <a:gd name="T1" fmla="*/ 3384 h 3590"/>
              <a:gd name="T2" fmla="*/ 205 w 1569"/>
              <a:gd name="T3" fmla="*/ 3589 h 3590"/>
              <a:gd name="T4" fmla="*/ 194 w 1569"/>
              <a:gd name="T5" fmla="*/ 3590 h 3590"/>
              <a:gd name="T6" fmla="*/ 182 w 1569"/>
              <a:gd name="T7" fmla="*/ 3590 h 3590"/>
              <a:gd name="T8" fmla="*/ 172 w 1569"/>
              <a:gd name="T9" fmla="*/ 3590 h 3590"/>
              <a:gd name="T10" fmla="*/ 162 w 1569"/>
              <a:gd name="T11" fmla="*/ 3590 h 3590"/>
              <a:gd name="T12" fmla="*/ 151 w 1569"/>
              <a:gd name="T13" fmla="*/ 3588 h 3590"/>
              <a:gd name="T14" fmla="*/ 141 w 1569"/>
              <a:gd name="T15" fmla="*/ 3587 h 3590"/>
              <a:gd name="T16" fmla="*/ 131 w 1569"/>
              <a:gd name="T17" fmla="*/ 3584 h 3590"/>
              <a:gd name="T18" fmla="*/ 121 w 1569"/>
              <a:gd name="T19" fmla="*/ 3581 h 3590"/>
              <a:gd name="T20" fmla="*/ 112 w 1569"/>
              <a:gd name="T21" fmla="*/ 3577 h 3590"/>
              <a:gd name="T22" fmla="*/ 103 w 1569"/>
              <a:gd name="T23" fmla="*/ 3573 h 3590"/>
              <a:gd name="T24" fmla="*/ 94 w 1569"/>
              <a:gd name="T25" fmla="*/ 3568 h 3590"/>
              <a:gd name="T26" fmla="*/ 86 w 1569"/>
              <a:gd name="T27" fmla="*/ 3563 h 3590"/>
              <a:gd name="T28" fmla="*/ 70 w 1569"/>
              <a:gd name="T29" fmla="*/ 3551 h 3590"/>
              <a:gd name="T30" fmla="*/ 56 w 1569"/>
              <a:gd name="T31" fmla="*/ 3537 h 3590"/>
              <a:gd name="T32" fmla="*/ 42 w 1569"/>
              <a:gd name="T33" fmla="*/ 3521 h 3590"/>
              <a:gd name="T34" fmla="*/ 30 w 1569"/>
              <a:gd name="T35" fmla="*/ 3504 h 3590"/>
              <a:gd name="T36" fmla="*/ 21 w 1569"/>
              <a:gd name="T37" fmla="*/ 3486 h 3590"/>
              <a:gd name="T38" fmla="*/ 13 w 1569"/>
              <a:gd name="T39" fmla="*/ 3466 h 3590"/>
              <a:gd name="T40" fmla="*/ 7 w 1569"/>
              <a:gd name="T41" fmla="*/ 3446 h 3590"/>
              <a:gd name="T42" fmla="*/ 2 w 1569"/>
              <a:gd name="T43" fmla="*/ 3424 h 3590"/>
              <a:gd name="T44" fmla="*/ 0 w 1569"/>
              <a:gd name="T45" fmla="*/ 3403 h 3590"/>
              <a:gd name="T46" fmla="*/ 0 w 1569"/>
              <a:gd name="T47" fmla="*/ 3380 h 3590"/>
              <a:gd name="T48" fmla="*/ 149 w 1569"/>
              <a:gd name="T49" fmla="*/ 687 h 3590"/>
              <a:gd name="T50" fmla="*/ 150 w 1569"/>
              <a:gd name="T51" fmla="*/ 656 h 3590"/>
              <a:gd name="T52" fmla="*/ 153 w 1569"/>
              <a:gd name="T53" fmla="*/ 627 h 3590"/>
              <a:gd name="T54" fmla="*/ 158 w 1569"/>
              <a:gd name="T55" fmla="*/ 598 h 3590"/>
              <a:gd name="T56" fmla="*/ 163 w 1569"/>
              <a:gd name="T57" fmla="*/ 570 h 3590"/>
              <a:gd name="T58" fmla="*/ 168 w 1569"/>
              <a:gd name="T59" fmla="*/ 542 h 3590"/>
              <a:gd name="T60" fmla="*/ 175 w 1569"/>
              <a:gd name="T61" fmla="*/ 516 h 3590"/>
              <a:gd name="T62" fmla="*/ 184 w 1569"/>
              <a:gd name="T63" fmla="*/ 491 h 3590"/>
              <a:gd name="T64" fmla="*/ 193 w 1569"/>
              <a:gd name="T65" fmla="*/ 466 h 3590"/>
              <a:gd name="T66" fmla="*/ 202 w 1569"/>
              <a:gd name="T67" fmla="*/ 443 h 3590"/>
              <a:gd name="T68" fmla="*/ 213 w 1569"/>
              <a:gd name="T69" fmla="*/ 421 h 3590"/>
              <a:gd name="T70" fmla="*/ 224 w 1569"/>
              <a:gd name="T71" fmla="*/ 399 h 3590"/>
              <a:gd name="T72" fmla="*/ 236 w 1569"/>
              <a:gd name="T73" fmla="*/ 378 h 3590"/>
              <a:gd name="T74" fmla="*/ 249 w 1569"/>
              <a:gd name="T75" fmla="*/ 358 h 3590"/>
              <a:gd name="T76" fmla="*/ 263 w 1569"/>
              <a:gd name="T77" fmla="*/ 340 h 3590"/>
              <a:gd name="T78" fmla="*/ 277 w 1569"/>
              <a:gd name="T79" fmla="*/ 322 h 3590"/>
              <a:gd name="T80" fmla="*/ 292 w 1569"/>
              <a:gd name="T81" fmla="*/ 305 h 3590"/>
              <a:gd name="T82" fmla="*/ 308 w 1569"/>
              <a:gd name="T83" fmla="*/ 289 h 3590"/>
              <a:gd name="T84" fmla="*/ 324 w 1569"/>
              <a:gd name="T85" fmla="*/ 272 h 3590"/>
              <a:gd name="T86" fmla="*/ 342 w 1569"/>
              <a:gd name="T87" fmla="*/ 258 h 3590"/>
              <a:gd name="T88" fmla="*/ 359 w 1569"/>
              <a:gd name="T89" fmla="*/ 244 h 3590"/>
              <a:gd name="T90" fmla="*/ 378 w 1569"/>
              <a:gd name="T91" fmla="*/ 232 h 3590"/>
              <a:gd name="T92" fmla="*/ 396 w 1569"/>
              <a:gd name="T93" fmla="*/ 219 h 3590"/>
              <a:gd name="T94" fmla="*/ 416 w 1569"/>
              <a:gd name="T95" fmla="*/ 208 h 3590"/>
              <a:gd name="T96" fmla="*/ 436 w 1569"/>
              <a:gd name="T97" fmla="*/ 198 h 3590"/>
              <a:gd name="T98" fmla="*/ 457 w 1569"/>
              <a:gd name="T99" fmla="*/ 188 h 3590"/>
              <a:gd name="T100" fmla="*/ 478 w 1569"/>
              <a:gd name="T101" fmla="*/ 179 h 3590"/>
              <a:gd name="T102" fmla="*/ 500 w 1569"/>
              <a:gd name="T103" fmla="*/ 171 h 3590"/>
              <a:gd name="T104" fmla="*/ 522 w 1569"/>
              <a:gd name="T105" fmla="*/ 164 h 3590"/>
              <a:gd name="T106" fmla="*/ 545 w 1569"/>
              <a:gd name="T107" fmla="*/ 157 h 3590"/>
              <a:gd name="T108" fmla="*/ 568 w 1569"/>
              <a:gd name="T109" fmla="*/ 152 h 3590"/>
              <a:gd name="T110" fmla="*/ 592 w 1569"/>
              <a:gd name="T111" fmla="*/ 147 h 3590"/>
              <a:gd name="T112" fmla="*/ 616 w 1569"/>
              <a:gd name="T113" fmla="*/ 143 h 3590"/>
              <a:gd name="T114" fmla="*/ 1569 w 1569"/>
              <a:gd name="T115" fmla="*/ 0 h 3590"/>
              <a:gd name="T116" fmla="*/ 1569 w 1569"/>
              <a:gd name="T117" fmla="*/ 3384 h 35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569" h="3590">
                <a:moveTo>
                  <a:pt x="1569" y="3384"/>
                </a:moveTo>
                <a:lnTo>
                  <a:pt x="205" y="3589"/>
                </a:lnTo>
                <a:lnTo>
                  <a:pt x="194" y="3590"/>
                </a:lnTo>
                <a:lnTo>
                  <a:pt x="182" y="3590"/>
                </a:lnTo>
                <a:lnTo>
                  <a:pt x="172" y="3590"/>
                </a:lnTo>
                <a:lnTo>
                  <a:pt x="162" y="3590"/>
                </a:lnTo>
                <a:lnTo>
                  <a:pt x="151" y="3588"/>
                </a:lnTo>
                <a:lnTo>
                  <a:pt x="141" y="3587"/>
                </a:lnTo>
                <a:lnTo>
                  <a:pt x="131" y="3584"/>
                </a:lnTo>
                <a:lnTo>
                  <a:pt x="121" y="3581"/>
                </a:lnTo>
                <a:lnTo>
                  <a:pt x="112" y="3577"/>
                </a:lnTo>
                <a:lnTo>
                  <a:pt x="103" y="3573"/>
                </a:lnTo>
                <a:lnTo>
                  <a:pt x="94" y="3568"/>
                </a:lnTo>
                <a:lnTo>
                  <a:pt x="86" y="3563"/>
                </a:lnTo>
                <a:lnTo>
                  <a:pt x="70" y="3551"/>
                </a:lnTo>
                <a:lnTo>
                  <a:pt x="56" y="3537"/>
                </a:lnTo>
                <a:lnTo>
                  <a:pt x="42" y="3521"/>
                </a:lnTo>
                <a:lnTo>
                  <a:pt x="30" y="3504"/>
                </a:lnTo>
                <a:lnTo>
                  <a:pt x="21" y="3486"/>
                </a:lnTo>
                <a:lnTo>
                  <a:pt x="13" y="3466"/>
                </a:lnTo>
                <a:lnTo>
                  <a:pt x="7" y="3446"/>
                </a:lnTo>
                <a:lnTo>
                  <a:pt x="2" y="3424"/>
                </a:lnTo>
                <a:lnTo>
                  <a:pt x="0" y="3403"/>
                </a:lnTo>
                <a:lnTo>
                  <a:pt x="0" y="3380"/>
                </a:lnTo>
                <a:lnTo>
                  <a:pt x="149" y="687"/>
                </a:lnTo>
                <a:lnTo>
                  <a:pt x="150" y="656"/>
                </a:lnTo>
                <a:lnTo>
                  <a:pt x="153" y="627"/>
                </a:lnTo>
                <a:lnTo>
                  <a:pt x="158" y="598"/>
                </a:lnTo>
                <a:lnTo>
                  <a:pt x="163" y="570"/>
                </a:lnTo>
                <a:lnTo>
                  <a:pt x="168" y="542"/>
                </a:lnTo>
                <a:lnTo>
                  <a:pt x="175" y="516"/>
                </a:lnTo>
                <a:lnTo>
                  <a:pt x="184" y="491"/>
                </a:lnTo>
                <a:lnTo>
                  <a:pt x="193" y="466"/>
                </a:lnTo>
                <a:lnTo>
                  <a:pt x="202" y="443"/>
                </a:lnTo>
                <a:lnTo>
                  <a:pt x="213" y="421"/>
                </a:lnTo>
                <a:lnTo>
                  <a:pt x="224" y="399"/>
                </a:lnTo>
                <a:lnTo>
                  <a:pt x="236" y="378"/>
                </a:lnTo>
                <a:lnTo>
                  <a:pt x="249" y="358"/>
                </a:lnTo>
                <a:lnTo>
                  <a:pt x="263" y="340"/>
                </a:lnTo>
                <a:lnTo>
                  <a:pt x="277" y="322"/>
                </a:lnTo>
                <a:lnTo>
                  <a:pt x="292" y="305"/>
                </a:lnTo>
                <a:lnTo>
                  <a:pt x="308" y="289"/>
                </a:lnTo>
                <a:lnTo>
                  <a:pt x="324" y="272"/>
                </a:lnTo>
                <a:lnTo>
                  <a:pt x="342" y="258"/>
                </a:lnTo>
                <a:lnTo>
                  <a:pt x="359" y="244"/>
                </a:lnTo>
                <a:lnTo>
                  <a:pt x="378" y="232"/>
                </a:lnTo>
                <a:lnTo>
                  <a:pt x="396" y="219"/>
                </a:lnTo>
                <a:lnTo>
                  <a:pt x="416" y="208"/>
                </a:lnTo>
                <a:lnTo>
                  <a:pt x="436" y="198"/>
                </a:lnTo>
                <a:lnTo>
                  <a:pt x="457" y="188"/>
                </a:lnTo>
                <a:lnTo>
                  <a:pt x="478" y="179"/>
                </a:lnTo>
                <a:lnTo>
                  <a:pt x="500" y="171"/>
                </a:lnTo>
                <a:lnTo>
                  <a:pt x="522" y="164"/>
                </a:lnTo>
                <a:lnTo>
                  <a:pt x="545" y="157"/>
                </a:lnTo>
                <a:lnTo>
                  <a:pt x="568" y="152"/>
                </a:lnTo>
                <a:lnTo>
                  <a:pt x="592" y="147"/>
                </a:lnTo>
                <a:lnTo>
                  <a:pt x="616" y="143"/>
                </a:lnTo>
                <a:lnTo>
                  <a:pt x="1569" y="0"/>
                </a:lnTo>
                <a:lnTo>
                  <a:pt x="1569" y="3384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Freeform 9"/>
          <p:cNvSpPr>
            <a:spLocks/>
          </p:cNvSpPr>
          <p:nvPr userDrawn="1"/>
        </p:nvSpPr>
        <p:spPr bwMode="auto">
          <a:xfrm>
            <a:off x="8905177" y="5940604"/>
            <a:ext cx="1000919" cy="917575"/>
          </a:xfrm>
          <a:custGeom>
            <a:avLst/>
            <a:gdLst>
              <a:gd name="T0" fmla="*/ 759 w 2327"/>
              <a:gd name="T1" fmla="*/ 2310 h 2310"/>
              <a:gd name="T2" fmla="*/ 19 w 2327"/>
              <a:gd name="T3" fmla="*/ 851 h 2310"/>
              <a:gd name="T4" fmla="*/ 14 w 2327"/>
              <a:gd name="T5" fmla="*/ 841 h 2310"/>
              <a:gd name="T6" fmla="*/ 9 w 2327"/>
              <a:gd name="T7" fmla="*/ 832 h 2310"/>
              <a:gd name="T8" fmla="*/ 6 w 2327"/>
              <a:gd name="T9" fmla="*/ 821 h 2310"/>
              <a:gd name="T10" fmla="*/ 4 w 2327"/>
              <a:gd name="T11" fmla="*/ 811 h 2310"/>
              <a:gd name="T12" fmla="*/ 1 w 2327"/>
              <a:gd name="T13" fmla="*/ 800 h 2310"/>
              <a:gd name="T14" fmla="*/ 0 w 2327"/>
              <a:gd name="T15" fmla="*/ 790 h 2310"/>
              <a:gd name="T16" fmla="*/ 0 w 2327"/>
              <a:gd name="T17" fmla="*/ 781 h 2310"/>
              <a:gd name="T18" fmla="*/ 0 w 2327"/>
              <a:gd name="T19" fmla="*/ 770 h 2310"/>
              <a:gd name="T20" fmla="*/ 0 w 2327"/>
              <a:gd name="T21" fmla="*/ 760 h 2310"/>
              <a:gd name="T22" fmla="*/ 1 w 2327"/>
              <a:gd name="T23" fmla="*/ 750 h 2310"/>
              <a:gd name="T24" fmla="*/ 4 w 2327"/>
              <a:gd name="T25" fmla="*/ 740 h 2310"/>
              <a:gd name="T26" fmla="*/ 6 w 2327"/>
              <a:gd name="T27" fmla="*/ 731 h 2310"/>
              <a:gd name="T28" fmla="*/ 13 w 2327"/>
              <a:gd name="T29" fmla="*/ 712 h 2310"/>
              <a:gd name="T30" fmla="*/ 21 w 2327"/>
              <a:gd name="T31" fmla="*/ 693 h 2310"/>
              <a:gd name="T32" fmla="*/ 32 w 2327"/>
              <a:gd name="T33" fmla="*/ 676 h 2310"/>
              <a:gd name="T34" fmla="*/ 44 w 2327"/>
              <a:gd name="T35" fmla="*/ 660 h 2310"/>
              <a:gd name="T36" fmla="*/ 58 w 2327"/>
              <a:gd name="T37" fmla="*/ 645 h 2310"/>
              <a:gd name="T38" fmla="*/ 75 w 2327"/>
              <a:gd name="T39" fmla="*/ 631 h 2310"/>
              <a:gd name="T40" fmla="*/ 92 w 2327"/>
              <a:gd name="T41" fmla="*/ 619 h 2310"/>
              <a:gd name="T42" fmla="*/ 111 w 2327"/>
              <a:gd name="T43" fmla="*/ 607 h 2310"/>
              <a:gd name="T44" fmla="*/ 130 w 2327"/>
              <a:gd name="T45" fmla="*/ 599 h 2310"/>
              <a:gd name="T46" fmla="*/ 152 w 2327"/>
              <a:gd name="T47" fmla="*/ 592 h 2310"/>
              <a:gd name="T48" fmla="*/ 2327 w 2327"/>
              <a:gd name="T49" fmla="*/ 0 h 2310"/>
              <a:gd name="T50" fmla="*/ 2327 w 2327"/>
              <a:gd name="T51" fmla="*/ 2310 h 2310"/>
              <a:gd name="T52" fmla="*/ 759 w 2327"/>
              <a:gd name="T53" fmla="*/ 2310 h 2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2327" h="2310">
                <a:moveTo>
                  <a:pt x="759" y="2310"/>
                </a:moveTo>
                <a:lnTo>
                  <a:pt x="19" y="851"/>
                </a:lnTo>
                <a:lnTo>
                  <a:pt x="14" y="841"/>
                </a:lnTo>
                <a:lnTo>
                  <a:pt x="9" y="832"/>
                </a:lnTo>
                <a:lnTo>
                  <a:pt x="6" y="821"/>
                </a:lnTo>
                <a:lnTo>
                  <a:pt x="4" y="811"/>
                </a:lnTo>
                <a:lnTo>
                  <a:pt x="1" y="800"/>
                </a:lnTo>
                <a:lnTo>
                  <a:pt x="0" y="790"/>
                </a:lnTo>
                <a:lnTo>
                  <a:pt x="0" y="781"/>
                </a:lnTo>
                <a:lnTo>
                  <a:pt x="0" y="770"/>
                </a:lnTo>
                <a:lnTo>
                  <a:pt x="0" y="760"/>
                </a:lnTo>
                <a:lnTo>
                  <a:pt x="1" y="750"/>
                </a:lnTo>
                <a:lnTo>
                  <a:pt x="4" y="740"/>
                </a:lnTo>
                <a:lnTo>
                  <a:pt x="6" y="731"/>
                </a:lnTo>
                <a:lnTo>
                  <a:pt x="13" y="712"/>
                </a:lnTo>
                <a:lnTo>
                  <a:pt x="21" y="693"/>
                </a:lnTo>
                <a:lnTo>
                  <a:pt x="32" y="676"/>
                </a:lnTo>
                <a:lnTo>
                  <a:pt x="44" y="660"/>
                </a:lnTo>
                <a:lnTo>
                  <a:pt x="58" y="645"/>
                </a:lnTo>
                <a:lnTo>
                  <a:pt x="75" y="631"/>
                </a:lnTo>
                <a:lnTo>
                  <a:pt x="92" y="619"/>
                </a:lnTo>
                <a:lnTo>
                  <a:pt x="111" y="607"/>
                </a:lnTo>
                <a:lnTo>
                  <a:pt x="130" y="599"/>
                </a:lnTo>
                <a:lnTo>
                  <a:pt x="152" y="592"/>
                </a:lnTo>
                <a:lnTo>
                  <a:pt x="2327" y="0"/>
                </a:lnTo>
                <a:lnTo>
                  <a:pt x="2327" y="2310"/>
                </a:lnTo>
                <a:lnTo>
                  <a:pt x="759" y="2310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Freeform 11"/>
          <p:cNvSpPr>
            <a:spLocks/>
          </p:cNvSpPr>
          <p:nvPr userDrawn="1"/>
        </p:nvSpPr>
        <p:spPr bwMode="auto">
          <a:xfrm>
            <a:off x="7248937" y="6127750"/>
            <a:ext cx="1389592" cy="730250"/>
          </a:xfrm>
          <a:custGeom>
            <a:avLst/>
            <a:gdLst>
              <a:gd name="T0" fmla="*/ 0 w 3232"/>
              <a:gd name="T1" fmla="*/ 1840 h 1840"/>
              <a:gd name="T2" fmla="*/ 1817 w 3232"/>
              <a:gd name="T3" fmla="*/ 49 h 1840"/>
              <a:gd name="T4" fmla="*/ 1825 w 3232"/>
              <a:gd name="T5" fmla="*/ 42 h 1840"/>
              <a:gd name="T6" fmla="*/ 1834 w 3232"/>
              <a:gd name="T7" fmla="*/ 35 h 1840"/>
              <a:gd name="T8" fmla="*/ 1842 w 3232"/>
              <a:gd name="T9" fmla="*/ 28 h 1840"/>
              <a:gd name="T10" fmla="*/ 1852 w 3232"/>
              <a:gd name="T11" fmla="*/ 22 h 1840"/>
              <a:gd name="T12" fmla="*/ 1861 w 3232"/>
              <a:gd name="T13" fmla="*/ 18 h 1840"/>
              <a:gd name="T14" fmla="*/ 1870 w 3232"/>
              <a:gd name="T15" fmla="*/ 13 h 1840"/>
              <a:gd name="T16" fmla="*/ 1880 w 3232"/>
              <a:gd name="T17" fmla="*/ 10 h 1840"/>
              <a:gd name="T18" fmla="*/ 1889 w 3232"/>
              <a:gd name="T19" fmla="*/ 7 h 1840"/>
              <a:gd name="T20" fmla="*/ 1899 w 3232"/>
              <a:gd name="T21" fmla="*/ 4 h 1840"/>
              <a:gd name="T22" fmla="*/ 1909 w 3232"/>
              <a:gd name="T23" fmla="*/ 3 h 1840"/>
              <a:gd name="T24" fmla="*/ 1919 w 3232"/>
              <a:gd name="T25" fmla="*/ 1 h 1840"/>
              <a:gd name="T26" fmla="*/ 1928 w 3232"/>
              <a:gd name="T27" fmla="*/ 0 h 1840"/>
              <a:gd name="T28" fmla="*/ 1949 w 3232"/>
              <a:gd name="T29" fmla="*/ 0 h 1840"/>
              <a:gd name="T30" fmla="*/ 1969 w 3232"/>
              <a:gd name="T31" fmla="*/ 4 h 1840"/>
              <a:gd name="T32" fmla="*/ 1989 w 3232"/>
              <a:gd name="T33" fmla="*/ 8 h 1840"/>
              <a:gd name="T34" fmla="*/ 2007 w 3232"/>
              <a:gd name="T35" fmla="*/ 15 h 1840"/>
              <a:gd name="T36" fmla="*/ 2026 w 3232"/>
              <a:gd name="T37" fmla="*/ 25 h 1840"/>
              <a:gd name="T38" fmla="*/ 2045 w 3232"/>
              <a:gd name="T39" fmla="*/ 35 h 1840"/>
              <a:gd name="T40" fmla="*/ 2061 w 3232"/>
              <a:gd name="T41" fmla="*/ 48 h 1840"/>
              <a:gd name="T42" fmla="*/ 2077 w 3232"/>
              <a:gd name="T43" fmla="*/ 63 h 1840"/>
              <a:gd name="T44" fmla="*/ 2092 w 3232"/>
              <a:gd name="T45" fmla="*/ 79 h 1840"/>
              <a:gd name="T46" fmla="*/ 2105 w 3232"/>
              <a:gd name="T47" fmla="*/ 98 h 1840"/>
              <a:gd name="T48" fmla="*/ 3232 w 3232"/>
              <a:gd name="T49" fmla="*/ 1840 h 1840"/>
              <a:gd name="T50" fmla="*/ 0 w 3232"/>
              <a:gd name="T51" fmla="*/ 1840 h 18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232" h="1840">
                <a:moveTo>
                  <a:pt x="0" y="1840"/>
                </a:moveTo>
                <a:lnTo>
                  <a:pt x="1817" y="49"/>
                </a:lnTo>
                <a:lnTo>
                  <a:pt x="1825" y="42"/>
                </a:lnTo>
                <a:lnTo>
                  <a:pt x="1834" y="35"/>
                </a:lnTo>
                <a:lnTo>
                  <a:pt x="1842" y="28"/>
                </a:lnTo>
                <a:lnTo>
                  <a:pt x="1852" y="22"/>
                </a:lnTo>
                <a:lnTo>
                  <a:pt x="1861" y="18"/>
                </a:lnTo>
                <a:lnTo>
                  <a:pt x="1870" y="13"/>
                </a:lnTo>
                <a:lnTo>
                  <a:pt x="1880" y="10"/>
                </a:lnTo>
                <a:lnTo>
                  <a:pt x="1889" y="7"/>
                </a:lnTo>
                <a:lnTo>
                  <a:pt x="1899" y="4"/>
                </a:lnTo>
                <a:lnTo>
                  <a:pt x="1909" y="3"/>
                </a:lnTo>
                <a:lnTo>
                  <a:pt x="1919" y="1"/>
                </a:lnTo>
                <a:lnTo>
                  <a:pt x="1928" y="0"/>
                </a:lnTo>
                <a:lnTo>
                  <a:pt x="1949" y="0"/>
                </a:lnTo>
                <a:lnTo>
                  <a:pt x="1969" y="4"/>
                </a:lnTo>
                <a:lnTo>
                  <a:pt x="1989" y="8"/>
                </a:lnTo>
                <a:lnTo>
                  <a:pt x="2007" y="15"/>
                </a:lnTo>
                <a:lnTo>
                  <a:pt x="2026" y="25"/>
                </a:lnTo>
                <a:lnTo>
                  <a:pt x="2045" y="35"/>
                </a:lnTo>
                <a:lnTo>
                  <a:pt x="2061" y="48"/>
                </a:lnTo>
                <a:lnTo>
                  <a:pt x="2077" y="63"/>
                </a:lnTo>
                <a:lnTo>
                  <a:pt x="2092" y="79"/>
                </a:lnTo>
                <a:lnTo>
                  <a:pt x="2105" y="98"/>
                </a:lnTo>
                <a:lnTo>
                  <a:pt x="3232" y="1840"/>
                </a:lnTo>
                <a:lnTo>
                  <a:pt x="0" y="1840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0" name="Freeform 13"/>
          <p:cNvSpPr>
            <a:spLocks/>
          </p:cNvSpPr>
          <p:nvPr userDrawn="1"/>
        </p:nvSpPr>
        <p:spPr bwMode="auto">
          <a:xfrm>
            <a:off x="5510213" y="4397554"/>
            <a:ext cx="2424906" cy="1976437"/>
          </a:xfrm>
          <a:custGeom>
            <a:avLst/>
            <a:gdLst>
              <a:gd name="T0" fmla="*/ 5548 w 5640"/>
              <a:gd name="T1" fmla="*/ 2360 h 4980"/>
              <a:gd name="T2" fmla="*/ 5567 w 5640"/>
              <a:gd name="T3" fmla="*/ 2372 h 4980"/>
              <a:gd name="T4" fmla="*/ 5584 w 5640"/>
              <a:gd name="T5" fmla="*/ 2385 h 4980"/>
              <a:gd name="T6" fmla="*/ 5598 w 5640"/>
              <a:gd name="T7" fmla="*/ 2400 h 4980"/>
              <a:gd name="T8" fmla="*/ 5611 w 5640"/>
              <a:gd name="T9" fmla="*/ 2415 h 4980"/>
              <a:gd name="T10" fmla="*/ 5621 w 5640"/>
              <a:gd name="T11" fmla="*/ 2432 h 4980"/>
              <a:gd name="T12" fmla="*/ 5629 w 5640"/>
              <a:gd name="T13" fmla="*/ 2451 h 4980"/>
              <a:gd name="T14" fmla="*/ 5639 w 5640"/>
              <a:gd name="T15" fmla="*/ 2490 h 4980"/>
              <a:gd name="T16" fmla="*/ 5640 w 5640"/>
              <a:gd name="T17" fmla="*/ 2531 h 4980"/>
              <a:gd name="T18" fmla="*/ 5632 w 5640"/>
              <a:gd name="T19" fmla="*/ 2572 h 4980"/>
              <a:gd name="T20" fmla="*/ 5616 w 5640"/>
              <a:gd name="T21" fmla="*/ 2611 h 4980"/>
              <a:gd name="T22" fmla="*/ 5591 w 5640"/>
              <a:gd name="T23" fmla="*/ 2648 h 4980"/>
              <a:gd name="T24" fmla="*/ 3873 w 5640"/>
              <a:gd name="T25" fmla="*/ 4768 h 4980"/>
              <a:gd name="T26" fmla="*/ 3834 w 5640"/>
              <a:gd name="T27" fmla="*/ 4811 h 4980"/>
              <a:gd name="T28" fmla="*/ 3792 w 5640"/>
              <a:gd name="T29" fmla="*/ 4850 h 4980"/>
              <a:gd name="T30" fmla="*/ 3750 w 5640"/>
              <a:gd name="T31" fmla="*/ 4882 h 4980"/>
              <a:gd name="T32" fmla="*/ 3707 w 5640"/>
              <a:gd name="T33" fmla="*/ 4910 h 4980"/>
              <a:gd name="T34" fmla="*/ 3664 w 5640"/>
              <a:gd name="T35" fmla="*/ 4933 h 4980"/>
              <a:gd name="T36" fmla="*/ 3620 w 5640"/>
              <a:gd name="T37" fmla="*/ 4952 h 4980"/>
              <a:gd name="T38" fmla="*/ 3576 w 5640"/>
              <a:gd name="T39" fmla="*/ 4966 h 4980"/>
              <a:gd name="T40" fmla="*/ 3530 w 5640"/>
              <a:gd name="T41" fmla="*/ 4975 h 4980"/>
              <a:gd name="T42" fmla="*/ 3486 w 5640"/>
              <a:gd name="T43" fmla="*/ 4980 h 4980"/>
              <a:gd name="T44" fmla="*/ 3441 w 5640"/>
              <a:gd name="T45" fmla="*/ 4980 h 4980"/>
              <a:gd name="T46" fmla="*/ 3397 w 5640"/>
              <a:gd name="T47" fmla="*/ 4976 h 4980"/>
              <a:gd name="T48" fmla="*/ 3351 w 5640"/>
              <a:gd name="T49" fmla="*/ 4968 h 4980"/>
              <a:gd name="T50" fmla="*/ 3306 w 5640"/>
              <a:gd name="T51" fmla="*/ 4957 h 4980"/>
              <a:gd name="T52" fmla="*/ 3262 w 5640"/>
              <a:gd name="T53" fmla="*/ 4941 h 4980"/>
              <a:gd name="T54" fmla="*/ 3218 w 5640"/>
              <a:gd name="T55" fmla="*/ 4923 h 4980"/>
              <a:gd name="T56" fmla="*/ 297 w 5640"/>
              <a:gd name="T57" fmla="*/ 3413 h 4980"/>
              <a:gd name="T58" fmla="*/ 254 w 5640"/>
              <a:gd name="T59" fmla="*/ 3390 h 4980"/>
              <a:gd name="T60" fmla="*/ 215 w 5640"/>
              <a:gd name="T61" fmla="*/ 3363 h 4980"/>
              <a:gd name="T62" fmla="*/ 179 w 5640"/>
              <a:gd name="T63" fmla="*/ 3335 h 4980"/>
              <a:gd name="T64" fmla="*/ 144 w 5640"/>
              <a:gd name="T65" fmla="*/ 3304 h 4980"/>
              <a:gd name="T66" fmla="*/ 113 w 5640"/>
              <a:gd name="T67" fmla="*/ 3270 h 4980"/>
              <a:gd name="T68" fmla="*/ 87 w 5640"/>
              <a:gd name="T69" fmla="*/ 3235 h 4980"/>
              <a:gd name="T70" fmla="*/ 62 w 5640"/>
              <a:gd name="T71" fmla="*/ 3197 h 4980"/>
              <a:gd name="T72" fmla="*/ 43 w 5640"/>
              <a:gd name="T73" fmla="*/ 3156 h 4980"/>
              <a:gd name="T74" fmla="*/ 25 w 5640"/>
              <a:gd name="T75" fmla="*/ 3113 h 4980"/>
              <a:gd name="T76" fmla="*/ 13 w 5640"/>
              <a:gd name="T77" fmla="*/ 3068 h 4980"/>
              <a:gd name="T78" fmla="*/ 4 w 5640"/>
              <a:gd name="T79" fmla="*/ 3020 h 4980"/>
              <a:gd name="T80" fmla="*/ 1 w 5640"/>
              <a:gd name="T81" fmla="*/ 2972 h 4980"/>
              <a:gd name="T82" fmla="*/ 1 w 5640"/>
              <a:gd name="T83" fmla="*/ 2919 h 4980"/>
              <a:gd name="T84" fmla="*/ 5 w 5640"/>
              <a:gd name="T85" fmla="*/ 2865 h 4980"/>
              <a:gd name="T86" fmla="*/ 15 w 5640"/>
              <a:gd name="T87" fmla="*/ 2808 h 4980"/>
              <a:gd name="T88" fmla="*/ 30 w 5640"/>
              <a:gd name="T89" fmla="*/ 2748 h 4980"/>
              <a:gd name="T90" fmla="*/ 764 w 5640"/>
              <a:gd name="T91" fmla="*/ 130 h 4980"/>
              <a:gd name="T92" fmla="*/ 784 w 5640"/>
              <a:gd name="T93" fmla="*/ 90 h 4980"/>
              <a:gd name="T94" fmla="*/ 810 w 5640"/>
              <a:gd name="T95" fmla="*/ 58 h 4980"/>
              <a:gd name="T96" fmla="*/ 841 w 5640"/>
              <a:gd name="T97" fmla="*/ 31 h 4980"/>
              <a:gd name="T98" fmla="*/ 877 w 5640"/>
              <a:gd name="T99" fmla="*/ 11 h 4980"/>
              <a:gd name="T100" fmla="*/ 906 w 5640"/>
              <a:gd name="T101" fmla="*/ 3 h 4980"/>
              <a:gd name="T102" fmla="*/ 926 w 5640"/>
              <a:gd name="T103" fmla="*/ 1 h 4980"/>
              <a:gd name="T104" fmla="*/ 946 w 5640"/>
              <a:gd name="T105" fmla="*/ 0 h 4980"/>
              <a:gd name="T106" fmla="*/ 967 w 5640"/>
              <a:gd name="T107" fmla="*/ 2 h 4980"/>
              <a:gd name="T108" fmla="*/ 986 w 5640"/>
              <a:gd name="T109" fmla="*/ 7 h 4980"/>
              <a:gd name="T110" fmla="*/ 1007 w 5640"/>
              <a:gd name="T111" fmla="*/ 14 h 49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640" h="4980">
                <a:moveTo>
                  <a:pt x="1018" y="20"/>
                </a:moveTo>
                <a:lnTo>
                  <a:pt x="5548" y="2360"/>
                </a:lnTo>
                <a:lnTo>
                  <a:pt x="5557" y="2366"/>
                </a:lnTo>
                <a:lnTo>
                  <a:pt x="5567" y="2372"/>
                </a:lnTo>
                <a:lnTo>
                  <a:pt x="5576" y="2378"/>
                </a:lnTo>
                <a:lnTo>
                  <a:pt x="5584" y="2385"/>
                </a:lnTo>
                <a:lnTo>
                  <a:pt x="5591" y="2392"/>
                </a:lnTo>
                <a:lnTo>
                  <a:pt x="5598" y="2400"/>
                </a:lnTo>
                <a:lnTo>
                  <a:pt x="5605" y="2407"/>
                </a:lnTo>
                <a:lnTo>
                  <a:pt x="5611" y="2415"/>
                </a:lnTo>
                <a:lnTo>
                  <a:pt x="5617" y="2424"/>
                </a:lnTo>
                <a:lnTo>
                  <a:pt x="5621" y="2432"/>
                </a:lnTo>
                <a:lnTo>
                  <a:pt x="5626" y="2442"/>
                </a:lnTo>
                <a:lnTo>
                  <a:pt x="5629" y="2451"/>
                </a:lnTo>
                <a:lnTo>
                  <a:pt x="5635" y="2471"/>
                </a:lnTo>
                <a:lnTo>
                  <a:pt x="5639" y="2490"/>
                </a:lnTo>
                <a:lnTo>
                  <a:pt x="5640" y="2510"/>
                </a:lnTo>
                <a:lnTo>
                  <a:pt x="5640" y="2531"/>
                </a:lnTo>
                <a:lnTo>
                  <a:pt x="5636" y="2551"/>
                </a:lnTo>
                <a:lnTo>
                  <a:pt x="5632" y="2572"/>
                </a:lnTo>
                <a:lnTo>
                  <a:pt x="5625" y="2592"/>
                </a:lnTo>
                <a:lnTo>
                  <a:pt x="5616" y="2611"/>
                </a:lnTo>
                <a:lnTo>
                  <a:pt x="5605" y="2631"/>
                </a:lnTo>
                <a:lnTo>
                  <a:pt x="5591" y="2648"/>
                </a:lnTo>
                <a:lnTo>
                  <a:pt x="3894" y="4745"/>
                </a:lnTo>
                <a:lnTo>
                  <a:pt x="3873" y="4768"/>
                </a:lnTo>
                <a:lnTo>
                  <a:pt x="3854" y="4790"/>
                </a:lnTo>
                <a:lnTo>
                  <a:pt x="3834" y="4811"/>
                </a:lnTo>
                <a:lnTo>
                  <a:pt x="3813" y="4831"/>
                </a:lnTo>
                <a:lnTo>
                  <a:pt x="3792" y="4850"/>
                </a:lnTo>
                <a:lnTo>
                  <a:pt x="3771" y="4867"/>
                </a:lnTo>
                <a:lnTo>
                  <a:pt x="3750" y="4882"/>
                </a:lnTo>
                <a:lnTo>
                  <a:pt x="3729" y="4897"/>
                </a:lnTo>
                <a:lnTo>
                  <a:pt x="3707" y="4910"/>
                </a:lnTo>
                <a:lnTo>
                  <a:pt x="3686" y="4923"/>
                </a:lnTo>
                <a:lnTo>
                  <a:pt x="3664" y="4933"/>
                </a:lnTo>
                <a:lnTo>
                  <a:pt x="3642" y="4944"/>
                </a:lnTo>
                <a:lnTo>
                  <a:pt x="3620" y="4952"/>
                </a:lnTo>
                <a:lnTo>
                  <a:pt x="3598" y="4959"/>
                </a:lnTo>
                <a:lnTo>
                  <a:pt x="3576" y="4966"/>
                </a:lnTo>
                <a:lnTo>
                  <a:pt x="3554" y="4971"/>
                </a:lnTo>
                <a:lnTo>
                  <a:pt x="3530" y="4975"/>
                </a:lnTo>
                <a:lnTo>
                  <a:pt x="3508" y="4978"/>
                </a:lnTo>
                <a:lnTo>
                  <a:pt x="3486" y="4980"/>
                </a:lnTo>
                <a:lnTo>
                  <a:pt x="3464" y="4980"/>
                </a:lnTo>
                <a:lnTo>
                  <a:pt x="3441" y="4980"/>
                </a:lnTo>
                <a:lnTo>
                  <a:pt x="3419" y="4979"/>
                </a:lnTo>
                <a:lnTo>
                  <a:pt x="3397" y="4976"/>
                </a:lnTo>
                <a:lnTo>
                  <a:pt x="3374" y="4973"/>
                </a:lnTo>
                <a:lnTo>
                  <a:pt x="3351" y="4968"/>
                </a:lnTo>
                <a:lnTo>
                  <a:pt x="3329" y="4964"/>
                </a:lnTo>
                <a:lnTo>
                  <a:pt x="3306" y="4957"/>
                </a:lnTo>
                <a:lnTo>
                  <a:pt x="3284" y="4950"/>
                </a:lnTo>
                <a:lnTo>
                  <a:pt x="3262" y="4941"/>
                </a:lnTo>
                <a:lnTo>
                  <a:pt x="3240" y="4932"/>
                </a:lnTo>
                <a:lnTo>
                  <a:pt x="3218" y="4923"/>
                </a:lnTo>
                <a:lnTo>
                  <a:pt x="3196" y="4911"/>
                </a:lnTo>
                <a:lnTo>
                  <a:pt x="297" y="3413"/>
                </a:lnTo>
                <a:lnTo>
                  <a:pt x="275" y="3402"/>
                </a:lnTo>
                <a:lnTo>
                  <a:pt x="254" y="3390"/>
                </a:lnTo>
                <a:lnTo>
                  <a:pt x="234" y="3377"/>
                </a:lnTo>
                <a:lnTo>
                  <a:pt x="215" y="3363"/>
                </a:lnTo>
                <a:lnTo>
                  <a:pt x="196" y="3349"/>
                </a:lnTo>
                <a:lnTo>
                  <a:pt x="179" y="3335"/>
                </a:lnTo>
                <a:lnTo>
                  <a:pt x="161" y="3320"/>
                </a:lnTo>
                <a:lnTo>
                  <a:pt x="144" y="3304"/>
                </a:lnTo>
                <a:lnTo>
                  <a:pt x="129" y="3288"/>
                </a:lnTo>
                <a:lnTo>
                  <a:pt x="113" y="3270"/>
                </a:lnTo>
                <a:lnTo>
                  <a:pt x="99" y="3253"/>
                </a:lnTo>
                <a:lnTo>
                  <a:pt x="87" y="3235"/>
                </a:lnTo>
                <a:lnTo>
                  <a:pt x="74" y="3217"/>
                </a:lnTo>
                <a:lnTo>
                  <a:pt x="62" y="3197"/>
                </a:lnTo>
                <a:lnTo>
                  <a:pt x="52" y="3177"/>
                </a:lnTo>
                <a:lnTo>
                  <a:pt x="43" y="3156"/>
                </a:lnTo>
                <a:lnTo>
                  <a:pt x="33" y="3135"/>
                </a:lnTo>
                <a:lnTo>
                  <a:pt x="25" y="3113"/>
                </a:lnTo>
                <a:lnTo>
                  <a:pt x="18" y="3091"/>
                </a:lnTo>
                <a:lnTo>
                  <a:pt x="13" y="3068"/>
                </a:lnTo>
                <a:lnTo>
                  <a:pt x="8" y="3045"/>
                </a:lnTo>
                <a:lnTo>
                  <a:pt x="4" y="3020"/>
                </a:lnTo>
                <a:lnTo>
                  <a:pt x="2" y="2996"/>
                </a:lnTo>
                <a:lnTo>
                  <a:pt x="1" y="2972"/>
                </a:lnTo>
                <a:lnTo>
                  <a:pt x="0" y="2945"/>
                </a:lnTo>
                <a:lnTo>
                  <a:pt x="1" y="2919"/>
                </a:lnTo>
                <a:lnTo>
                  <a:pt x="2" y="2891"/>
                </a:lnTo>
                <a:lnTo>
                  <a:pt x="5" y="2865"/>
                </a:lnTo>
                <a:lnTo>
                  <a:pt x="10" y="2836"/>
                </a:lnTo>
                <a:lnTo>
                  <a:pt x="15" y="2808"/>
                </a:lnTo>
                <a:lnTo>
                  <a:pt x="22" y="2779"/>
                </a:lnTo>
                <a:lnTo>
                  <a:pt x="30" y="2748"/>
                </a:lnTo>
                <a:lnTo>
                  <a:pt x="757" y="151"/>
                </a:lnTo>
                <a:lnTo>
                  <a:pt x="764" y="130"/>
                </a:lnTo>
                <a:lnTo>
                  <a:pt x="772" y="109"/>
                </a:lnTo>
                <a:lnTo>
                  <a:pt x="784" y="90"/>
                </a:lnTo>
                <a:lnTo>
                  <a:pt x="796" y="73"/>
                </a:lnTo>
                <a:lnTo>
                  <a:pt x="810" y="58"/>
                </a:lnTo>
                <a:lnTo>
                  <a:pt x="825" y="43"/>
                </a:lnTo>
                <a:lnTo>
                  <a:pt x="841" y="31"/>
                </a:lnTo>
                <a:lnTo>
                  <a:pt x="858" y="21"/>
                </a:lnTo>
                <a:lnTo>
                  <a:pt x="877" y="11"/>
                </a:lnTo>
                <a:lnTo>
                  <a:pt x="896" y="6"/>
                </a:lnTo>
                <a:lnTo>
                  <a:pt x="906" y="3"/>
                </a:lnTo>
                <a:lnTo>
                  <a:pt x="915" y="2"/>
                </a:lnTo>
                <a:lnTo>
                  <a:pt x="926" y="1"/>
                </a:lnTo>
                <a:lnTo>
                  <a:pt x="936" y="0"/>
                </a:lnTo>
                <a:lnTo>
                  <a:pt x="946" y="0"/>
                </a:lnTo>
                <a:lnTo>
                  <a:pt x="956" y="1"/>
                </a:lnTo>
                <a:lnTo>
                  <a:pt x="967" y="2"/>
                </a:lnTo>
                <a:lnTo>
                  <a:pt x="977" y="4"/>
                </a:lnTo>
                <a:lnTo>
                  <a:pt x="986" y="7"/>
                </a:lnTo>
                <a:lnTo>
                  <a:pt x="997" y="10"/>
                </a:lnTo>
                <a:lnTo>
                  <a:pt x="1007" y="14"/>
                </a:lnTo>
                <a:lnTo>
                  <a:pt x="1018" y="20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1" name="Группа 10"/>
          <p:cNvGrpSpPr/>
          <p:nvPr userDrawn="1"/>
        </p:nvGrpSpPr>
        <p:grpSpPr>
          <a:xfrm>
            <a:off x="531416" y="487363"/>
            <a:ext cx="2332038" cy="455612"/>
            <a:chOff x="490538" y="487363"/>
            <a:chExt cx="2152650" cy="455612"/>
          </a:xfrm>
        </p:grpSpPr>
        <p:sp>
          <p:nvSpPr>
            <p:cNvPr id="12" name="Freeform 5"/>
            <p:cNvSpPr>
              <a:spLocks noEditPoints="1"/>
            </p:cNvSpPr>
            <p:nvPr userDrawn="1"/>
          </p:nvSpPr>
          <p:spPr bwMode="auto">
            <a:xfrm>
              <a:off x="1144588" y="590550"/>
              <a:ext cx="1498600" cy="247650"/>
            </a:xfrm>
            <a:custGeom>
              <a:avLst/>
              <a:gdLst>
                <a:gd name="T0" fmla="*/ 2465 w 11327"/>
                <a:gd name="T1" fmla="*/ 803 h 1868"/>
                <a:gd name="T2" fmla="*/ 2667 w 11327"/>
                <a:gd name="T3" fmla="*/ 466 h 1868"/>
                <a:gd name="T4" fmla="*/ 3049 w 11327"/>
                <a:gd name="T5" fmla="*/ 345 h 1868"/>
                <a:gd name="T6" fmla="*/ 3430 w 11327"/>
                <a:gd name="T7" fmla="*/ 466 h 1868"/>
                <a:gd name="T8" fmla="*/ 3632 w 11327"/>
                <a:gd name="T9" fmla="*/ 803 h 1868"/>
                <a:gd name="T10" fmla="*/ 3574 w 11327"/>
                <a:gd name="T11" fmla="*/ 1233 h 1868"/>
                <a:gd name="T12" fmla="*/ 3284 w 11327"/>
                <a:gd name="T13" fmla="*/ 1483 h 1868"/>
                <a:gd name="T14" fmla="*/ 2870 w 11327"/>
                <a:gd name="T15" fmla="*/ 1500 h 1868"/>
                <a:gd name="T16" fmla="*/ 2553 w 11327"/>
                <a:gd name="T17" fmla="*/ 1281 h 1868"/>
                <a:gd name="T18" fmla="*/ 4046 w 11327"/>
                <a:gd name="T19" fmla="*/ 882 h 1868"/>
                <a:gd name="T20" fmla="*/ 3784 w 11327"/>
                <a:gd name="T21" fmla="*/ 289 h 1868"/>
                <a:gd name="T22" fmla="*/ 3199 w 11327"/>
                <a:gd name="T23" fmla="*/ 10 h 1868"/>
                <a:gd name="T24" fmla="*/ 2536 w 11327"/>
                <a:gd name="T25" fmla="*/ 125 h 1868"/>
                <a:gd name="T26" fmla="*/ 2113 w 11327"/>
                <a:gd name="T27" fmla="*/ 595 h 1868"/>
                <a:gd name="T28" fmla="*/ 2113 w 11327"/>
                <a:gd name="T29" fmla="*/ 1273 h 1868"/>
                <a:gd name="T30" fmla="*/ 2536 w 11327"/>
                <a:gd name="T31" fmla="*/ 1743 h 1868"/>
                <a:gd name="T32" fmla="*/ 3199 w 11327"/>
                <a:gd name="T33" fmla="*/ 1858 h 1868"/>
                <a:gd name="T34" fmla="*/ 3784 w 11327"/>
                <a:gd name="T35" fmla="*/ 1579 h 1868"/>
                <a:gd name="T36" fmla="*/ 4046 w 11327"/>
                <a:gd name="T37" fmla="*/ 985 h 1868"/>
                <a:gd name="T38" fmla="*/ 4444 w 11327"/>
                <a:gd name="T39" fmla="*/ 1443 h 1868"/>
                <a:gd name="T40" fmla="*/ 4540 w 11327"/>
                <a:gd name="T41" fmla="*/ 1808 h 1868"/>
                <a:gd name="T42" fmla="*/ 4811 w 11327"/>
                <a:gd name="T43" fmla="*/ 1650 h 1868"/>
                <a:gd name="T44" fmla="*/ 5796 w 11327"/>
                <a:gd name="T45" fmla="*/ 403 h 1868"/>
                <a:gd name="T46" fmla="*/ 7304 w 11327"/>
                <a:gd name="T47" fmla="*/ 1292 h 1868"/>
                <a:gd name="T48" fmla="*/ 7673 w 11327"/>
                <a:gd name="T49" fmla="*/ 1730 h 1868"/>
                <a:gd name="T50" fmla="*/ 8267 w 11327"/>
                <a:gd name="T51" fmla="*/ 1867 h 1868"/>
                <a:gd name="T52" fmla="*/ 8871 w 11327"/>
                <a:gd name="T53" fmla="*/ 1653 h 1868"/>
                <a:gd name="T54" fmla="*/ 9178 w 11327"/>
                <a:gd name="T55" fmla="*/ 1094 h 1868"/>
                <a:gd name="T56" fmla="*/ 9049 w 11327"/>
                <a:gd name="T57" fmla="*/ 414 h 1868"/>
                <a:gd name="T58" fmla="*/ 8552 w 11327"/>
                <a:gd name="T59" fmla="*/ 48 h 1868"/>
                <a:gd name="T60" fmla="*/ 7924 w 11327"/>
                <a:gd name="T61" fmla="*/ 36 h 1868"/>
                <a:gd name="T62" fmla="*/ 7459 w 11327"/>
                <a:gd name="T63" fmla="*/ 313 h 1868"/>
                <a:gd name="T64" fmla="*/ 6585 w 11327"/>
                <a:gd name="T65" fmla="*/ 42 h 1868"/>
                <a:gd name="T66" fmla="*/ 7740 w 11327"/>
                <a:gd name="T67" fmla="*/ 563 h 1868"/>
                <a:gd name="T68" fmla="*/ 8053 w 11327"/>
                <a:gd name="T69" fmla="*/ 361 h 1868"/>
                <a:gd name="T70" fmla="*/ 8492 w 11327"/>
                <a:gd name="T71" fmla="*/ 396 h 1868"/>
                <a:gd name="T72" fmla="*/ 8744 w 11327"/>
                <a:gd name="T73" fmla="*/ 660 h 1868"/>
                <a:gd name="T74" fmla="*/ 8775 w 11327"/>
                <a:gd name="T75" fmla="*/ 1095 h 1868"/>
                <a:gd name="T76" fmla="*/ 8585 w 11327"/>
                <a:gd name="T77" fmla="*/ 1418 h 1868"/>
                <a:gd name="T78" fmla="*/ 8182 w 11327"/>
                <a:gd name="T79" fmla="*/ 1522 h 1868"/>
                <a:gd name="T80" fmla="*/ 7807 w 11327"/>
                <a:gd name="T81" fmla="*/ 1385 h 1868"/>
                <a:gd name="T82" fmla="*/ 7649 w 11327"/>
                <a:gd name="T83" fmla="*/ 1033 h 1868"/>
                <a:gd name="T84" fmla="*/ 11121 w 11327"/>
                <a:gd name="T85" fmla="*/ 228 h 1868"/>
                <a:gd name="T86" fmla="*/ 10716 w 11327"/>
                <a:gd name="T87" fmla="*/ 30 h 1868"/>
                <a:gd name="T88" fmla="*/ 10126 w 11327"/>
                <a:gd name="T89" fmla="*/ 37 h 1868"/>
                <a:gd name="T90" fmla="*/ 9598 w 11327"/>
                <a:gd name="T91" fmla="*/ 385 h 1868"/>
                <a:gd name="T92" fmla="*/ 9435 w 11327"/>
                <a:gd name="T93" fmla="*/ 1039 h 1868"/>
                <a:gd name="T94" fmla="*/ 9714 w 11327"/>
                <a:gd name="T95" fmla="*/ 1617 h 1868"/>
                <a:gd name="T96" fmla="*/ 10320 w 11327"/>
                <a:gd name="T97" fmla="*/ 1863 h 1868"/>
                <a:gd name="T98" fmla="*/ 10845 w 11327"/>
                <a:gd name="T99" fmla="*/ 1799 h 1868"/>
                <a:gd name="T100" fmla="*/ 11211 w 11327"/>
                <a:gd name="T101" fmla="*/ 1551 h 1868"/>
                <a:gd name="T102" fmla="*/ 10919 w 11327"/>
                <a:gd name="T103" fmla="*/ 1325 h 1868"/>
                <a:gd name="T104" fmla="*/ 10676 w 11327"/>
                <a:gd name="T105" fmla="*/ 1473 h 1868"/>
                <a:gd name="T106" fmla="*/ 10324 w 11327"/>
                <a:gd name="T107" fmla="*/ 1504 h 1868"/>
                <a:gd name="T108" fmla="*/ 9975 w 11327"/>
                <a:gd name="T109" fmla="*/ 1332 h 1868"/>
                <a:gd name="T110" fmla="*/ 9831 w 11327"/>
                <a:gd name="T111" fmla="*/ 966 h 1868"/>
                <a:gd name="T112" fmla="*/ 9938 w 11327"/>
                <a:gd name="T113" fmla="*/ 575 h 1868"/>
                <a:gd name="T114" fmla="*/ 10261 w 11327"/>
                <a:gd name="T115" fmla="*/ 373 h 1868"/>
                <a:gd name="T116" fmla="*/ 10634 w 11327"/>
                <a:gd name="T117" fmla="*/ 382 h 1868"/>
                <a:gd name="T118" fmla="*/ 10890 w 11327"/>
                <a:gd name="T119" fmla="*/ 515 h 1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27" h="1868">
                  <a:moveTo>
                    <a:pt x="0" y="42"/>
                  </a:moveTo>
                  <a:lnTo>
                    <a:pt x="0" y="1822"/>
                  </a:lnTo>
                  <a:lnTo>
                    <a:pt x="399" y="1822"/>
                  </a:lnTo>
                  <a:lnTo>
                    <a:pt x="399" y="400"/>
                  </a:lnTo>
                  <a:lnTo>
                    <a:pt x="1352" y="400"/>
                  </a:lnTo>
                  <a:lnTo>
                    <a:pt x="1352" y="1822"/>
                  </a:lnTo>
                  <a:lnTo>
                    <a:pt x="1755" y="1822"/>
                  </a:lnTo>
                  <a:lnTo>
                    <a:pt x="1755" y="42"/>
                  </a:lnTo>
                  <a:lnTo>
                    <a:pt x="0" y="42"/>
                  </a:lnTo>
                  <a:close/>
                  <a:moveTo>
                    <a:pt x="2454" y="933"/>
                  </a:moveTo>
                  <a:lnTo>
                    <a:pt x="2454" y="900"/>
                  </a:lnTo>
                  <a:lnTo>
                    <a:pt x="2457" y="866"/>
                  </a:lnTo>
                  <a:lnTo>
                    <a:pt x="2460" y="835"/>
                  </a:lnTo>
                  <a:lnTo>
                    <a:pt x="2465" y="803"/>
                  </a:lnTo>
                  <a:lnTo>
                    <a:pt x="2472" y="773"/>
                  </a:lnTo>
                  <a:lnTo>
                    <a:pt x="2480" y="743"/>
                  </a:lnTo>
                  <a:lnTo>
                    <a:pt x="2489" y="715"/>
                  </a:lnTo>
                  <a:lnTo>
                    <a:pt x="2499" y="686"/>
                  </a:lnTo>
                  <a:lnTo>
                    <a:pt x="2511" y="660"/>
                  </a:lnTo>
                  <a:lnTo>
                    <a:pt x="2524" y="634"/>
                  </a:lnTo>
                  <a:lnTo>
                    <a:pt x="2538" y="610"/>
                  </a:lnTo>
                  <a:lnTo>
                    <a:pt x="2553" y="586"/>
                  </a:lnTo>
                  <a:lnTo>
                    <a:pt x="2570" y="563"/>
                  </a:lnTo>
                  <a:lnTo>
                    <a:pt x="2588" y="542"/>
                  </a:lnTo>
                  <a:lnTo>
                    <a:pt x="2606" y="521"/>
                  </a:lnTo>
                  <a:lnTo>
                    <a:pt x="2626" y="501"/>
                  </a:lnTo>
                  <a:lnTo>
                    <a:pt x="2646" y="483"/>
                  </a:lnTo>
                  <a:lnTo>
                    <a:pt x="2667" y="466"/>
                  </a:lnTo>
                  <a:lnTo>
                    <a:pt x="2691" y="449"/>
                  </a:lnTo>
                  <a:lnTo>
                    <a:pt x="2713" y="434"/>
                  </a:lnTo>
                  <a:lnTo>
                    <a:pt x="2737" y="420"/>
                  </a:lnTo>
                  <a:lnTo>
                    <a:pt x="2763" y="408"/>
                  </a:lnTo>
                  <a:lnTo>
                    <a:pt x="2788" y="396"/>
                  </a:lnTo>
                  <a:lnTo>
                    <a:pt x="2815" y="385"/>
                  </a:lnTo>
                  <a:lnTo>
                    <a:pt x="2842" y="375"/>
                  </a:lnTo>
                  <a:lnTo>
                    <a:pt x="2870" y="367"/>
                  </a:lnTo>
                  <a:lnTo>
                    <a:pt x="2898" y="361"/>
                  </a:lnTo>
                  <a:lnTo>
                    <a:pt x="2928" y="355"/>
                  </a:lnTo>
                  <a:lnTo>
                    <a:pt x="2957" y="351"/>
                  </a:lnTo>
                  <a:lnTo>
                    <a:pt x="2988" y="347"/>
                  </a:lnTo>
                  <a:lnTo>
                    <a:pt x="3018" y="345"/>
                  </a:lnTo>
                  <a:lnTo>
                    <a:pt x="3049" y="345"/>
                  </a:lnTo>
                  <a:lnTo>
                    <a:pt x="3080" y="345"/>
                  </a:lnTo>
                  <a:lnTo>
                    <a:pt x="3111" y="347"/>
                  </a:lnTo>
                  <a:lnTo>
                    <a:pt x="3141" y="351"/>
                  </a:lnTo>
                  <a:lnTo>
                    <a:pt x="3171" y="355"/>
                  </a:lnTo>
                  <a:lnTo>
                    <a:pt x="3200" y="361"/>
                  </a:lnTo>
                  <a:lnTo>
                    <a:pt x="3229" y="367"/>
                  </a:lnTo>
                  <a:lnTo>
                    <a:pt x="3256" y="375"/>
                  </a:lnTo>
                  <a:lnTo>
                    <a:pt x="3284" y="385"/>
                  </a:lnTo>
                  <a:lnTo>
                    <a:pt x="3310" y="396"/>
                  </a:lnTo>
                  <a:lnTo>
                    <a:pt x="3335" y="408"/>
                  </a:lnTo>
                  <a:lnTo>
                    <a:pt x="3361" y="420"/>
                  </a:lnTo>
                  <a:lnTo>
                    <a:pt x="3384" y="434"/>
                  </a:lnTo>
                  <a:lnTo>
                    <a:pt x="3408" y="449"/>
                  </a:lnTo>
                  <a:lnTo>
                    <a:pt x="3430" y="466"/>
                  </a:lnTo>
                  <a:lnTo>
                    <a:pt x="3452" y="483"/>
                  </a:lnTo>
                  <a:lnTo>
                    <a:pt x="3473" y="501"/>
                  </a:lnTo>
                  <a:lnTo>
                    <a:pt x="3492" y="521"/>
                  </a:lnTo>
                  <a:lnTo>
                    <a:pt x="3510" y="542"/>
                  </a:lnTo>
                  <a:lnTo>
                    <a:pt x="3528" y="563"/>
                  </a:lnTo>
                  <a:lnTo>
                    <a:pt x="3545" y="586"/>
                  </a:lnTo>
                  <a:lnTo>
                    <a:pt x="3560" y="610"/>
                  </a:lnTo>
                  <a:lnTo>
                    <a:pt x="3574" y="634"/>
                  </a:lnTo>
                  <a:lnTo>
                    <a:pt x="3587" y="660"/>
                  </a:lnTo>
                  <a:lnTo>
                    <a:pt x="3599" y="686"/>
                  </a:lnTo>
                  <a:lnTo>
                    <a:pt x="3609" y="715"/>
                  </a:lnTo>
                  <a:lnTo>
                    <a:pt x="3618" y="743"/>
                  </a:lnTo>
                  <a:lnTo>
                    <a:pt x="3626" y="773"/>
                  </a:lnTo>
                  <a:lnTo>
                    <a:pt x="3632" y="803"/>
                  </a:lnTo>
                  <a:lnTo>
                    <a:pt x="3637" y="835"/>
                  </a:lnTo>
                  <a:lnTo>
                    <a:pt x="3642" y="866"/>
                  </a:lnTo>
                  <a:lnTo>
                    <a:pt x="3644" y="900"/>
                  </a:lnTo>
                  <a:lnTo>
                    <a:pt x="3645" y="933"/>
                  </a:lnTo>
                  <a:lnTo>
                    <a:pt x="3644" y="968"/>
                  </a:lnTo>
                  <a:lnTo>
                    <a:pt x="3642" y="1001"/>
                  </a:lnTo>
                  <a:lnTo>
                    <a:pt x="3637" y="1033"/>
                  </a:lnTo>
                  <a:lnTo>
                    <a:pt x="3632" y="1065"/>
                  </a:lnTo>
                  <a:lnTo>
                    <a:pt x="3626" y="1095"/>
                  </a:lnTo>
                  <a:lnTo>
                    <a:pt x="3618" y="1125"/>
                  </a:lnTo>
                  <a:lnTo>
                    <a:pt x="3609" y="1153"/>
                  </a:lnTo>
                  <a:lnTo>
                    <a:pt x="3599" y="1181"/>
                  </a:lnTo>
                  <a:lnTo>
                    <a:pt x="3587" y="1207"/>
                  </a:lnTo>
                  <a:lnTo>
                    <a:pt x="3574" y="1233"/>
                  </a:lnTo>
                  <a:lnTo>
                    <a:pt x="3560" y="1258"/>
                  </a:lnTo>
                  <a:lnTo>
                    <a:pt x="3545" y="1281"/>
                  </a:lnTo>
                  <a:lnTo>
                    <a:pt x="3528" y="1305"/>
                  </a:lnTo>
                  <a:lnTo>
                    <a:pt x="3510" y="1326"/>
                  </a:lnTo>
                  <a:lnTo>
                    <a:pt x="3492" y="1346"/>
                  </a:lnTo>
                  <a:lnTo>
                    <a:pt x="3473" y="1366"/>
                  </a:lnTo>
                  <a:lnTo>
                    <a:pt x="3452" y="1385"/>
                  </a:lnTo>
                  <a:lnTo>
                    <a:pt x="3430" y="1402"/>
                  </a:lnTo>
                  <a:lnTo>
                    <a:pt x="3408" y="1418"/>
                  </a:lnTo>
                  <a:lnTo>
                    <a:pt x="3384" y="1434"/>
                  </a:lnTo>
                  <a:lnTo>
                    <a:pt x="3361" y="1447"/>
                  </a:lnTo>
                  <a:lnTo>
                    <a:pt x="3335" y="1460"/>
                  </a:lnTo>
                  <a:lnTo>
                    <a:pt x="3310" y="1472"/>
                  </a:lnTo>
                  <a:lnTo>
                    <a:pt x="3284" y="1483"/>
                  </a:lnTo>
                  <a:lnTo>
                    <a:pt x="3256" y="1492"/>
                  </a:lnTo>
                  <a:lnTo>
                    <a:pt x="3229" y="1500"/>
                  </a:lnTo>
                  <a:lnTo>
                    <a:pt x="3200" y="1507"/>
                  </a:lnTo>
                  <a:lnTo>
                    <a:pt x="3171" y="1513"/>
                  </a:lnTo>
                  <a:lnTo>
                    <a:pt x="3141" y="1517"/>
                  </a:lnTo>
                  <a:lnTo>
                    <a:pt x="3111" y="1520"/>
                  </a:lnTo>
                  <a:lnTo>
                    <a:pt x="3080" y="1522"/>
                  </a:lnTo>
                  <a:lnTo>
                    <a:pt x="3049" y="1523"/>
                  </a:lnTo>
                  <a:lnTo>
                    <a:pt x="3018" y="1522"/>
                  </a:lnTo>
                  <a:lnTo>
                    <a:pt x="2988" y="1520"/>
                  </a:lnTo>
                  <a:lnTo>
                    <a:pt x="2957" y="1517"/>
                  </a:lnTo>
                  <a:lnTo>
                    <a:pt x="2928" y="1513"/>
                  </a:lnTo>
                  <a:lnTo>
                    <a:pt x="2898" y="1507"/>
                  </a:lnTo>
                  <a:lnTo>
                    <a:pt x="2870" y="1500"/>
                  </a:lnTo>
                  <a:lnTo>
                    <a:pt x="2842" y="1492"/>
                  </a:lnTo>
                  <a:lnTo>
                    <a:pt x="2815" y="1483"/>
                  </a:lnTo>
                  <a:lnTo>
                    <a:pt x="2788" y="1472"/>
                  </a:lnTo>
                  <a:lnTo>
                    <a:pt x="2763" y="1460"/>
                  </a:lnTo>
                  <a:lnTo>
                    <a:pt x="2737" y="1447"/>
                  </a:lnTo>
                  <a:lnTo>
                    <a:pt x="2713" y="1434"/>
                  </a:lnTo>
                  <a:lnTo>
                    <a:pt x="2691" y="1418"/>
                  </a:lnTo>
                  <a:lnTo>
                    <a:pt x="2667" y="1402"/>
                  </a:lnTo>
                  <a:lnTo>
                    <a:pt x="2646" y="1385"/>
                  </a:lnTo>
                  <a:lnTo>
                    <a:pt x="2626" y="1366"/>
                  </a:lnTo>
                  <a:lnTo>
                    <a:pt x="2606" y="1346"/>
                  </a:lnTo>
                  <a:lnTo>
                    <a:pt x="2588" y="1326"/>
                  </a:lnTo>
                  <a:lnTo>
                    <a:pt x="2570" y="1305"/>
                  </a:lnTo>
                  <a:lnTo>
                    <a:pt x="2553" y="1281"/>
                  </a:lnTo>
                  <a:lnTo>
                    <a:pt x="2538" y="1258"/>
                  </a:lnTo>
                  <a:lnTo>
                    <a:pt x="2524" y="1233"/>
                  </a:lnTo>
                  <a:lnTo>
                    <a:pt x="2511" y="1207"/>
                  </a:lnTo>
                  <a:lnTo>
                    <a:pt x="2499" y="1181"/>
                  </a:lnTo>
                  <a:lnTo>
                    <a:pt x="2489" y="1153"/>
                  </a:lnTo>
                  <a:lnTo>
                    <a:pt x="2480" y="1125"/>
                  </a:lnTo>
                  <a:lnTo>
                    <a:pt x="2472" y="1095"/>
                  </a:lnTo>
                  <a:lnTo>
                    <a:pt x="2465" y="1065"/>
                  </a:lnTo>
                  <a:lnTo>
                    <a:pt x="2460" y="1033"/>
                  </a:lnTo>
                  <a:lnTo>
                    <a:pt x="2457" y="1001"/>
                  </a:lnTo>
                  <a:lnTo>
                    <a:pt x="2454" y="968"/>
                  </a:lnTo>
                  <a:lnTo>
                    <a:pt x="2454" y="933"/>
                  </a:lnTo>
                  <a:close/>
                  <a:moveTo>
                    <a:pt x="4047" y="933"/>
                  </a:moveTo>
                  <a:lnTo>
                    <a:pt x="4046" y="882"/>
                  </a:lnTo>
                  <a:lnTo>
                    <a:pt x="4042" y="831"/>
                  </a:lnTo>
                  <a:lnTo>
                    <a:pt x="4035" y="781"/>
                  </a:lnTo>
                  <a:lnTo>
                    <a:pt x="4026" y="733"/>
                  </a:lnTo>
                  <a:lnTo>
                    <a:pt x="4015" y="685"/>
                  </a:lnTo>
                  <a:lnTo>
                    <a:pt x="4002" y="640"/>
                  </a:lnTo>
                  <a:lnTo>
                    <a:pt x="3985" y="595"/>
                  </a:lnTo>
                  <a:lnTo>
                    <a:pt x="3967" y="551"/>
                  </a:lnTo>
                  <a:lnTo>
                    <a:pt x="3947" y="509"/>
                  </a:lnTo>
                  <a:lnTo>
                    <a:pt x="3924" y="469"/>
                  </a:lnTo>
                  <a:lnTo>
                    <a:pt x="3900" y="430"/>
                  </a:lnTo>
                  <a:lnTo>
                    <a:pt x="3874" y="392"/>
                  </a:lnTo>
                  <a:lnTo>
                    <a:pt x="3846" y="356"/>
                  </a:lnTo>
                  <a:lnTo>
                    <a:pt x="3815" y="321"/>
                  </a:lnTo>
                  <a:lnTo>
                    <a:pt x="3784" y="289"/>
                  </a:lnTo>
                  <a:lnTo>
                    <a:pt x="3751" y="257"/>
                  </a:lnTo>
                  <a:lnTo>
                    <a:pt x="3716" y="227"/>
                  </a:lnTo>
                  <a:lnTo>
                    <a:pt x="3679" y="199"/>
                  </a:lnTo>
                  <a:lnTo>
                    <a:pt x="3642" y="173"/>
                  </a:lnTo>
                  <a:lnTo>
                    <a:pt x="3603" y="147"/>
                  </a:lnTo>
                  <a:lnTo>
                    <a:pt x="3562" y="125"/>
                  </a:lnTo>
                  <a:lnTo>
                    <a:pt x="3521" y="104"/>
                  </a:lnTo>
                  <a:lnTo>
                    <a:pt x="3477" y="84"/>
                  </a:lnTo>
                  <a:lnTo>
                    <a:pt x="3433" y="67"/>
                  </a:lnTo>
                  <a:lnTo>
                    <a:pt x="3388" y="52"/>
                  </a:lnTo>
                  <a:lnTo>
                    <a:pt x="3342" y="39"/>
                  </a:lnTo>
                  <a:lnTo>
                    <a:pt x="3295" y="26"/>
                  </a:lnTo>
                  <a:lnTo>
                    <a:pt x="3247" y="17"/>
                  </a:lnTo>
                  <a:lnTo>
                    <a:pt x="3199" y="10"/>
                  </a:lnTo>
                  <a:lnTo>
                    <a:pt x="3149" y="4"/>
                  </a:lnTo>
                  <a:lnTo>
                    <a:pt x="3099" y="1"/>
                  </a:lnTo>
                  <a:lnTo>
                    <a:pt x="3049" y="0"/>
                  </a:lnTo>
                  <a:lnTo>
                    <a:pt x="2999" y="1"/>
                  </a:lnTo>
                  <a:lnTo>
                    <a:pt x="2949" y="4"/>
                  </a:lnTo>
                  <a:lnTo>
                    <a:pt x="2899" y="10"/>
                  </a:lnTo>
                  <a:lnTo>
                    <a:pt x="2851" y="17"/>
                  </a:lnTo>
                  <a:lnTo>
                    <a:pt x="2804" y="26"/>
                  </a:lnTo>
                  <a:lnTo>
                    <a:pt x="2756" y="39"/>
                  </a:lnTo>
                  <a:lnTo>
                    <a:pt x="2710" y="52"/>
                  </a:lnTo>
                  <a:lnTo>
                    <a:pt x="2665" y="67"/>
                  </a:lnTo>
                  <a:lnTo>
                    <a:pt x="2620" y="84"/>
                  </a:lnTo>
                  <a:lnTo>
                    <a:pt x="2578" y="104"/>
                  </a:lnTo>
                  <a:lnTo>
                    <a:pt x="2536" y="125"/>
                  </a:lnTo>
                  <a:lnTo>
                    <a:pt x="2495" y="147"/>
                  </a:lnTo>
                  <a:lnTo>
                    <a:pt x="2457" y="173"/>
                  </a:lnTo>
                  <a:lnTo>
                    <a:pt x="2418" y="199"/>
                  </a:lnTo>
                  <a:lnTo>
                    <a:pt x="2382" y="227"/>
                  </a:lnTo>
                  <a:lnTo>
                    <a:pt x="2347" y="257"/>
                  </a:lnTo>
                  <a:lnTo>
                    <a:pt x="2313" y="289"/>
                  </a:lnTo>
                  <a:lnTo>
                    <a:pt x="2282" y="321"/>
                  </a:lnTo>
                  <a:lnTo>
                    <a:pt x="2252" y="356"/>
                  </a:lnTo>
                  <a:lnTo>
                    <a:pt x="2224" y="392"/>
                  </a:lnTo>
                  <a:lnTo>
                    <a:pt x="2197" y="430"/>
                  </a:lnTo>
                  <a:lnTo>
                    <a:pt x="2173" y="469"/>
                  </a:lnTo>
                  <a:lnTo>
                    <a:pt x="2152" y="509"/>
                  </a:lnTo>
                  <a:lnTo>
                    <a:pt x="2131" y="551"/>
                  </a:lnTo>
                  <a:lnTo>
                    <a:pt x="2113" y="595"/>
                  </a:lnTo>
                  <a:lnTo>
                    <a:pt x="2097" y="640"/>
                  </a:lnTo>
                  <a:lnTo>
                    <a:pt x="2083" y="685"/>
                  </a:lnTo>
                  <a:lnTo>
                    <a:pt x="2071" y="733"/>
                  </a:lnTo>
                  <a:lnTo>
                    <a:pt x="2063" y="781"/>
                  </a:lnTo>
                  <a:lnTo>
                    <a:pt x="2056" y="831"/>
                  </a:lnTo>
                  <a:lnTo>
                    <a:pt x="2052" y="882"/>
                  </a:lnTo>
                  <a:lnTo>
                    <a:pt x="2051" y="933"/>
                  </a:lnTo>
                  <a:lnTo>
                    <a:pt x="2052" y="985"/>
                  </a:lnTo>
                  <a:lnTo>
                    <a:pt x="2056" y="1036"/>
                  </a:lnTo>
                  <a:lnTo>
                    <a:pt x="2063" y="1086"/>
                  </a:lnTo>
                  <a:lnTo>
                    <a:pt x="2071" y="1135"/>
                  </a:lnTo>
                  <a:lnTo>
                    <a:pt x="2083" y="1182"/>
                  </a:lnTo>
                  <a:lnTo>
                    <a:pt x="2097" y="1228"/>
                  </a:lnTo>
                  <a:lnTo>
                    <a:pt x="2113" y="1273"/>
                  </a:lnTo>
                  <a:lnTo>
                    <a:pt x="2131" y="1316"/>
                  </a:lnTo>
                  <a:lnTo>
                    <a:pt x="2152" y="1357"/>
                  </a:lnTo>
                  <a:lnTo>
                    <a:pt x="2173" y="1398"/>
                  </a:lnTo>
                  <a:lnTo>
                    <a:pt x="2197" y="1438"/>
                  </a:lnTo>
                  <a:lnTo>
                    <a:pt x="2224" y="1475"/>
                  </a:lnTo>
                  <a:lnTo>
                    <a:pt x="2252" y="1512"/>
                  </a:lnTo>
                  <a:lnTo>
                    <a:pt x="2282" y="1547"/>
                  </a:lnTo>
                  <a:lnTo>
                    <a:pt x="2313" y="1579"/>
                  </a:lnTo>
                  <a:lnTo>
                    <a:pt x="2347" y="1611"/>
                  </a:lnTo>
                  <a:lnTo>
                    <a:pt x="2382" y="1640"/>
                  </a:lnTo>
                  <a:lnTo>
                    <a:pt x="2418" y="1669"/>
                  </a:lnTo>
                  <a:lnTo>
                    <a:pt x="2457" y="1695"/>
                  </a:lnTo>
                  <a:lnTo>
                    <a:pt x="2495" y="1719"/>
                  </a:lnTo>
                  <a:lnTo>
                    <a:pt x="2536" y="1743"/>
                  </a:lnTo>
                  <a:lnTo>
                    <a:pt x="2578" y="1764"/>
                  </a:lnTo>
                  <a:lnTo>
                    <a:pt x="2620" y="1782"/>
                  </a:lnTo>
                  <a:lnTo>
                    <a:pt x="2665" y="1801"/>
                  </a:lnTo>
                  <a:lnTo>
                    <a:pt x="2710" y="1816"/>
                  </a:lnTo>
                  <a:lnTo>
                    <a:pt x="2756" y="1829"/>
                  </a:lnTo>
                  <a:lnTo>
                    <a:pt x="2804" y="1840"/>
                  </a:lnTo>
                  <a:lnTo>
                    <a:pt x="2851" y="1851"/>
                  </a:lnTo>
                  <a:lnTo>
                    <a:pt x="2899" y="1858"/>
                  </a:lnTo>
                  <a:lnTo>
                    <a:pt x="2949" y="1863"/>
                  </a:lnTo>
                  <a:lnTo>
                    <a:pt x="2999" y="1866"/>
                  </a:lnTo>
                  <a:lnTo>
                    <a:pt x="3049" y="1868"/>
                  </a:lnTo>
                  <a:lnTo>
                    <a:pt x="3099" y="1866"/>
                  </a:lnTo>
                  <a:lnTo>
                    <a:pt x="3149" y="1863"/>
                  </a:lnTo>
                  <a:lnTo>
                    <a:pt x="3199" y="1858"/>
                  </a:lnTo>
                  <a:lnTo>
                    <a:pt x="3247" y="1851"/>
                  </a:lnTo>
                  <a:lnTo>
                    <a:pt x="3295" y="1840"/>
                  </a:lnTo>
                  <a:lnTo>
                    <a:pt x="3342" y="1829"/>
                  </a:lnTo>
                  <a:lnTo>
                    <a:pt x="3388" y="1816"/>
                  </a:lnTo>
                  <a:lnTo>
                    <a:pt x="3433" y="1801"/>
                  </a:lnTo>
                  <a:lnTo>
                    <a:pt x="3477" y="1782"/>
                  </a:lnTo>
                  <a:lnTo>
                    <a:pt x="3521" y="1764"/>
                  </a:lnTo>
                  <a:lnTo>
                    <a:pt x="3562" y="1743"/>
                  </a:lnTo>
                  <a:lnTo>
                    <a:pt x="3603" y="1719"/>
                  </a:lnTo>
                  <a:lnTo>
                    <a:pt x="3642" y="1695"/>
                  </a:lnTo>
                  <a:lnTo>
                    <a:pt x="3679" y="1669"/>
                  </a:lnTo>
                  <a:lnTo>
                    <a:pt x="3716" y="1640"/>
                  </a:lnTo>
                  <a:lnTo>
                    <a:pt x="3751" y="1611"/>
                  </a:lnTo>
                  <a:lnTo>
                    <a:pt x="3784" y="1579"/>
                  </a:lnTo>
                  <a:lnTo>
                    <a:pt x="3815" y="1547"/>
                  </a:lnTo>
                  <a:lnTo>
                    <a:pt x="3846" y="1512"/>
                  </a:lnTo>
                  <a:lnTo>
                    <a:pt x="3874" y="1475"/>
                  </a:lnTo>
                  <a:lnTo>
                    <a:pt x="3900" y="1438"/>
                  </a:lnTo>
                  <a:lnTo>
                    <a:pt x="3924" y="1398"/>
                  </a:lnTo>
                  <a:lnTo>
                    <a:pt x="3947" y="1357"/>
                  </a:lnTo>
                  <a:lnTo>
                    <a:pt x="3967" y="1316"/>
                  </a:lnTo>
                  <a:lnTo>
                    <a:pt x="3985" y="1273"/>
                  </a:lnTo>
                  <a:lnTo>
                    <a:pt x="4002" y="1228"/>
                  </a:lnTo>
                  <a:lnTo>
                    <a:pt x="4015" y="1182"/>
                  </a:lnTo>
                  <a:lnTo>
                    <a:pt x="4026" y="1135"/>
                  </a:lnTo>
                  <a:lnTo>
                    <a:pt x="4035" y="1086"/>
                  </a:lnTo>
                  <a:lnTo>
                    <a:pt x="4042" y="1036"/>
                  </a:lnTo>
                  <a:lnTo>
                    <a:pt x="4046" y="985"/>
                  </a:lnTo>
                  <a:lnTo>
                    <a:pt x="4047" y="933"/>
                  </a:lnTo>
                  <a:close/>
                  <a:moveTo>
                    <a:pt x="4779" y="42"/>
                  </a:moveTo>
                  <a:lnTo>
                    <a:pt x="4540" y="1317"/>
                  </a:lnTo>
                  <a:lnTo>
                    <a:pt x="4535" y="1334"/>
                  </a:lnTo>
                  <a:lnTo>
                    <a:pt x="4530" y="1350"/>
                  </a:lnTo>
                  <a:lnTo>
                    <a:pt x="4524" y="1366"/>
                  </a:lnTo>
                  <a:lnTo>
                    <a:pt x="4517" y="1379"/>
                  </a:lnTo>
                  <a:lnTo>
                    <a:pt x="4510" y="1392"/>
                  </a:lnTo>
                  <a:lnTo>
                    <a:pt x="4501" y="1403"/>
                  </a:lnTo>
                  <a:lnTo>
                    <a:pt x="4491" y="1413"/>
                  </a:lnTo>
                  <a:lnTo>
                    <a:pt x="4481" y="1423"/>
                  </a:lnTo>
                  <a:lnTo>
                    <a:pt x="4469" y="1431"/>
                  </a:lnTo>
                  <a:lnTo>
                    <a:pt x="4457" y="1437"/>
                  </a:lnTo>
                  <a:lnTo>
                    <a:pt x="4444" y="1443"/>
                  </a:lnTo>
                  <a:lnTo>
                    <a:pt x="4430" y="1447"/>
                  </a:lnTo>
                  <a:lnTo>
                    <a:pt x="4415" y="1451"/>
                  </a:lnTo>
                  <a:lnTo>
                    <a:pt x="4399" y="1453"/>
                  </a:lnTo>
                  <a:lnTo>
                    <a:pt x="4383" y="1455"/>
                  </a:lnTo>
                  <a:lnTo>
                    <a:pt x="4366" y="1455"/>
                  </a:lnTo>
                  <a:lnTo>
                    <a:pt x="4172" y="1455"/>
                  </a:lnTo>
                  <a:lnTo>
                    <a:pt x="4172" y="1822"/>
                  </a:lnTo>
                  <a:lnTo>
                    <a:pt x="4385" y="1822"/>
                  </a:lnTo>
                  <a:lnTo>
                    <a:pt x="4412" y="1822"/>
                  </a:lnTo>
                  <a:lnTo>
                    <a:pt x="4439" y="1821"/>
                  </a:lnTo>
                  <a:lnTo>
                    <a:pt x="4465" y="1819"/>
                  </a:lnTo>
                  <a:lnTo>
                    <a:pt x="4491" y="1816"/>
                  </a:lnTo>
                  <a:lnTo>
                    <a:pt x="4515" y="1812"/>
                  </a:lnTo>
                  <a:lnTo>
                    <a:pt x="4540" y="1808"/>
                  </a:lnTo>
                  <a:lnTo>
                    <a:pt x="4563" y="1802"/>
                  </a:lnTo>
                  <a:lnTo>
                    <a:pt x="4586" y="1796"/>
                  </a:lnTo>
                  <a:lnTo>
                    <a:pt x="4609" y="1789"/>
                  </a:lnTo>
                  <a:lnTo>
                    <a:pt x="4630" y="1780"/>
                  </a:lnTo>
                  <a:lnTo>
                    <a:pt x="4651" y="1771"/>
                  </a:lnTo>
                  <a:lnTo>
                    <a:pt x="4672" y="1762"/>
                  </a:lnTo>
                  <a:lnTo>
                    <a:pt x="4692" y="1751"/>
                  </a:lnTo>
                  <a:lnTo>
                    <a:pt x="4710" y="1740"/>
                  </a:lnTo>
                  <a:lnTo>
                    <a:pt x="4730" y="1728"/>
                  </a:lnTo>
                  <a:lnTo>
                    <a:pt x="4747" y="1713"/>
                  </a:lnTo>
                  <a:lnTo>
                    <a:pt x="4764" y="1699"/>
                  </a:lnTo>
                  <a:lnTo>
                    <a:pt x="4781" y="1684"/>
                  </a:lnTo>
                  <a:lnTo>
                    <a:pt x="4796" y="1668"/>
                  </a:lnTo>
                  <a:lnTo>
                    <a:pt x="4811" y="1650"/>
                  </a:lnTo>
                  <a:lnTo>
                    <a:pt x="4825" y="1633"/>
                  </a:lnTo>
                  <a:lnTo>
                    <a:pt x="4839" y="1614"/>
                  </a:lnTo>
                  <a:lnTo>
                    <a:pt x="4852" y="1593"/>
                  </a:lnTo>
                  <a:lnTo>
                    <a:pt x="4864" y="1572"/>
                  </a:lnTo>
                  <a:lnTo>
                    <a:pt x="4875" y="1551"/>
                  </a:lnTo>
                  <a:lnTo>
                    <a:pt x="4885" y="1527"/>
                  </a:lnTo>
                  <a:lnTo>
                    <a:pt x="4895" y="1504"/>
                  </a:lnTo>
                  <a:lnTo>
                    <a:pt x="4905" y="1478"/>
                  </a:lnTo>
                  <a:lnTo>
                    <a:pt x="4913" y="1452"/>
                  </a:lnTo>
                  <a:lnTo>
                    <a:pt x="4920" y="1426"/>
                  </a:lnTo>
                  <a:lnTo>
                    <a:pt x="4927" y="1397"/>
                  </a:lnTo>
                  <a:lnTo>
                    <a:pt x="4932" y="1369"/>
                  </a:lnTo>
                  <a:lnTo>
                    <a:pt x="5113" y="403"/>
                  </a:lnTo>
                  <a:lnTo>
                    <a:pt x="5796" y="403"/>
                  </a:lnTo>
                  <a:lnTo>
                    <a:pt x="5796" y="1822"/>
                  </a:lnTo>
                  <a:lnTo>
                    <a:pt x="6198" y="1822"/>
                  </a:lnTo>
                  <a:lnTo>
                    <a:pt x="6198" y="42"/>
                  </a:lnTo>
                  <a:lnTo>
                    <a:pt x="4779" y="42"/>
                  </a:lnTo>
                  <a:close/>
                  <a:moveTo>
                    <a:pt x="6585" y="42"/>
                  </a:moveTo>
                  <a:lnTo>
                    <a:pt x="6585" y="1822"/>
                  </a:lnTo>
                  <a:lnTo>
                    <a:pt x="6980" y="1822"/>
                  </a:lnTo>
                  <a:lnTo>
                    <a:pt x="6980" y="1069"/>
                  </a:lnTo>
                  <a:lnTo>
                    <a:pt x="7251" y="1069"/>
                  </a:lnTo>
                  <a:lnTo>
                    <a:pt x="7258" y="1116"/>
                  </a:lnTo>
                  <a:lnTo>
                    <a:pt x="7266" y="1162"/>
                  </a:lnTo>
                  <a:lnTo>
                    <a:pt x="7277" y="1207"/>
                  </a:lnTo>
                  <a:lnTo>
                    <a:pt x="7290" y="1251"/>
                  </a:lnTo>
                  <a:lnTo>
                    <a:pt x="7304" y="1292"/>
                  </a:lnTo>
                  <a:lnTo>
                    <a:pt x="7320" y="1333"/>
                  </a:lnTo>
                  <a:lnTo>
                    <a:pt x="7338" y="1372"/>
                  </a:lnTo>
                  <a:lnTo>
                    <a:pt x="7358" y="1409"/>
                  </a:lnTo>
                  <a:lnTo>
                    <a:pt x="7379" y="1446"/>
                  </a:lnTo>
                  <a:lnTo>
                    <a:pt x="7402" y="1482"/>
                  </a:lnTo>
                  <a:lnTo>
                    <a:pt x="7427" y="1514"/>
                  </a:lnTo>
                  <a:lnTo>
                    <a:pt x="7452" y="1547"/>
                  </a:lnTo>
                  <a:lnTo>
                    <a:pt x="7480" y="1577"/>
                  </a:lnTo>
                  <a:lnTo>
                    <a:pt x="7509" y="1607"/>
                  </a:lnTo>
                  <a:lnTo>
                    <a:pt x="7540" y="1634"/>
                  </a:lnTo>
                  <a:lnTo>
                    <a:pt x="7571" y="1660"/>
                  </a:lnTo>
                  <a:lnTo>
                    <a:pt x="7604" y="1685"/>
                  </a:lnTo>
                  <a:lnTo>
                    <a:pt x="7637" y="1708"/>
                  </a:lnTo>
                  <a:lnTo>
                    <a:pt x="7673" y="1730"/>
                  </a:lnTo>
                  <a:lnTo>
                    <a:pt x="7710" y="1750"/>
                  </a:lnTo>
                  <a:lnTo>
                    <a:pt x="7747" y="1768"/>
                  </a:lnTo>
                  <a:lnTo>
                    <a:pt x="7786" y="1786"/>
                  </a:lnTo>
                  <a:lnTo>
                    <a:pt x="7824" y="1801"/>
                  </a:lnTo>
                  <a:lnTo>
                    <a:pt x="7865" y="1815"/>
                  </a:lnTo>
                  <a:lnTo>
                    <a:pt x="7907" y="1827"/>
                  </a:lnTo>
                  <a:lnTo>
                    <a:pt x="7949" y="1837"/>
                  </a:lnTo>
                  <a:lnTo>
                    <a:pt x="7991" y="1847"/>
                  </a:lnTo>
                  <a:lnTo>
                    <a:pt x="8035" y="1854"/>
                  </a:lnTo>
                  <a:lnTo>
                    <a:pt x="8080" y="1860"/>
                  </a:lnTo>
                  <a:lnTo>
                    <a:pt x="8124" y="1864"/>
                  </a:lnTo>
                  <a:lnTo>
                    <a:pt x="8170" y="1867"/>
                  </a:lnTo>
                  <a:lnTo>
                    <a:pt x="8217" y="1868"/>
                  </a:lnTo>
                  <a:lnTo>
                    <a:pt x="8267" y="1867"/>
                  </a:lnTo>
                  <a:lnTo>
                    <a:pt x="8317" y="1864"/>
                  </a:lnTo>
                  <a:lnTo>
                    <a:pt x="8364" y="1859"/>
                  </a:lnTo>
                  <a:lnTo>
                    <a:pt x="8413" y="1852"/>
                  </a:lnTo>
                  <a:lnTo>
                    <a:pt x="8460" y="1842"/>
                  </a:lnTo>
                  <a:lnTo>
                    <a:pt x="8506" y="1832"/>
                  </a:lnTo>
                  <a:lnTo>
                    <a:pt x="8552" y="1820"/>
                  </a:lnTo>
                  <a:lnTo>
                    <a:pt x="8595" y="1805"/>
                  </a:lnTo>
                  <a:lnTo>
                    <a:pt x="8639" y="1789"/>
                  </a:lnTo>
                  <a:lnTo>
                    <a:pt x="8681" y="1771"/>
                  </a:lnTo>
                  <a:lnTo>
                    <a:pt x="8721" y="1751"/>
                  </a:lnTo>
                  <a:lnTo>
                    <a:pt x="8761" y="1729"/>
                  </a:lnTo>
                  <a:lnTo>
                    <a:pt x="8799" y="1705"/>
                  </a:lnTo>
                  <a:lnTo>
                    <a:pt x="8835" y="1680"/>
                  </a:lnTo>
                  <a:lnTo>
                    <a:pt x="8871" y="1653"/>
                  </a:lnTo>
                  <a:lnTo>
                    <a:pt x="8905" y="1624"/>
                  </a:lnTo>
                  <a:lnTo>
                    <a:pt x="8937" y="1593"/>
                  </a:lnTo>
                  <a:lnTo>
                    <a:pt x="8968" y="1561"/>
                  </a:lnTo>
                  <a:lnTo>
                    <a:pt x="8996" y="1526"/>
                  </a:lnTo>
                  <a:lnTo>
                    <a:pt x="9023" y="1491"/>
                  </a:lnTo>
                  <a:lnTo>
                    <a:pt x="9049" y="1453"/>
                  </a:lnTo>
                  <a:lnTo>
                    <a:pt x="9072" y="1414"/>
                  </a:lnTo>
                  <a:lnTo>
                    <a:pt x="9094" y="1374"/>
                  </a:lnTo>
                  <a:lnTo>
                    <a:pt x="9113" y="1331"/>
                  </a:lnTo>
                  <a:lnTo>
                    <a:pt x="9130" y="1287"/>
                  </a:lnTo>
                  <a:lnTo>
                    <a:pt x="9146" y="1242"/>
                  </a:lnTo>
                  <a:lnTo>
                    <a:pt x="9159" y="1194"/>
                  </a:lnTo>
                  <a:lnTo>
                    <a:pt x="9169" y="1145"/>
                  </a:lnTo>
                  <a:lnTo>
                    <a:pt x="9178" y="1094"/>
                  </a:lnTo>
                  <a:lnTo>
                    <a:pt x="9184" y="1042"/>
                  </a:lnTo>
                  <a:lnTo>
                    <a:pt x="9188" y="988"/>
                  </a:lnTo>
                  <a:lnTo>
                    <a:pt x="9189" y="933"/>
                  </a:lnTo>
                  <a:lnTo>
                    <a:pt x="9188" y="879"/>
                  </a:lnTo>
                  <a:lnTo>
                    <a:pt x="9184" y="825"/>
                  </a:lnTo>
                  <a:lnTo>
                    <a:pt x="9178" y="773"/>
                  </a:lnTo>
                  <a:lnTo>
                    <a:pt x="9169" y="723"/>
                  </a:lnTo>
                  <a:lnTo>
                    <a:pt x="9159" y="674"/>
                  </a:lnTo>
                  <a:lnTo>
                    <a:pt x="9146" y="626"/>
                  </a:lnTo>
                  <a:lnTo>
                    <a:pt x="9130" y="581"/>
                  </a:lnTo>
                  <a:lnTo>
                    <a:pt x="9113" y="537"/>
                  </a:lnTo>
                  <a:lnTo>
                    <a:pt x="9094" y="494"/>
                  </a:lnTo>
                  <a:lnTo>
                    <a:pt x="9072" y="453"/>
                  </a:lnTo>
                  <a:lnTo>
                    <a:pt x="9049" y="414"/>
                  </a:lnTo>
                  <a:lnTo>
                    <a:pt x="9023" y="376"/>
                  </a:lnTo>
                  <a:lnTo>
                    <a:pt x="8996" y="341"/>
                  </a:lnTo>
                  <a:lnTo>
                    <a:pt x="8968" y="307"/>
                  </a:lnTo>
                  <a:lnTo>
                    <a:pt x="8937" y="275"/>
                  </a:lnTo>
                  <a:lnTo>
                    <a:pt x="8905" y="244"/>
                  </a:lnTo>
                  <a:lnTo>
                    <a:pt x="8871" y="215"/>
                  </a:lnTo>
                  <a:lnTo>
                    <a:pt x="8835" y="187"/>
                  </a:lnTo>
                  <a:lnTo>
                    <a:pt x="8799" y="162"/>
                  </a:lnTo>
                  <a:lnTo>
                    <a:pt x="8761" y="138"/>
                  </a:lnTo>
                  <a:lnTo>
                    <a:pt x="8721" y="117"/>
                  </a:lnTo>
                  <a:lnTo>
                    <a:pt x="8681" y="97"/>
                  </a:lnTo>
                  <a:lnTo>
                    <a:pt x="8639" y="78"/>
                  </a:lnTo>
                  <a:lnTo>
                    <a:pt x="8595" y="62"/>
                  </a:lnTo>
                  <a:lnTo>
                    <a:pt x="8552" y="48"/>
                  </a:lnTo>
                  <a:lnTo>
                    <a:pt x="8506" y="36"/>
                  </a:lnTo>
                  <a:lnTo>
                    <a:pt x="8460" y="24"/>
                  </a:lnTo>
                  <a:lnTo>
                    <a:pt x="8413" y="16"/>
                  </a:lnTo>
                  <a:lnTo>
                    <a:pt x="8364" y="9"/>
                  </a:lnTo>
                  <a:lnTo>
                    <a:pt x="8317" y="4"/>
                  </a:lnTo>
                  <a:lnTo>
                    <a:pt x="8267" y="1"/>
                  </a:lnTo>
                  <a:lnTo>
                    <a:pt x="8217" y="0"/>
                  </a:lnTo>
                  <a:lnTo>
                    <a:pt x="8173" y="1"/>
                  </a:lnTo>
                  <a:lnTo>
                    <a:pt x="8131" y="3"/>
                  </a:lnTo>
                  <a:lnTo>
                    <a:pt x="8088" y="7"/>
                  </a:lnTo>
                  <a:lnTo>
                    <a:pt x="8046" y="12"/>
                  </a:lnTo>
                  <a:lnTo>
                    <a:pt x="8004" y="18"/>
                  </a:lnTo>
                  <a:lnTo>
                    <a:pt x="7964" y="26"/>
                  </a:lnTo>
                  <a:lnTo>
                    <a:pt x="7924" y="36"/>
                  </a:lnTo>
                  <a:lnTo>
                    <a:pt x="7884" y="47"/>
                  </a:lnTo>
                  <a:lnTo>
                    <a:pt x="7846" y="59"/>
                  </a:lnTo>
                  <a:lnTo>
                    <a:pt x="7808" y="73"/>
                  </a:lnTo>
                  <a:lnTo>
                    <a:pt x="7772" y="88"/>
                  </a:lnTo>
                  <a:lnTo>
                    <a:pt x="7736" y="105"/>
                  </a:lnTo>
                  <a:lnTo>
                    <a:pt x="7700" y="122"/>
                  </a:lnTo>
                  <a:lnTo>
                    <a:pt x="7667" y="141"/>
                  </a:lnTo>
                  <a:lnTo>
                    <a:pt x="7633" y="162"/>
                  </a:lnTo>
                  <a:lnTo>
                    <a:pt x="7602" y="184"/>
                  </a:lnTo>
                  <a:lnTo>
                    <a:pt x="7571" y="207"/>
                  </a:lnTo>
                  <a:lnTo>
                    <a:pt x="7542" y="232"/>
                  </a:lnTo>
                  <a:lnTo>
                    <a:pt x="7512" y="257"/>
                  </a:lnTo>
                  <a:lnTo>
                    <a:pt x="7486" y="285"/>
                  </a:lnTo>
                  <a:lnTo>
                    <a:pt x="7459" y="313"/>
                  </a:lnTo>
                  <a:lnTo>
                    <a:pt x="7435" y="343"/>
                  </a:lnTo>
                  <a:lnTo>
                    <a:pt x="7412" y="374"/>
                  </a:lnTo>
                  <a:lnTo>
                    <a:pt x="7389" y="406"/>
                  </a:lnTo>
                  <a:lnTo>
                    <a:pt x="7369" y="439"/>
                  </a:lnTo>
                  <a:lnTo>
                    <a:pt x="7350" y="475"/>
                  </a:lnTo>
                  <a:lnTo>
                    <a:pt x="7331" y="510"/>
                  </a:lnTo>
                  <a:lnTo>
                    <a:pt x="7315" y="548"/>
                  </a:lnTo>
                  <a:lnTo>
                    <a:pt x="7301" y="586"/>
                  </a:lnTo>
                  <a:lnTo>
                    <a:pt x="7287" y="625"/>
                  </a:lnTo>
                  <a:lnTo>
                    <a:pt x="7276" y="666"/>
                  </a:lnTo>
                  <a:lnTo>
                    <a:pt x="7267" y="709"/>
                  </a:lnTo>
                  <a:lnTo>
                    <a:pt x="6980" y="709"/>
                  </a:lnTo>
                  <a:lnTo>
                    <a:pt x="6980" y="42"/>
                  </a:lnTo>
                  <a:lnTo>
                    <a:pt x="6585" y="42"/>
                  </a:lnTo>
                  <a:close/>
                  <a:moveTo>
                    <a:pt x="7643" y="933"/>
                  </a:moveTo>
                  <a:lnTo>
                    <a:pt x="7644" y="900"/>
                  </a:lnTo>
                  <a:lnTo>
                    <a:pt x="7645" y="866"/>
                  </a:lnTo>
                  <a:lnTo>
                    <a:pt x="7649" y="835"/>
                  </a:lnTo>
                  <a:lnTo>
                    <a:pt x="7653" y="803"/>
                  </a:lnTo>
                  <a:lnTo>
                    <a:pt x="7658" y="773"/>
                  </a:lnTo>
                  <a:lnTo>
                    <a:pt x="7664" y="743"/>
                  </a:lnTo>
                  <a:lnTo>
                    <a:pt x="7672" y="715"/>
                  </a:lnTo>
                  <a:lnTo>
                    <a:pt x="7680" y="686"/>
                  </a:lnTo>
                  <a:lnTo>
                    <a:pt x="7690" y="660"/>
                  </a:lnTo>
                  <a:lnTo>
                    <a:pt x="7700" y="634"/>
                  </a:lnTo>
                  <a:lnTo>
                    <a:pt x="7713" y="610"/>
                  </a:lnTo>
                  <a:lnTo>
                    <a:pt x="7726" y="586"/>
                  </a:lnTo>
                  <a:lnTo>
                    <a:pt x="7740" y="563"/>
                  </a:lnTo>
                  <a:lnTo>
                    <a:pt x="7755" y="542"/>
                  </a:lnTo>
                  <a:lnTo>
                    <a:pt x="7772" y="521"/>
                  </a:lnTo>
                  <a:lnTo>
                    <a:pt x="7789" y="501"/>
                  </a:lnTo>
                  <a:lnTo>
                    <a:pt x="7807" y="483"/>
                  </a:lnTo>
                  <a:lnTo>
                    <a:pt x="7828" y="466"/>
                  </a:lnTo>
                  <a:lnTo>
                    <a:pt x="7848" y="449"/>
                  </a:lnTo>
                  <a:lnTo>
                    <a:pt x="7870" y="434"/>
                  </a:lnTo>
                  <a:lnTo>
                    <a:pt x="7893" y="420"/>
                  </a:lnTo>
                  <a:lnTo>
                    <a:pt x="7917" y="408"/>
                  </a:lnTo>
                  <a:lnTo>
                    <a:pt x="7942" y="396"/>
                  </a:lnTo>
                  <a:lnTo>
                    <a:pt x="7968" y="385"/>
                  </a:lnTo>
                  <a:lnTo>
                    <a:pt x="7995" y="375"/>
                  </a:lnTo>
                  <a:lnTo>
                    <a:pt x="8024" y="367"/>
                  </a:lnTo>
                  <a:lnTo>
                    <a:pt x="8053" y="361"/>
                  </a:lnTo>
                  <a:lnTo>
                    <a:pt x="8084" y="355"/>
                  </a:lnTo>
                  <a:lnTo>
                    <a:pt x="8115" y="351"/>
                  </a:lnTo>
                  <a:lnTo>
                    <a:pt x="8148" y="347"/>
                  </a:lnTo>
                  <a:lnTo>
                    <a:pt x="8182" y="345"/>
                  </a:lnTo>
                  <a:lnTo>
                    <a:pt x="8217" y="345"/>
                  </a:lnTo>
                  <a:lnTo>
                    <a:pt x="8252" y="345"/>
                  </a:lnTo>
                  <a:lnTo>
                    <a:pt x="8285" y="347"/>
                  </a:lnTo>
                  <a:lnTo>
                    <a:pt x="8318" y="351"/>
                  </a:lnTo>
                  <a:lnTo>
                    <a:pt x="8349" y="355"/>
                  </a:lnTo>
                  <a:lnTo>
                    <a:pt x="8380" y="361"/>
                  </a:lnTo>
                  <a:lnTo>
                    <a:pt x="8409" y="367"/>
                  </a:lnTo>
                  <a:lnTo>
                    <a:pt x="8438" y="375"/>
                  </a:lnTo>
                  <a:lnTo>
                    <a:pt x="8465" y="385"/>
                  </a:lnTo>
                  <a:lnTo>
                    <a:pt x="8492" y="396"/>
                  </a:lnTo>
                  <a:lnTo>
                    <a:pt x="8517" y="408"/>
                  </a:lnTo>
                  <a:lnTo>
                    <a:pt x="8540" y="420"/>
                  </a:lnTo>
                  <a:lnTo>
                    <a:pt x="8564" y="434"/>
                  </a:lnTo>
                  <a:lnTo>
                    <a:pt x="8585" y="449"/>
                  </a:lnTo>
                  <a:lnTo>
                    <a:pt x="8607" y="466"/>
                  </a:lnTo>
                  <a:lnTo>
                    <a:pt x="8626" y="483"/>
                  </a:lnTo>
                  <a:lnTo>
                    <a:pt x="8644" y="501"/>
                  </a:lnTo>
                  <a:lnTo>
                    <a:pt x="8662" y="521"/>
                  </a:lnTo>
                  <a:lnTo>
                    <a:pt x="8679" y="542"/>
                  </a:lnTo>
                  <a:lnTo>
                    <a:pt x="8694" y="563"/>
                  </a:lnTo>
                  <a:lnTo>
                    <a:pt x="8708" y="586"/>
                  </a:lnTo>
                  <a:lnTo>
                    <a:pt x="8720" y="610"/>
                  </a:lnTo>
                  <a:lnTo>
                    <a:pt x="8733" y="634"/>
                  </a:lnTo>
                  <a:lnTo>
                    <a:pt x="8744" y="660"/>
                  </a:lnTo>
                  <a:lnTo>
                    <a:pt x="8753" y="686"/>
                  </a:lnTo>
                  <a:lnTo>
                    <a:pt x="8762" y="715"/>
                  </a:lnTo>
                  <a:lnTo>
                    <a:pt x="8769" y="743"/>
                  </a:lnTo>
                  <a:lnTo>
                    <a:pt x="8775" y="773"/>
                  </a:lnTo>
                  <a:lnTo>
                    <a:pt x="8780" y="803"/>
                  </a:lnTo>
                  <a:lnTo>
                    <a:pt x="8785" y="835"/>
                  </a:lnTo>
                  <a:lnTo>
                    <a:pt x="8788" y="866"/>
                  </a:lnTo>
                  <a:lnTo>
                    <a:pt x="8790" y="900"/>
                  </a:lnTo>
                  <a:lnTo>
                    <a:pt x="8790" y="933"/>
                  </a:lnTo>
                  <a:lnTo>
                    <a:pt x="8790" y="968"/>
                  </a:lnTo>
                  <a:lnTo>
                    <a:pt x="8788" y="1001"/>
                  </a:lnTo>
                  <a:lnTo>
                    <a:pt x="8785" y="1033"/>
                  </a:lnTo>
                  <a:lnTo>
                    <a:pt x="8780" y="1065"/>
                  </a:lnTo>
                  <a:lnTo>
                    <a:pt x="8775" y="1095"/>
                  </a:lnTo>
                  <a:lnTo>
                    <a:pt x="8769" y="1125"/>
                  </a:lnTo>
                  <a:lnTo>
                    <a:pt x="8762" y="1153"/>
                  </a:lnTo>
                  <a:lnTo>
                    <a:pt x="8753" y="1181"/>
                  </a:lnTo>
                  <a:lnTo>
                    <a:pt x="8744" y="1207"/>
                  </a:lnTo>
                  <a:lnTo>
                    <a:pt x="8733" y="1233"/>
                  </a:lnTo>
                  <a:lnTo>
                    <a:pt x="8720" y="1258"/>
                  </a:lnTo>
                  <a:lnTo>
                    <a:pt x="8708" y="1281"/>
                  </a:lnTo>
                  <a:lnTo>
                    <a:pt x="8694" y="1305"/>
                  </a:lnTo>
                  <a:lnTo>
                    <a:pt x="8679" y="1326"/>
                  </a:lnTo>
                  <a:lnTo>
                    <a:pt x="8662" y="1346"/>
                  </a:lnTo>
                  <a:lnTo>
                    <a:pt x="8644" y="1366"/>
                  </a:lnTo>
                  <a:lnTo>
                    <a:pt x="8626" y="1385"/>
                  </a:lnTo>
                  <a:lnTo>
                    <a:pt x="8607" y="1402"/>
                  </a:lnTo>
                  <a:lnTo>
                    <a:pt x="8585" y="1418"/>
                  </a:lnTo>
                  <a:lnTo>
                    <a:pt x="8564" y="1434"/>
                  </a:lnTo>
                  <a:lnTo>
                    <a:pt x="8540" y="1447"/>
                  </a:lnTo>
                  <a:lnTo>
                    <a:pt x="8517" y="1460"/>
                  </a:lnTo>
                  <a:lnTo>
                    <a:pt x="8492" y="1472"/>
                  </a:lnTo>
                  <a:lnTo>
                    <a:pt x="8465" y="1483"/>
                  </a:lnTo>
                  <a:lnTo>
                    <a:pt x="8438" y="1492"/>
                  </a:lnTo>
                  <a:lnTo>
                    <a:pt x="8409" y="1500"/>
                  </a:lnTo>
                  <a:lnTo>
                    <a:pt x="8380" y="1507"/>
                  </a:lnTo>
                  <a:lnTo>
                    <a:pt x="8349" y="1513"/>
                  </a:lnTo>
                  <a:lnTo>
                    <a:pt x="8318" y="1517"/>
                  </a:lnTo>
                  <a:lnTo>
                    <a:pt x="8285" y="1520"/>
                  </a:lnTo>
                  <a:lnTo>
                    <a:pt x="8252" y="1522"/>
                  </a:lnTo>
                  <a:lnTo>
                    <a:pt x="8217" y="1523"/>
                  </a:lnTo>
                  <a:lnTo>
                    <a:pt x="8182" y="1522"/>
                  </a:lnTo>
                  <a:lnTo>
                    <a:pt x="8148" y="1520"/>
                  </a:lnTo>
                  <a:lnTo>
                    <a:pt x="8115" y="1517"/>
                  </a:lnTo>
                  <a:lnTo>
                    <a:pt x="8084" y="1513"/>
                  </a:lnTo>
                  <a:lnTo>
                    <a:pt x="8053" y="1507"/>
                  </a:lnTo>
                  <a:lnTo>
                    <a:pt x="8024" y="1500"/>
                  </a:lnTo>
                  <a:lnTo>
                    <a:pt x="7995" y="1492"/>
                  </a:lnTo>
                  <a:lnTo>
                    <a:pt x="7968" y="1483"/>
                  </a:lnTo>
                  <a:lnTo>
                    <a:pt x="7942" y="1472"/>
                  </a:lnTo>
                  <a:lnTo>
                    <a:pt x="7917" y="1460"/>
                  </a:lnTo>
                  <a:lnTo>
                    <a:pt x="7893" y="1447"/>
                  </a:lnTo>
                  <a:lnTo>
                    <a:pt x="7870" y="1434"/>
                  </a:lnTo>
                  <a:lnTo>
                    <a:pt x="7848" y="1418"/>
                  </a:lnTo>
                  <a:lnTo>
                    <a:pt x="7828" y="1402"/>
                  </a:lnTo>
                  <a:lnTo>
                    <a:pt x="7807" y="1385"/>
                  </a:lnTo>
                  <a:lnTo>
                    <a:pt x="7789" y="1366"/>
                  </a:lnTo>
                  <a:lnTo>
                    <a:pt x="7772" y="1346"/>
                  </a:lnTo>
                  <a:lnTo>
                    <a:pt x="7755" y="1326"/>
                  </a:lnTo>
                  <a:lnTo>
                    <a:pt x="7740" y="1305"/>
                  </a:lnTo>
                  <a:lnTo>
                    <a:pt x="7726" y="1281"/>
                  </a:lnTo>
                  <a:lnTo>
                    <a:pt x="7713" y="1258"/>
                  </a:lnTo>
                  <a:lnTo>
                    <a:pt x="7700" y="1233"/>
                  </a:lnTo>
                  <a:lnTo>
                    <a:pt x="7690" y="1207"/>
                  </a:lnTo>
                  <a:lnTo>
                    <a:pt x="7680" y="1181"/>
                  </a:lnTo>
                  <a:lnTo>
                    <a:pt x="7672" y="1153"/>
                  </a:lnTo>
                  <a:lnTo>
                    <a:pt x="7664" y="1125"/>
                  </a:lnTo>
                  <a:lnTo>
                    <a:pt x="7658" y="1095"/>
                  </a:lnTo>
                  <a:lnTo>
                    <a:pt x="7653" y="1065"/>
                  </a:lnTo>
                  <a:lnTo>
                    <a:pt x="7649" y="1033"/>
                  </a:lnTo>
                  <a:lnTo>
                    <a:pt x="7645" y="1001"/>
                  </a:lnTo>
                  <a:lnTo>
                    <a:pt x="7644" y="968"/>
                  </a:lnTo>
                  <a:lnTo>
                    <a:pt x="7643" y="933"/>
                  </a:lnTo>
                  <a:close/>
                  <a:moveTo>
                    <a:pt x="11327" y="477"/>
                  </a:moveTo>
                  <a:lnTo>
                    <a:pt x="11310" y="447"/>
                  </a:lnTo>
                  <a:lnTo>
                    <a:pt x="11291" y="420"/>
                  </a:lnTo>
                  <a:lnTo>
                    <a:pt x="11272" y="392"/>
                  </a:lnTo>
                  <a:lnTo>
                    <a:pt x="11253" y="366"/>
                  </a:lnTo>
                  <a:lnTo>
                    <a:pt x="11232" y="341"/>
                  </a:lnTo>
                  <a:lnTo>
                    <a:pt x="11211" y="316"/>
                  </a:lnTo>
                  <a:lnTo>
                    <a:pt x="11190" y="293"/>
                  </a:lnTo>
                  <a:lnTo>
                    <a:pt x="11167" y="270"/>
                  </a:lnTo>
                  <a:lnTo>
                    <a:pt x="11144" y="248"/>
                  </a:lnTo>
                  <a:lnTo>
                    <a:pt x="11121" y="228"/>
                  </a:lnTo>
                  <a:lnTo>
                    <a:pt x="11096" y="207"/>
                  </a:lnTo>
                  <a:lnTo>
                    <a:pt x="11071" y="188"/>
                  </a:lnTo>
                  <a:lnTo>
                    <a:pt x="11045" y="171"/>
                  </a:lnTo>
                  <a:lnTo>
                    <a:pt x="11018" y="154"/>
                  </a:lnTo>
                  <a:lnTo>
                    <a:pt x="10991" y="136"/>
                  </a:lnTo>
                  <a:lnTo>
                    <a:pt x="10963" y="121"/>
                  </a:lnTo>
                  <a:lnTo>
                    <a:pt x="10934" y="107"/>
                  </a:lnTo>
                  <a:lnTo>
                    <a:pt x="10905" y="93"/>
                  </a:lnTo>
                  <a:lnTo>
                    <a:pt x="10875" y="80"/>
                  </a:lnTo>
                  <a:lnTo>
                    <a:pt x="10845" y="68"/>
                  </a:lnTo>
                  <a:lnTo>
                    <a:pt x="10813" y="58"/>
                  </a:lnTo>
                  <a:lnTo>
                    <a:pt x="10782" y="48"/>
                  </a:lnTo>
                  <a:lnTo>
                    <a:pt x="10749" y="39"/>
                  </a:lnTo>
                  <a:lnTo>
                    <a:pt x="10716" y="30"/>
                  </a:lnTo>
                  <a:lnTo>
                    <a:pt x="10682" y="23"/>
                  </a:lnTo>
                  <a:lnTo>
                    <a:pt x="10648" y="17"/>
                  </a:lnTo>
                  <a:lnTo>
                    <a:pt x="10612" y="12"/>
                  </a:lnTo>
                  <a:lnTo>
                    <a:pt x="10576" y="8"/>
                  </a:lnTo>
                  <a:lnTo>
                    <a:pt x="10540" y="4"/>
                  </a:lnTo>
                  <a:lnTo>
                    <a:pt x="10502" y="2"/>
                  </a:lnTo>
                  <a:lnTo>
                    <a:pt x="10465" y="1"/>
                  </a:lnTo>
                  <a:lnTo>
                    <a:pt x="10426" y="0"/>
                  </a:lnTo>
                  <a:lnTo>
                    <a:pt x="10373" y="1"/>
                  </a:lnTo>
                  <a:lnTo>
                    <a:pt x="10322" y="4"/>
                  </a:lnTo>
                  <a:lnTo>
                    <a:pt x="10271" y="9"/>
                  </a:lnTo>
                  <a:lnTo>
                    <a:pt x="10222" y="16"/>
                  </a:lnTo>
                  <a:lnTo>
                    <a:pt x="10174" y="25"/>
                  </a:lnTo>
                  <a:lnTo>
                    <a:pt x="10126" y="37"/>
                  </a:lnTo>
                  <a:lnTo>
                    <a:pt x="10079" y="50"/>
                  </a:lnTo>
                  <a:lnTo>
                    <a:pt x="10033" y="65"/>
                  </a:lnTo>
                  <a:lnTo>
                    <a:pt x="9990" y="81"/>
                  </a:lnTo>
                  <a:lnTo>
                    <a:pt x="9947" y="101"/>
                  </a:lnTo>
                  <a:lnTo>
                    <a:pt x="9905" y="121"/>
                  </a:lnTo>
                  <a:lnTo>
                    <a:pt x="9865" y="143"/>
                  </a:lnTo>
                  <a:lnTo>
                    <a:pt x="9826" y="168"/>
                  </a:lnTo>
                  <a:lnTo>
                    <a:pt x="9788" y="194"/>
                  </a:lnTo>
                  <a:lnTo>
                    <a:pt x="9753" y="222"/>
                  </a:lnTo>
                  <a:lnTo>
                    <a:pt x="9718" y="251"/>
                  </a:lnTo>
                  <a:lnTo>
                    <a:pt x="9686" y="282"/>
                  </a:lnTo>
                  <a:lnTo>
                    <a:pt x="9654" y="314"/>
                  </a:lnTo>
                  <a:lnTo>
                    <a:pt x="9626" y="349"/>
                  </a:lnTo>
                  <a:lnTo>
                    <a:pt x="9598" y="385"/>
                  </a:lnTo>
                  <a:lnTo>
                    <a:pt x="9572" y="423"/>
                  </a:lnTo>
                  <a:lnTo>
                    <a:pt x="9548" y="462"/>
                  </a:lnTo>
                  <a:lnTo>
                    <a:pt x="9527" y="502"/>
                  </a:lnTo>
                  <a:lnTo>
                    <a:pt x="9508" y="545"/>
                  </a:lnTo>
                  <a:lnTo>
                    <a:pt x="9489" y="589"/>
                  </a:lnTo>
                  <a:lnTo>
                    <a:pt x="9474" y="633"/>
                  </a:lnTo>
                  <a:lnTo>
                    <a:pt x="9461" y="680"/>
                  </a:lnTo>
                  <a:lnTo>
                    <a:pt x="9451" y="728"/>
                  </a:lnTo>
                  <a:lnTo>
                    <a:pt x="9441" y="778"/>
                  </a:lnTo>
                  <a:lnTo>
                    <a:pt x="9435" y="829"/>
                  </a:lnTo>
                  <a:lnTo>
                    <a:pt x="9432" y="881"/>
                  </a:lnTo>
                  <a:lnTo>
                    <a:pt x="9430" y="933"/>
                  </a:lnTo>
                  <a:lnTo>
                    <a:pt x="9431" y="987"/>
                  </a:lnTo>
                  <a:lnTo>
                    <a:pt x="9435" y="1039"/>
                  </a:lnTo>
                  <a:lnTo>
                    <a:pt x="9441" y="1090"/>
                  </a:lnTo>
                  <a:lnTo>
                    <a:pt x="9450" y="1139"/>
                  </a:lnTo>
                  <a:lnTo>
                    <a:pt x="9461" y="1188"/>
                  </a:lnTo>
                  <a:lnTo>
                    <a:pt x="9474" y="1234"/>
                  </a:lnTo>
                  <a:lnTo>
                    <a:pt x="9488" y="1279"/>
                  </a:lnTo>
                  <a:lnTo>
                    <a:pt x="9506" y="1323"/>
                  </a:lnTo>
                  <a:lnTo>
                    <a:pt x="9525" y="1365"/>
                  </a:lnTo>
                  <a:lnTo>
                    <a:pt x="9546" y="1405"/>
                  </a:lnTo>
                  <a:lnTo>
                    <a:pt x="9570" y="1445"/>
                  </a:lnTo>
                  <a:lnTo>
                    <a:pt x="9595" y="1483"/>
                  </a:lnTo>
                  <a:lnTo>
                    <a:pt x="9623" y="1518"/>
                  </a:lnTo>
                  <a:lnTo>
                    <a:pt x="9651" y="1553"/>
                  </a:lnTo>
                  <a:lnTo>
                    <a:pt x="9681" y="1585"/>
                  </a:lnTo>
                  <a:lnTo>
                    <a:pt x="9714" y="1617"/>
                  </a:lnTo>
                  <a:lnTo>
                    <a:pt x="9749" y="1646"/>
                  </a:lnTo>
                  <a:lnTo>
                    <a:pt x="9784" y="1674"/>
                  </a:lnTo>
                  <a:lnTo>
                    <a:pt x="9822" y="1700"/>
                  </a:lnTo>
                  <a:lnTo>
                    <a:pt x="9860" y="1724"/>
                  </a:lnTo>
                  <a:lnTo>
                    <a:pt x="9900" y="1746"/>
                  </a:lnTo>
                  <a:lnTo>
                    <a:pt x="9942" y="1767"/>
                  </a:lnTo>
                  <a:lnTo>
                    <a:pt x="9986" y="1786"/>
                  </a:lnTo>
                  <a:lnTo>
                    <a:pt x="10029" y="1803"/>
                  </a:lnTo>
                  <a:lnTo>
                    <a:pt x="10075" y="1818"/>
                  </a:lnTo>
                  <a:lnTo>
                    <a:pt x="10122" y="1830"/>
                  </a:lnTo>
                  <a:lnTo>
                    <a:pt x="10170" y="1841"/>
                  </a:lnTo>
                  <a:lnTo>
                    <a:pt x="10219" y="1851"/>
                  </a:lnTo>
                  <a:lnTo>
                    <a:pt x="10269" y="1858"/>
                  </a:lnTo>
                  <a:lnTo>
                    <a:pt x="10320" y="1863"/>
                  </a:lnTo>
                  <a:lnTo>
                    <a:pt x="10372" y="1867"/>
                  </a:lnTo>
                  <a:lnTo>
                    <a:pt x="10426" y="1868"/>
                  </a:lnTo>
                  <a:lnTo>
                    <a:pt x="10465" y="1867"/>
                  </a:lnTo>
                  <a:lnTo>
                    <a:pt x="10502" y="1866"/>
                  </a:lnTo>
                  <a:lnTo>
                    <a:pt x="10540" y="1863"/>
                  </a:lnTo>
                  <a:lnTo>
                    <a:pt x="10576" y="1860"/>
                  </a:lnTo>
                  <a:lnTo>
                    <a:pt x="10612" y="1856"/>
                  </a:lnTo>
                  <a:lnTo>
                    <a:pt x="10648" y="1851"/>
                  </a:lnTo>
                  <a:lnTo>
                    <a:pt x="10682" y="1845"/>
                  </a:lnTo>
                  <a:lnTo>
                    <a:pt x="10716" y="1837"/>
                  </a:lnTo>
                  <a:lnTo>
                    <a:pt x="10749" y="1829"/>
                  </a:lnTo>
                  <a:lnTo>
                    <a:pt x="10782" y="1820"/>
                  </a:lnTo>
                  <a:lnTo>
                    <a:pt x="10813" y="1810"/>
                  </a:lnTo>
                  <a:lnTo>
                    <a:pt x="10845" y="1799"/>
                  </a:lnTo>
                  <a:lnTo>
                    <a:pt x="10875" y="1788"/>
                  </a:lnTo>
                  <a:lnTo>
                    <a:pt x="10905" y="1774"/>
                  </a:lnTo>
                  <a:lnTo>
                    <a:pt x="10934" y="1761"/>
                  </a:lnTo>
                  <a:lnTo>
                    <a:pt x="10963" y="1746"/>
                  </a:lnTo>
                  <a:lnTo>
                    <a:pt x="10991" y="1731"/>
                  </a:lnTo>
                  <a:lnTo>
                    <a:pt x="11018" y="1714"/>
                  </a:lnTo>
                  <a:lnTo>
                    <a:pt x="11045" y="1697"/>
                  </a:lnTo>
                  <a:lnTo>
                    <a:pt x="11071" y="1679"/>
                  </a:lnTo>
                  <a:lnTo>
                    <a:pt x="11096" y="1659"/>
                  </a:lnTo>
                  <a:lnTo>
                    <a:pt x="11121" y="1640"/>
                  </a:lnTo>
                  <a:lnTo>
                    <a:pt x="11144" y="1619"/>
                  </a:lnTo>
                  <a:lnTo>
                    <a:pt x="11167" y="1597"/>
                  </a:lnTo>
                  <a:lnTo>
                    <a:pt x="11190" y="1574"/>
                  </a:lnTo>
                  <a:lnTo>
                    <a:pt x="11211" y="1551"/>
                  </a:lnTo>
                  <a:lnTo>
                    <a:pt x="11232" y="1526"/>
                  </a:lnTo>
                  <a:lnTo>
                    <a:pt x="11253" y="1501"/>
                  </a:lnTo>
                  <a:lnTo>
                    <a:pt x="11272" y="1474"/>
                  </a:lnTo>
                  <a:lnTo>
                    <a:pt x="11291" y="1448"/>
                  </a:lnTo>
                  <a:lnTo>
                    <a:pt x="11310" y="1419"/>
                  </a:lnTo>
                  <a:lnTo>
                    <a:pt x="11327" y="1391"/>
                  </a:lnTo>
                  <a:lnTo>
                    <a:pt x="11015" y="1211"/>
                  </a:lnTo>
                  <a:lnTo>
                    <a:pt x="11002" y="1228"/>
                  </a:lnTo>
                  <a:lnTo>
                    <a:pt x="10988" y="1246"/>
                  </a:lnTo>
                  <a:lnTo>
                    <a:pt x="10975" y="1263"/>
                  </a:lnTo>
                  <a:lnTo>
                    <a:pt x="10962" y="1279"/>
                  </a:lnTo>
                  <a:lnTo>
                    <a:pt x="10948" y="1294"/>
                  </a:lnTo>
                  <a:lnTo>
                    <a:pt x="10933" y="1310"/>
                  </a:lnTo>
                  <a:lnTo>
                    <a:pt x="10919" y="1325"/>
                  </a:lnTo>
                  <a:lnTo>
                    <a:pt x="10904" y="1339"/>
                  </a:lnTo>
                  <a:lnTo>
                    <a:pt x="10890" y="1352"/>
                  </a:lnTo>
                  <a:lnTo>
                    <a:pt x="10873" y="1366"/>
                  </a:lnTo>
                  <a:lnTo>
                    <a:pt x="10858" y="1378"/>
                  </a:lnTo>
                  <a:lnTo>
                    <a:pt x="10842" y="1390"/>
                  </a:lnTo>
                  <a:lnTo>
                    <a:pt x="10825" y="1402"/>
                  </a:lnTo>
                  <a:lnTo>
                    <a:pt x="10807" y="1412"/>
                  </a:lnTo>
                  <a:lnTo>
                    <a:pt x="10790" y="1423"/>
                  </a:lnTo>
                  <a:lnTo>
                    <a:pt x="10773" y="1433"/>
                  </a:lnTo>
                  <a:lnTo>
                    <a:pt x="10754" y="1442"/>
                  </a:lnTo>
                  <a:lnTo>
                    <a:pt x="10735" y="1451"/>
                  </a:lnTo>
                  <a:lnTo>
                    <a:pt x="10716" y="1459"/>
                  </a:lnTo>
                  <a:lnTo>
                    <a:pt x="10696" y="1466"/>
                  </a:lnTo>
                  <a:lnTo>
                    <a:pt x="10676" y="1473"/>
                  </a:lnTo>
                  <a:lnTo>
                    <a:pt x="10656" y="1479"/>
                  </a:lnTo>
                  <a:lnTo>
                    <a:pt x="10634" y="1486"/>
                  </a:lnTo>
                  <a:lnTo>
                    <a:pt x="10613" y="1491"/>
                  </a:lnTo>
                  <a:lnTo>
                    <a:pt x="10591" y="1495"/>
                  </a:lnTo>
                  <a:lnTo>
                    <a:pt x="10567" y="1499"/>
                  </a:lnTo>
                  <a:lnTo>
                    <a:pt x="10544" y="1502"/>
                  </a:lnTo>
                  <a:lnTo>
                    <a:pt x="10521" y="1505"/>
                  </a:lnTo>
                  <a:lnTo>
                    <a:pt x="10496" y="1507"/>
                  </a:lnTo>
                  <a:lnTo>
                    <a:pt x="10471" y="1509"/>
                  </a:lnTo>
                  <a:lnTo>
                    <a:pt x="10445" y="1510"/>
                  </a:lnTo>
                  <a:lnTo>
                    <a:pt x="10419" y="1510"/>
                  </a:lnTo>
                  <a:lnTo>
                    <a:pt x="10386" y="1509"/>
                  </a:lnTo>
                  <a:lnTo>
                    <a:pt x="10355" y="1507"/>
                  </a:lnTo>
                  <a:lnTo>
                    <a:pt x="10324" y="1504"/>
                  </a:lnTo>
                  <a:lnTo>
                    <a:pt x="10294" y="1500"/>
                  </a:lnTo>
                  <a:lnTo>
                    <a:pt x="10264" y="1494"/>
                  </a:lnTo>
                  <a:lnTo>
                    <a:pt x="10236" y="1487"/>
                  </a:lnTo>
                  <a:lnTo>
                    <a:pt x="10207" y="1478"/>
                  </a:lnTo>
                  <a:lnTo>
                    <a:pt x="10180" y="1468"/>
                  </a:lnTo>
                  <a:lnTo>
                    <a:pt x="10153" y="1458"/>
                  </a:lnTo>
                  <a:lnTo>
                    <a:pt x="10128" y="1446"/>
                  </a:lnTo>
                  <a:lnTo>
                    <a:pt x="10104" y="1433"/>
                  </a:lnTo>
                  <a:lnTo>
                    <a:pt x="10080" y="1418"/>
                  </a:lnTo>
                  <a:lnTo>
                    <a:pt x="10057" y="1403"/>
                  </a:lnTo>
                  <a:lnTo>
                    <a:pt x="10035" y="1387"/>
                  </a:lnTo>
                  <a:lnTo>
                    <a:pt x="10014" y="1370"/>
                  </a:lnTo>
                  <a:lnTo>
                    <a:pt x="9994" y="1351"/>
                  </a:lnTo>
                  <a:lnTo>
                    <a:pt x="9975" y="1332"/>
                  </a:lnTo>
                  <a:lnTo>
                    <a:pt x="9957" y="1312"/>
                  </a:lnTo>
                  <a:lnTo>
                    <a:pt x="9941" y="1289"/>
                  </a:lnTo>
                  <a:lnTo>
                    <a:pt x="9925" y="1268"/>
                  </a:lnTo>
                  <a:lnTo>
                    <a:pt x="9910" y="1245"/>
                  </a:lnTo>
                  <a:lnTo>
                    <a:pt x="9896" y="1220"/>
                  </a:lnTo>
                  <a:lnTo>
                    <a:pt x="9884" y="1195"/>
                  </a:lnTo>
                  <a:lnTo>
                    <a:pt x="9873" y="1169"/>
                  </a:lnTo>
                  <a:lnTo>
                    <a:pt x="9864" y="1143"/>
                  </a:lnTo>
                  <a:lnTo>
                    <a:pt x="9854" y="1114"/>
                  </a:lnTo>
                  <a:lnTo>
                    <a:pt x="9847" y="1087"/>
                  </a:lnTo>
                  <a:lnTo>
                    <a:pt x="9841" y="1057"/>
                  </a:lnTo>
                  <a:lnTo>
                    <a:pt x="9836" y="1028"/>
                  </a:lnTo>
                  <a:lnTo>
                    <a:pt x="9833" y="998"/>
                  </a:lnTo>
                  <a:lnTo>
                    <a:pt x="9831" y="966"/>
                  </a:lnTo>
                  <a:lnTo>
                    <a:pt x="9830" y="933"/>
                  </a:lnTo>
                  <a:lnTo>
                    <a:pt x="9831" y="901"/>
                  </a:lnTo>
                  <a:lnTo>
                    <a:pt x="9833" y="869"/>
                  </a:lnTo>
                  <a:lnTo>
                    <a:pt x="9836" y="839"/>
                  </a:lnTo>
                  <a:lnTo>
                    <a:pt x="9840" y="808"/>
                  </a:lnTo>
                  <a:lnTo>
                    <a:pt x="9846" y="779"/>
                  </a:lnTo>
                  <a:lnTo>
                    <a:pt x="9853" y="750"/>
                  </a:lnTo>
                  <a:lnTo>
                    <a:pt x="9863" y="723"/>
                  </a:lnTo>
                  <a:lnTo>
                    <a:pt x="9872" y="696"/>
                  </a:lnTo>
                  <a:lnTo>
                    <a:pt x="9883" y="670"/>
                  </a:lnTo>
                  <a:lnTo>
                    <a:pt x="9894" y="645"/>
                  </a:lnTo>
                  <a:lnTo>
                    <a:pt x="9907" y="620"/>
                  </a:lnTo>
                  <a:lnTo>
                    <a:pt x="9923" y="597"/>
                  </a:lnTo>
                  <a:lnTo>
                    <a:pt x="9938" y="575"/>
                  </a:lnTo>
                  <a:lnTo>
                    <a:pt x="9954" y="553"/>
                  </a:lnTo>
                  <a:lnTo>
                    <a:pt x="9971" y="533"/>
                  </a:lnTo>
                  <a:lnTo>
                    <a:pt x="9991" y="513"/>
                  </a:lnTo>
                  <a:lnTo>
                    <a:pt x="10010" y="496"/>
                  </a:lnTo>
                  <a:lnTo>
                    <a:pt x="10031" y="479"/>
                  </a:lnTo>
                  <a:lnTo>
                    <a:pt x="10053" y="463"/>
                  </a:lnTo>
                  <a:lnTo>
                    <a:pt x="10075" y="447"/>
                  </a:lnTo>
                  <a:lnTo>
                    <a:pt x="10099" y="433"/>
                  </a:lnTo>
                  <a:lnTo>
                    <a:pt x="10124" y="420"/>
                  </a:lnTo>
                  <a:lnTo>
                    <a:pt x="10149" y="409"/>
                  </a:lnTo>
                  <a:lnTo>
                    <a:pt x="10176" y="399"/>
                  </a:lnTo>
                  <a:lnTo>
                    <a:pt x="10203" y="388"/>
                  </a:lnTo>
                  <a:lnTo>
                    <a:pt x="10232" y="380"/>
                  </a:lnTo>
                  <a:lnTo>
                    <a:pt x="10261" y="373"/>
                  </a:lnTo>
                  <a:lnTo>
                    <a:pt x="10291" y="368"/>
                  </a:lnTo>
                  <a:lnTo>
                    <a:pt x="10322" y="363"/>
                  </a:lnTo>
                  <a:lnTo>
                    <a:pt x="10354" y="360"/>
                  </a:lnTo>
                  <a:lnTo>
                    <a:pt x="10386" y="358"/>
                  </a:lnTo>
                  <a:lnTo>
                    <a:pt x="10419" y="358"/>
                  </a:lnTo>
                  <a:lnTo>
                    <a:pt x="10445" y="358"/>
                  </a:lnTo>
                  <a:lnTo>
                    <a:pt x="10471" y="359"/>
                  </a:lnTo>
                  <a:lnTo>
                    <a:pt x="10496" y="360"/>
                  </a:lnTo>
                  <a:lnTo>
                    <a:pt x="10521" y="362"/>
                  </a:lnTo>
                  <a:lnTo>
                    <a:pt x="10544" y="365"/>
                  </a:lnTo>
                  <a:lnTo>
                    <a:pt x="10567" y="368"/>
                  </a:lnTo>
                  <a:lnTo>
                    <a:pt x="10591" y="372"/>
                  </a:lnTo>
                  <a:lnTo>
                    <a:pt x="10613" y="377"/>
                  </a:lnTo>
                  <a:lnTo>
                    <a:pt x="10634" y="382"/>
                  </a:lnTo>
                  <a:lnTo>
                    <a:pt x="10656" y="388"/>
                  </a:lnTo>
                  <a:lnTo>
                    <a:pt x="10676" y="395"/>
                  </a:lnTo>
                  <a:lnTo>
                    <a:pt x="10696" y="402"/>
                  </a:lnTo>
                  <a:lnTo>
                    <a:pt x="10716" y="409"/>
                  </a:lnTo>
                  <a:lnTo>
                    <a:pt x="10735" y="417"/>
                  </a:lnTo>
                  <a:lnTo>
                    <a:pt x="10754" y="425"/>
                  </a:lnTo>
                  <a:lnTo>
                    <a:pt x="10773" y="435"/>
                  </a:lnTo>
                  <a:lnTo>
                    <a:pt x="10790" y="444"/>
                  </a:lnTo>
                  <a:lnTo>
                    <a:pt x="10807" y="455"/>
                  </a:lnTo>
                  <a:lnTo>
                    <a:pt x="10825" y="466"/>
                  </a:lnTo>
                  <a:lnTo>
                    <a:pt x="10842" y="477"/>
                  </a:lnTo>
                  <a:lnTo>
                    <a:pt x="10858" y="489"/>
                  </a:lnTo>
                  <a:lnTo>
                    <a:pt x="10873" y="502"/>
                  </a:lnTo>
                  <a:lnTo>
                    <a:pt x="10890" y="515"/>
                  </a:lnTo>
                  <a:lnTo>
                    <a:pt x="10904" y="529"/>
                  </a:lnTo>
                  <a:lnTo>
                    <a:pt x="10919" y="543"/>
                  </a:lnTo>
                  <a:lnTo>
                    <a:pt x="10933" y="557"/>
                  </a:lnTo>
                  <a:lnTo>
                    <a:pt x="10948" y="572"/>
                  </a:lnTo>
                  <a:lnTo>
                    <a:pt x="10962" y="589"/>
                  </a:lnTo>
                  <a:lnTo>
                    <a:pt x="10975" y="605"/>
                  </a:lnTo>
                  <a:lnTo>
                    <a:pt x="10988" y="621"/>
                  </a:lnTo>
                  <a:lnTo>
                    <a:pt x="11002" y="639"/>
                  </a:lnTo>
                  <a:lnTo>
                    <a:pt x="11015" y="657"/>
                  </a:lnTo>
                  <a:lnTo>
                    <a:pt x="11327" y="4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3" name="Freeform 6"/>
            <p:cNvSpPr>
              <a:spLocks noEditPoints="1"/>
            </p:cNvSpPr>
            <p:nvPr userDrawn="1"/>
          </p:nvSpPr>
          <p:spPr bwMode="auto">
            <a:xfrm>
              <a:off x="490538" y="487363"/>
              <a:ext cx="466725" cy="455612"/>
            </a:xfrm>
            <a:custGeom>
              <a:avLst/>
              <a:gdLst>
                <a:gd name="T0" fmla="*/ 1853 w 3532"/>
                <a:gd name="T1" fmla="*/ 1336 h 3444"/>
                <a:gd name="T2" fmla="*/ 1828 w 3532"/>
                <a:gd name="T3" fmla="*/ 1351 h 3444"/>
                <a:gd name="T4" fmla="*/ 1795 w 3532"/>
                <a:gd name="T5" fmla="*/ 1349 h 3444"/>
                <a:gd name="T6" fmla="*/ 1104 w 3532"/>
                <a:gd name="T7" fmla="*/ 1069 h 3444"/>
                <a:gd name="T8" fmla="*/ 1071 w 3532"/>
                <a:gd name="T9" fmla="*/ 1010 h 3444"/>
                <a:gd name="T10" fmla="*/ 1204 w 3532"/>
                <a:gd name="T11" fmla="*/ 141 h 3444"/>
                <a:gd name="T12" fmla="*/ 1231 w 3532"/>
                <a:gd name="T13" fmla="*/ 77 h 3444"/>
                <a:gd name="T14" fmla="*/ 1287 w 3532"/>
                <a:gd name="T15" fmla="*/ 37 h 3444"/>
                <a:gd name="T16" fmla="*/ 2026 w 3532"/>
                <a:gd name="T17" fmla="*/ 0 h 3444"/>
                <a:gd name="T18" fmla="*/ 2055 w 3532"/>
                <a:gd name="T19" fmla="*/ 11 h 3444"/>
                <a:gd name="T20" fmla="*/ 2072 w 3532"/>
                <a:gd name="T21" fmla="*/ 37 h 3444"/>
                <a:gd name="T22" fmla="*/ 1399 w 3532"/>
                <a:gd name="T23" fmla="*/ 1554 h 3444"/>
                <a:gd name="T24" fmla="*/ 1417 w 3532"/>
                <a:gd name="T25" fmla="*/ 1578 h 3444"/>
                <a:gd name="T26" fmla="*/ 1414 w 3532"/>
                <a:gd name="T27" fmla="*/ 1610 h 3444"/>
                <a:gd name="T28" fmla="*/ 958 w 3532"/>
                <a:gd name="T29" fmla="*/ 2172 h 3444"/>
                <a:gd name="T30" fmla="*/ 893 w 3532"/>
                <a:gd name="T31" fmla="*/ 2208 h 3444"/>
                <a:gd name="T32" fmla="*/ 826 w 3532"/>
                <a:gd name="T33" fmla="*/ 2201 h 3444"/>
                <a:gd name="T34" fmla="*/ 45 w 3532"/>
                <a:gd name="T35" fmla="*/ 1796 h 3444"/>
                <a:gd name="T36" fmla="*/ 6 w 3532"/>
                <a:gd name="T37" fmla="*/ 1741 h 3444"/>
                <a:gd name="T38" fmla="*/ 4 w 3532"/>
                <a:gd name="T39" fmla="*/ 1664 h 3444"/>
                <a:gd name="T40" fmla="*/ 200 w 3532"/>
                <a:gd name="T41" fmla="*/ 976 h 3444"/>
                <a:gd name="T42" fmla="*/ 226 w 3532"/>
                <a:gd name="T43" fmla="*/ 959 h 3444"/>
                <a:gd name="T44" fmla="*/ 255 w 3532"/>
                <a:gd name="T45" fmla="*/ 963 h 3444"/>
                <a:gd name="T46" fmla="*/ 1491 w 3532"/>
                <a:gd name="T47" fmla="*/ 2055 h 3444"/>
                <a:gd name="T48" fmla="*/ 1521 w 3532"/>
                <a:gd name="T49" fmla="*/ 2057 h 3444"/>
                <a:gd name="T50" fmla="*/ 1546 w 3532"/>
                <a:gd name="T51" fmla="*/ 2077 h 3444"/>
                <a:gd name="T52" fmla="*/ 1940 w 3532"/>
                <a:gd name="T53" fmla="*/ 2711 h 3444"/>
                <a:gd name="T54" fmla="*/ 1933 w 3532"/>
                <a:gd name="T55" fmla="*/ 2779 h 3444"/>
                <a:gd name="T56" fmla="*/ 1315 w 3532"/>
                <a:gd name="T57" fmla="*/ 3402 h 3444"/>
                <a:gd name="T58" fmla="*/ 1256 w 3532"/>
                <a:gd name="T59" fmla="*/ 3439 h 3444"/>
                <a:gd name="T60" fmla="*/ 1187 w 3532"/>
                <a:gd name="T61" fmla="*/ 3439 h 3444"/>
                <a:gd name="T62" fmla="*/ 567 w 3532"/>
                <a:gd name="T63" fmla="*/ 3035 h 3444"/>
                <a:gd name="T64" fmla="*/ 549 w 3532"/>
                <a:gd name="T65" fmla="*/ 3009 h 3444"/>
                <a:gd name="T66" fmla="*/ 551 w 3532"/>
                <a:gd name="T67" fmla="*/ 2978 h 3444"/>
                <a:gd name="T68" fmla="*/ 1987 w 3532"/>
                <a:gd name="T69" fmla="*/ 2144 h 3444"/>
                <a:gd name="T70" fmla="*/ 1988 w 3532"/>
                <a:gd name="T71" fmla="*/ 2114 h 3444"/>
                <a:gd name="T72" fmla="*/ 2009 w 3532"/>
                <a:gd name="T73" fmla="*/ 2091 h 3444"/>
                <a:gd name="T74" fmla="*/ 2707 w 3532"/>
                <a:gd name="T75" fmla="*/ 1899 h 3444"/>
                <a:gd name="T76" fmla="*/ 2780 w 3532"/>
                <a:gd name="T77" fmla="*/ 1910 h 3444"/>
                <a:gd name="T78" fmla="*/ 2832 w 3532"/>
                <a:gd name="T79" fmla="*/ 1953 h 3444"/>
                <a:gd name="T80" fmla="*/ 3229 w 3532"/>
                <a:gd name="T81" fmla="*/ 2739 h 3444"/>
                <a:gd name="T82" fmla="*/ 3227 w 3532"/>
                <a:gd name="T83" fmla="*/ 2806 h 3444"/>
                <a:gd name="T84" fmla="*/ 3184 w 3532"/>
                <a:gd name="T85" fmla="*/ 2871 h 3444"/>
                <a:gd name="T86" fmla="*/ 2624 w 3532"/>
                <a:gd name="T87" fmla="*/ 3314 h 3444"/>
                <a:gd name="T88" fmla="*/ 2593 w 3532"/>
                <a:gd name="T89" fmla="*/ 3313 h 3444"/>
                <a:gd name="T90" fmla="*/ 2570 w 3532"/>
                <a:gd name="T91" fmla="*/ 3292 h 3444"/>
                <a:gd name="T92" fmla="*/ 2206 w 3532"/>
                <a:gd name="T93" fmla="*/ 1686 h 3444"/>
                <a:gd name="T94" fmla="*/ 2183 w 3532"/>
                <a:gd name="T95" fmla="*/ 1667 h 3444"/>
                <a:gd name="T96" fmla="*/ 2176 w 3532"/>
                <a:gd name="T97" fmla="*/ 1635 h 3444"/>
                <a:gd name="T98" fmla="*/ 2229 w 3532"/>
                <a:gd name="T99" fmla="*/ 892 h 3444"/>
                <a:gd name="T100" fmla="*/ 2275 w 3532"/>
                <a:gd name="T101" fmla="*/ 841 h 3444"/>
                <a:gd name="T102" fmla="*/ 3142 w 3532"/>
                <a:gd name="T103" fmla="*/ 700 h 3444"/>
                <a:gd name="T104" fmla="*/ 3211 w 3532"/>
                <a:gd name="T105" fmla="*/ 706 h 3444"/>
                <a:gd name="T106" fmla="*/ 3268 w 3532"/>
                <a:gd name="T107" fmla="*/ 746 h 3444"/>
                <a:gd name="T108" fmla="*/ 3530 w 3532"/>
                <a:gd name="T109" fmla="*/ 1438 h 3444"/>
                <a:gd name="T110" fmla="*/ 3529 w 3532"/>
                <a:gd name="T111" fmla="*/ 1469 h 3444"/>
                <a:gd name="T112" fmla="*/ 3510 w 3532"/>
                <a:gd name="T113" fmla="*/ 1493 h 3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32" h="3444">
                  <a:moveTo>
                    <a:pt x="2072" y="52"/>
                  </a:moveTo>
                  <a:lnTo>
                    <a:pt x="1861" y="1317"/>
                  </a:lnTo>
                  <a:lnTo>
                    <a:pt x="1860" y="1322"/>
                  </a:lnTo>
                  <a:lnTo>
                    <a:pt x="1858" y="1327"/>
                  </a:lnTo>
                  <a:lnTo>
                    <a:pt x="1856" y="1332"/>
                  </a:lnTo>
                  <a:lnTo>
                    <a:pt x="1853" y="1336"/>
                  </a:lnTo>
                  <a:lnTo>
                    <a:pt x="1849" y="1340"/>
                  </a:lnTo>
                  <a:lnTo>
                    <a:pt x="1846" y="1343"/>
                  </a:lnTo>
                  <a:lnTo>
                    <a:pt x="1842" y="1346"/>
                  </a:lnTo>
                  <a:lnTo>
                    <a:pt x="1837" y="1348"/>
                  </a:lnTo>
                  <a:lnTo>
                    <a:pt x="1833" y="1350"/>
                  </a:lnTo>
                  <a:lnTo>
                    <a:pt x="1828" y="1351"/>
                  </a:lnTo>
                  <a:lnTo>
                    <a:pt x="1822" y="1352"/>
                  </a:lnTo>
                  <a:lnTo>
                    <a:pt x="1817" y="1353"/>
                  </a:lnTo>
                  <a:lnTo>
                    <a:pt x="1811" y="1352"/>
                  </a:lnTo>
                  <a:lnTo>
                    <a:pt x="1806" y="1352"/>
                  </a:lnTo>
                  <a:lnTo>
                    <a:pt x="1801" y="1351"/>
                  </a:lnTo>
                  <a:lnTo>
                    <a:pt x="1795" y="1349"/>
                  </a:lnTo>
                  <a:lnTo>
                    <a:pt x="1163" y="1105"/>
                  </a:lnTo>
                  <a:lnTo>
                    <a:pt x="1149" y="1099"/>
                  </a:lnTo>
                  <a:lnTo>
                    <a:pt x="1136" y="1092"/>
                  </a:lnTo>
                  <a:lnTo>
                    <a:pt x="1125" y="1085"/>
                  </a:lnTo>
                  <a:lnTo>
                    <a:pt x="1114" y="1077"/>
                  </a:lnTo>
                  <a:lnTo>
                    <a:pt x="1104" y="1069"/>
                  </a:lnTo>
                  <a:lnTo>
                    <a:pt x="1096" y="1060"/>
                  </a:lnTo>
                  <a:lnTo>
                    <a:pt x="1089" y="1050"/>
                  </a:lnTo>
                  <a:lnTo>
                    <a:pt x="1083" y="1041"/>
                  </a:lnTo>
                  <a:lnTo>
                    <a:pt x="1078" y="1031"/>
                  </a:lnTo>
                  <a:lnTo>
                    <a:pt x="1074" y="1020"/>
                  </a:lnTo>
                  <a:lnTo>
                    <a:pt x="1071" y="1010"/>
                  </a:lnTo>
                  <a:lnTo>
                    <a:pt x="1068" y="999"/>
                  </a:lnTo>
                  <a:lnTo>
                    <a:pt x="1067" y="986"/>
                  </a:lnTo>
                  <a:lnTo>
                    <a:pt x="1067" y="975"/>
                  </a:lnTo>
                  <a:lnTo>
                    <a:pt x="1068" y="963"/>
                  </a:lnTo>
                  <a:lnTo>
                    <a:pt x="1069" y="951"/>
                  </a:lnTo>
                  <a:lnTo>
                    <a:pt x="1204" y="141"/>
                  </a:lnTo>
                  <a:lnTo>
                    <a:pt x="1206" y="130"/>
                  </a:lnTo>
                  <a:lnTo>
                    <a:pt x="1209" y="118"/>
                  </a:lnTo>
                  <a:lnTo>
                    <a:pt x="1213" y="107"/>
                  </a:lnTo>
                  <a:lnTo>
                    <a:pt x="1218" y="97"/>
                  </a:lnTo>
                  <a:lnTo>
                    <a:pt x="1224" y="86"/>
                  </a:lnTo>
                  <a:lnTo>
                    <a:pt x="1231" y="77"/>
                  </a:lnTo>
                  <a:lnTo>
                    <a:pt x="1238" y="69"/>
                  </a:lnTo>
                  <a:lnTo>
                    <a:pt x="1246" y="61"/>
                  </a:lnTo>
                  <a:lnTo>
                    <a:pt x="1255" y="54"/>
                  </a:lnTo>
                  <a:lnTo>
                    <a:pt x="1265" y="47"/>
                  </a:lnTo>
                  <a:lnTo>
                    <a:pt x="1275" y="42"/>
                  </a:lnTo>
                  <a:lnTo>
                    <a:pt x="1287" y="37"/>
                  </a:lnTo>
                  <a:lnTo>
                    <a:pt x="1300" y="33"/>
                  </a:lnTo>
                  <a:lnTo>
                    <a:pt x="1313" y="29"/>
                  </a:lnTo>
                  <a:lnTo>
                    <a:pt x="1327" y="27"/>
                  </a:lnTo>
                  <a:lnTo>
                    <a:pt x="1342" y="26"/>
                  </a:lnTo>
                  <a:lnTo>
                    <a:pt x="2020" y="0"/>
                  </a:lnTo>
                  <a:lnTo>
                    <a:pt x="2026" y="0"/>
                  </a:lnTo>
                  <a:lnTo>
                    <a:pt x="2031" y="1"/>
                  </a:lnTo>
                  <a:lnTo>
                    <a:pt x="2036" y="2"/>
                  </a:lnTo>
                  <a:lnTo>
                    <a:pt x="2042" y="3"/>
                  </a:lnTo>
                  <a:lnTo>
                    <a:pt x="2046" y="5"/>
                  </a:lnTo>
                  <a:lnTo>
                    <a:pt x="2051" y="8"/>
                  </a:lnTo>
                  <a:lnTo>
                    <a:pt x="2055" y="11"/>
                  </a:lnTo>
                  <a:lnTo>
                    <a:pt x="2059" y="14"/>
                  </a:lnTo>
                  <a:lnTo>
                    <a:pt x="2062" y="18"/>
                  </a:lnTo>
                  <a:lnTo>
                    <a:pt x="2066" y="22"/>
                  </a:lnTo>
                  <a:lnTo>
                    <a:pt x="2068" y="26"/>
                  </a:lnTo>
                  <a:lnTo>
                    <a:pt x="2070" y="32"/>
                  </a:lnTo>
                  <a:lnTo>
                    <a:pt x="2072" y="37"/>
                  </a:lnTo>
                  <a:lnTo>
                    <a:pt x="2072" y="42"/>
                  </a:lnTo>
                  <a:lnTo>
                    <a:pt x="2073" y="47"/>
                  </a:lnTo>
                  <a:lnTo>
                    <a:pt x="2072" y="52"/>
                  </a:lnTo>
                  <a:close/>
                  <a:moveTo>
                    <a:pt x="255" y="963"/>
                  </a:moveTo>
                  <a:lnTo>
                    <a:pt x="1394" y="1551"/>
                  </a:lnTo>
                  <a:lnTo>
                    <a:pt x="1399" y="1554"/>
                  </a:lnTo>
                  <a:lnTo>
                    <a:pt x="1403" y="1557"/>
                  </a:lnTo>
                  <a:lnTo>
                    <a:pt x="1408" y="1561"/>
                  </a:lnTo>
                  <a:lnTo>
                    <a:pt x="1411" y="1565"/>
                  </a:lnTo>
                  <a:lnTo>
                    <a:pt x="1413" y="1569"/>
                  </a:lnTo>
                  <a:lnTo>
                    <a:pt x="1415" y="1574"/>
                  </a:lnTo>
                  <a:lnTo>
                    <a:pt x="1417" y="1578"/>
                  </a:lnTo>
                  <a:lnTo>
                    <a:pt x="1418" y="1583"/>
                  </a:lnTo>
                  <a:lnTo>
                    <a:pt x="1418" y="1588"/>
                  </a:lnTo>
                  <a:lnTo>
                    <a:pt x="1418" y="1593"/>
                  </a:lnTo>
                  <a:lnTo>
                    <a:pt x="1417" y="1599"/>
                  </a:lnTo>
                  <a:lnTo>
                    <a:pt x="1416" y="1605"/>
                  </a:lnTo>
                  <a:lnTo>
                    <a:pt x="1414" y="1610"/>
                  </a:lnTo>
                  <a:lnTo>
                    <a:pt x="1412" y="1614"/>
                  </a:lnTo>
                  <a:lnTo>
                    <a:pt x="1409" y="1619"/>
                  </a:lnTo>
                  <a:lnTo>
                    <a:pt x="1405" y="1624"/>
                  </a:lnTo>
                  <a:lnTo>
                    <a:pt x="978" y="2151"/>
                  </a:lnTo>
                  <a:lnTo>
                    <a:pt x="969" y="2162"/>
                  </a:lnTo>
                  <a:lnTo>
                    <a:pt x="958" y="2172"/>
                  </a:lnTo>
                  <a:lnTo>
                    <a:pt x="948" y="2181"/>
                  </a:lnTo>
                  <a:lnTo>
                    <a:pt x="938" y="2188"/>
                  </a:lnTo>
                  <a:lnTo>
                    <a:pt x="926" y="2195"/>
                  </a:lnTo>
                  <a:lnTo>
                    <a:pt x="915" y="2200"/>
                  </a:lnTo>
                  <a:lnTo>
                    <a:pt x="904" y="2204"/>
                  </a:lnTo>
                  <a:lnTo>
                    <a:pt x="893" y="2208"/>
                  </a:lnTo>
                  <a:lnTo>
                    <a:pt x="882" y="2209"/>
                  </a:lnTo>
                  <a:lnTo>
                    <a:pt x="871" y="2210"/>
                  </a:lnTo>
                  <a:lnTo>
                    <a:pt x="859" y="2209"/>
                  </a:lnTo>
                  <a:lnTo>
                    <a:pt x="848" y="2208"/>
                  </a:lnTo>
                  <a:lnTo>
                    <a:pt x="837" y="2206"/>
                  </a:lnTo>
                  <a:lnTo>
                    <a:pt x="826" y="2201"/>
                  </a:lnTo>
                  <a:lnTo>
                    <a:pt x="815" y="2197"/>
                  </a:lnTo>
                  <a:lnTo>
                    <a:pt x="803" y="2192"/>
                  </a:lnTo>
                  <a:lnTo>
                    <a:pt x="74" y="1816"/>
                  </a:lnTo>
                  <a:lnTo>
                    <a:pt x="64" y="1810"/>
                  </a:lnTo>
                  <a:lnTo>
                    <a:pt x="54" y="1803"/>
                  </a:lnTo>
                  <a:lnTo>
                    <a:pt x="45" y="1796"/>
                  </a:lnTo>
                  <a:lnTo>
                    <a:pt x="37" y="1789"/>
                  </a:lnTo>
                  <a:lnTo>
                    <a:pt x="28" y="1779"/>
                  </a:lnTo>
                  <a:lnTo>
                    <a:pt x="21" y="1771"/>
                  </a:lnTo>
                  <a:lnTo>
                    <a:pt x="15" y="1761"/>
                  </a:lnTo>
                  <a:lnTo>
                    <a:pt x="10" y="1751"/>
                  </a:lnTo>
                  <a:lnTo>
                    <a:pt x="6" y="1741"/>
                  </a:lnTo>
                  <a:lnTo>
                    <a:pt x="3" y="1729"/>
                  </a:lnTo>
                  <a:lnTo>
                    <a:pt x="1" y="1717"/>
                  </a:lnTo>
                  <a:lnTo>
                    <a:pt x="0" y="1704"/>
                  </a:lnTo>
                  <a:lnTo>
                    <a:pt x="0" y="1691"/>
                  </a:lnTo>
                  <a:lnTo>
                    <a:pt x="1" y="1678"/>
                  </a:lnTo>
                  <a:lnTo>
                    <a:pt x="4" y="1664"/>
                  </a:lnTo>
                  <a:lnTo>
                    <a:pt x="7" y="1648"/>
                  </a:lnTo>
                  <a:lnTo>
                    <a:pt x="190" y="995"/>
                  </a:lnTo>
                  <a:lnTo>
                    <a:pt x="192" y="990"/>
                  </a:lnTo>
                  <a:lnTo>
                    <a:pt x="194" y="985"/>
                  </a:lnTo>
                  <a:lnTo>
                    <a:pt x="197" y="980"/>
                  </a:lnTo>
                  <a:lnTo>
                    <a:pt x="200" y="976"/>
                  </a:lnTo>
                  <a:lnTo>
                    <a:pt x="203" y="972"/>
                  </a:lnTo>
                  <a:lnTo>
                    <a:pt x="207" y="969"/>
                  </a:lnTo>
                  <a:lnTo>
                    <a:pt x="212" y="965"/>
                  </a:lnTo>
                  <a:lnTo>
                    <a:pt x="216" y="963"/>
                  </a:lnTo>
                  <a:lnTo>
                    <a:pt x="221" y="961"/>
                  </a:lnTo>
                  <a:lnTo>
                    <a:pt x="226" y="959"/>
                  </a:lnTo>
                  <a:lnTo>
                    <a:pt x="230" y="958"/>
                  </a:lnTo>
                  <a:lnTo>
                    <a:pt x="235" y="958"/>
                  </a:lnTo>
                  <a:lnTo>
                    <a:pt x="240" y="958"/>
                  </a:lnTo>
                  <a:lnTo>
                    <a:pt x="245" y="959"/>
                  </a:lnTo>
                  <a:lnTo>
                    <a:pt x="250" y="960"/>
                  </a:lnTo>
                  <a:lnTo>
                    <a:pt x="255" y="963"/>
                  </a:lnTo>
                  <a:close/>
                  <a:moveTo>
                    <a:pt x="560" y="2966"/>
                  </a:moveTo>
                  <a:lnTo>
                    <a:pt x="1474" y="2066"/>
                  </a:lnTo>
                  <a:lnTo>
                    <a:pt x="1478" y="2062"/>
                  </a:lnTo>
                  <a:lnTo>
                    <a:pt x="1482" y="2059"/>
                  </a:lnTo>
                  <a:lnTo>
                    <a:pt x="1487" y="2057"/>
                  </a:lnTo>
                  <a:lnTo>
                    <a:pt x="1491" y="2055"/>
                  </a:lnTo>
                  <a:lnTo>
                    <a:pt x="1496" y="2054"/>
                  </a:lnTo>
                  <a:lnTo>
                    <a:pt x="1501" y="2053"/>
                  </a:lnTo>
                  <a:lnTo>
                    <a:pt x="1506" y="2054"/>
                  </a:lnTo>
                  <a:lnTo>
                    <a:pt x="1511" y="2054"/>
                  </a:lnTo>
                  <a:lnTo>
                    <a:pt x="1516" y="2055"/>
                  </a:lnTo>
                  <a:lnTo>
                    <a:pt x="1521" y="2057"/>
                  </a:lnTo>
                  <a:lnTo>
                    <a:pt x="1526" y="2059"/>
                  </a:lnTo>
                  <a:lnTo>
                    <a:pt x="1531" y="2062"/>
                  </a:lnTo>
                  <a:lnTo>
                    <a:pt x="1535" y="2065"/>
                  </a:lnTo>
                  <a:lnTo>
                    <a:pt x="1539" y="2069"/>
                  </a:lnTo>
                  <a:lnTo>
                    <a:pt x="1543" y="2073"/>
                  </a:lnTo>
                  <a:lnTo>
                    <a:pt x="1546" y="2077"/>
                  </a:lnTo>
                  <a:lnTo>
                    <a:pt x="1914" y="2647"/>
                  </a:lnTo>
                  <a:lnTo>
                    <a:pt x="1922" y="2660"/>
                  </a:lnTo>
                  <a:lnTo>
                    <a:pt x="1928" y="2673"/>
                  </a:lnTo>
                  <a:lnTo>
                    <a:pt x="1933" y="2685"/>
                  </a:lnTo>
                  <a:lnTo>
                    <a:pt x="1937" y="2699"/>
                  </a:lnTo>
                  <a:lnTo>
                    <a:pt x="1940" y="2711"/>
                  </a:lnTo>
                  <a:lnTo>
                    <a:pt x="1941" y="2723"/>
                  </a:lnTo>
                  <a:lnTo>
                    <a:pt x="1942" y="2734"/>
                  </a:lnTo>
                  <a:lnTo>
                    <a:pt x="1941" y="2745"/>
                  </a:lnTo>
                  <a:lnTo>
                    <a:pt x="1939" y="2758"/>
                  </a:lnTo>
                  <a:lnTo>
                    <a:pt x="1936" y="2768"/>
                  </a:lnTo>
                  <a:lnTo>
                    <a:pt x="1933" y="2779"/>
                  </a:lnTo>
                  <a:lnTo>
                    <a:pt x="1928" y="2789"/>
                  </a:lnTo>
                  <a:lnTo>
                    <a:pt x="1922" y="2799"/>
                  </a:lnTo>
                  <a:lnTo>
                    <a:pt x="1915" y="2808"/>
                  </a:lnTo>
                  <a:lnTo>
                    <a:pt x="1908" y="2818"/>
                  </a:lnTo>
                  <a:lnTo>
                    <a:pt x="1900" y="2827"/>
                  </a:lnTo>
                  <a:lnTo>
                    <a:pt x="1315" y="3402"/>
                  </a:lnTo>
                  <a:lnTo>
                    <a:pt x="1307" y="3410"/>
                  </a:lnTo>
                  <a:lnTo>
                    <a:pt x="1297" y="3419"/>
                  </a:lnTo>
                  <a:lnTo>
                    <a:pt x="1288" y="3425"/>
                  </a:lnTo>
                  <a:lnTo>
                    <a:pt x="1277" y="3431"/>
                  </a:lnTo>
                  <a:lnTo>
                    <a:pt x="1267" y="3435"/>
                  </a:lnTo>
                  <a:lnTo>
                    <a:pt x="1256" y="3439"/>
                  </a:lnTo>
                  <a:lnTo>
                    <a:pt x="1245" y="3442"/>
                  </a:lnTo>
                  <a:lnTo>
                    <a:pt x="1234" y="3443"/>
                  </a:lnTo>
                  <a:lnTo>
                    <a:pt x="1222" y="3444"/>
                  </a:lnTo>
                  <a:lnTo>
                    <a:pt x="1211" y="3443"/>
                  </a:lnTo>
                  <a:lnTo>
                    <a:pt x="1199" y="3442"/>
                  </a:lnTo>
                  <a:lnTo>
                    <a:pt x="1187" y="3439"/>
                  </a:lnTo>
                  <a:lnTo>
                    <a:pt x="1174" y="3435"/>
                  </a:lnTo>
                  <a:lnTo>
                    <a:pt x="1161" y="3430"/>
                  </a:lnTo>
                  <a:lnTo>
                    <a:pt x="1148" y="3423"/>
                  </a:lnTo>
                  <a:lnTo>
                    <a:pt x="1136" y="3415"/>
                  </a:lnTo>
                  <a:lnTo>
                    <a:pt x="572" y="3038"/>
                  </a:lnTo>
                  <a:lnTo>
                    <a:pt x="567" y="3035"/>
                  </a:lnTo>
                  <a:lnTo>
                    <a:pt x="563" y="3031"/>
                  </a:lnTo>
                  <a:lnTo>
                    <a:pt x="559" y="3027"/>
                  </a:lnTo>
                  <a:lnTo>
                    <a:pt x="556" y="3023"/>
                  </a:lnTo>
                  <a:lnTo>
                    <a:pt x="553" y="3018"/>
                  </a:lnTo>
                  <a:lnTo>
                    <a:pt x="551" y="3014"/>
                  </a:lnTo>
                  <a:lnTo>
                    <a:pt x="549" y="3009"/>
                  </a:lnTo>
                  <a:lnTo>
                    <a:pt x="548" y="3004"/>
                  </a:lnTo>
                  <a:lnTo>
                    <a:pt x="548" y="2999"/>
                  </a:lnTo>
                  <a:lnTo>
                    <a:pt x="548" y="2994"/>
                  </a:lnTo>
                  <a:lnTo>
                    <a:pt x="548" y="2988"/>
                  </a:lnTo>
                  <a:lnTo>
                    <a:pt x="549" y="2983"/>
                  </a:lnTo>
                  <a:lnTo>
                    <a:pt x="551" y="2978"/>
                  </a:lnTo>
                  <a:lnTo>
                    <a:pt x="553" y="2974"/>
                  </a:lnTo>
                  <a:lnTo>
                    <a:pt x="556" y="2970"/>
                  </a:lnTo>
                  <a:lnTo>
                    <a:pt x="560" y="2966"/>
                  </a:lnTo>
                  <a:close/>
                  <a:moveTo>
                    <a:pt x="2570" y="3292"/>
                  </a:moveTo>
                  <a:lnTo>
                    <a:pt x="1990" y="2150"/>
                  </a:lnTo>
                  <a:lnTo>
                    <a:pt x="1987" y="2144"/>
                  </a:lnTo>
                  <a:lnTo>
                    <a:pt x="1986" y="2139"/>
                  </a:lnTo>
                  <a:lnTo>
                    <a:pt x="1985" y="2134"/>
                  </a:lnTo>
                  <a:lnTo>
                    <a:pt x="1985" y="2128"/>
                  </a:lnTo>
                  <a:lnTo>
                    <a:pt x="1986" y="2124"/>
                  </a:lnTo>
                  <a:lnTo>
                    <a:pt x="1987" y="2119"/>
                  </a:lnTo>
                  <a:lnTo>
                    <a:pt x="1988" y="2114"/>
                  </a:lnTo>
                  <a:lnTo>
                    <a:pt x="1990" y="2110"/>
                  </a:lnTo>
                  <a:lnTo>
                    <a:pt x="1993" y="2105"/>
                  </a:lnTo>
                  <a:lnTo>
                    <a:pt x="1996" y="2101"/>
                  </a:lnTo>
                  <a:lnTo>
                    <a:pt x="2000" y="2098"/>
                  </a:lnTo>
                  <a:lnTo>
                    <a:pt x="2003" y="2094"/>
                  </a:lnTo>
                  <a:lnTo>
                    <a:pt x="2009" y="2091"/>
                  </a:lnTo>
                  <a:lnTo>
                    <a:pt x="2013" y="2088"/>
                  </a:lnTo>
                  <a:lnTo>
                    <a:pt x="2018" y="2086"/>
                  </a:lnTo>
                  <a:lnTo>
                    <a:pt x="2024" y="2084"/>
                  </a:lnTo>
                  <a:lnTo>
                    <a:pt x="2678" y="1906"/>
                  </a:lnTo>
                  <a:lnTo>
                    <a:pt x="2693" y="1902"/>
                  </a:lnTo>
                  <a:lnTo>
                    <a:pt x="2707" y="1899"/>
                  </a:lnTo>
                  <a:lnTo>
                    <a:pt x="2720" y="1898"/>
                  </a:lnTo>
                  <a:lnTo>
                    <a:pt x="2734" y="1898"/>
                  </a:lnTo>
                  <a:lnTo>
                    <a:pt x="2746" y="1900"/>
                  </a:lnTo>
                  <a:lnTo>
                    <a:pt x="2758" y="1902"/>
                  </a:lnTo>
                  <a:lnTo>
                    <a:pt x="2769" y="1906"/>
                  </a:lnTo>
                  <a:lnTo>
                    <a:pt x="2780" y="1910"/>
                  </a:lnTo>
                  <a:lnTo>
                    <a:pt x="2791" y="1915"/>
                  </a:lnTo>
                  <a:lnTo>
                    <a:pt x="2800" y="1921"/>
                  </a:lnTo>
                  <a:lnTo>
                    <a:pt x="2809" y="1928"/>
                  </a:lnTo>
                  <a:lnTo>
                    <a:pt x="2817" y="1936"/>
                  </a:lnTo>
                  <a:lnTo>
                    <a:pt x="2825" y="1944"/>
                  </a:lnTo>
                  <a:lnTo>
                    <a:pt x="2832" y="1953"/>
                  </a:lnTo>
                  <a:lnTo>
                    <a:pt x="2838" y="1963"/>
                  </a:lnTo>
                  <a:lnTo>
                    <a:pt x="2845" y="1974"/>
                  </a:lnTo>
                  <a:lnTo>
                    <a:pt x="3216" y="2706"/>
                  </a:lnTo>
                  <a:lnTo>
                    <a:pt x="3221" y="2717"/>
                  </a:lnTo>
                  <a:lnTo>
                    <a:pt x="3225" y="2727"/>
                  </a:lnTo>
                  <a:lnTo>
                    <a:pt x="3229" y="2739"/>
                  </a:lnTo>
                  <a:lnTo>
                    <a:pt x="3231" y="2751"/>
                  </a:lnTo>
                  <a:lnTo>
                    <a:pt x="3232" y="2762"/>
                  </a:lnTo>
                  <a:lnTo>
                    <a:pt x="3233" y="2773"/>
                  </a:lnTo>
                  <a:lnTo>
                    <a:pt x="3232" y="2784"/>
                  </a:lnTo>
                  <a:lnTo>
                    <a:pt x="3230" y="2795"/>
                  </a:lnTo>
                  <a:lnTo>
                    <a:pt x="3227" y="2806"/>
                  </a:lnTo>
                  <a:lnTo>
                    <a:pt x="3223" y="2818"/>
                  </a:lnTo>
                  <a:lnTo>
                    <a:pt x="3218" y="2829"/>
                  </a:lnTo>
                  <a:lnTo>
                    <a:pt x="3212" y="2839"/>
                  </a:lnTo>
                  <a:lnTo>
                    <a:pt x="3204" y="2850"/>
                  </a:lnTo>
                  <a:lnTo>
                    <a:pt x="3194" y="2860"/>
                  </a:lnTo>
                  <a:lnTo>
                    <a:pt x="3184" y="2871"/>
                  </a:lnTo>
                  <a:lnTo>
                    <a:pt x="3173" y="2881"/>
                  </a:lnTo>
                  <a:lnTo>
                    <a:pt x="2643" y="3304"/>
                  </a:lnTo>
                  <a:lnTo>
                    <a:pt x="2638" y="3307"/>
                  </a:lnTo>
                  <a:lnTo>
                    <a:pt x="2633" y="3310"/>
                  </a:lnTo>
                  <a:lnTo>
                    <a:pt x="2629" y="3312"/>
                  </a:lnTo>
                  <a:lnTo>
                    <a:pt x="2624" y="3314"/>
                  </a:lnTo>
                  <a:lnTo>
                    <a:pt x="2619" y="3315"/>
                  </a:lnTo>
                  <a:lnTo>
                    <a:pt x="2613" y="3316"/>
                  </a:lnTo>
                  <a:lnTo>
                    <a:pt x="2608" y="3316"/>
                  </a:lnTo>
                  <a:lnTo>
                    <a:pt x="2603" y="3315"/>
                  </a:lnTo>
                  <a:lnTo>
                    <a:pt x="2598" y="3314"/>
                  </a:lnTo>
                  <a:lnTo>
                    <a:pt x="2593" y="3313"/>
                  </a:lnTo>
                  <a:lnTo>
                    <a:pt x="2588" y="3311"/>
                  </a:lnTo>
                  <a:lnTo>
                    <a:pt x="2584" y="3308"/>
                  </a:lnTo>
                  <a:lnTo>
                    <a:pt x="2580" y="3305"/>
                  </a:lnTo>
                  <a:lnTo>
                    <a:pt x="2576" y="3302"/>
                  </a:lnTo>
                  <a:lnTo>
                    <a:pt x="2573" y="3297"/>
                  </a:lnTo>
                  <a:lnTo>
                    <a:pt x="2570" y="3292"/>
                  </a:lnTo>
                  <a:close/>
                  <a:moveTo>
                    <a:pt x="3494" y="1498"/>
                  </a:moveTo>
                  <a:lnTo>
                    <a:pt x="2227" y="1688"/>
                  </a:lnTo>
                  <a:lnTo>
                    <a:pt x="2222" y="1688"/>
                  </a:lnTo>
                  <a:lnTo>
                    <a:pt x="2216" y="1688"/>
                  </a:lnTo>
                  <a:lnTo>
                    <a:pt x="2211" y="1687"/>
                  </a:lnTo>
                  <a:lnTo>
                    <a:pt x="2206" y="1686"/>
                  </a:lnTo>
                  <a:lnTo>
                    <a:pt x="2202" y="1684"/>
                  </a:lnTo>
                  <a:lnTo>
                    <a:pt x="2198" y="1681"/>
                  </a:lnTo>
                  <a:lnTo>
                    <a:pt x="2194" y="1678"/>
                  </a:lnTo>
                  <a:lnTo>
                    <a:pt x="2190" y="1675"/>
                  </a:lnTo>
                  <a:lnTo>
                    <a:pt x="2187" y="1671"/>
                  </a:lnTo>
                  <a:lnTo>
                    <a:pt x="2183" y="1667"/>
                  </a:lnTo>
                  <a:lnTo>
                    <a:pt x="2181" y="1661"/>
                  </a:lnTo>
                  <a:lnTo>
                    <a:pt x="2179" y="1657"/>
                  </a:lnTo>
                  <a:lnTo>
                    <a:pt x="2177" y="1652"/>
                  </a:lnTo>
                  <a:lnTo>
                    <a:pt x="2176" y="1646"/>
                  </a:lnTo>
                  <a:lnTo>
                    <a:pt x="2176" y="1641"/>
                  </a:lnTo>
                  <a:lnTo>
                    <a:pt x="2176" y="1635"/>
                  </a:lnTo>
                  <a:lnTo>
                    <a:pt x="2213" y="959"/>
                  </a:lnTo>
                  <a:lnTo>
                    <a:pt x="2214" y="944"/>
                  </a:lnTo>
                  <a:lnTo>
                    <a:pt x="2217" y="929"/>
                  </a:lnTo>
                  <a:lnTo>
                    <a:pt x="2220" y="915"/>
                  </a:lnTo>
                  <a:lnTo>
                    <a:pt x="2224" y="903"/>
                  </a:lnTo>
                  <a:lnTo>
                    <a:pt x="2229" y="892"/>
                  </a:lnTo>
                  <a:lnTo>
                    <a:pt x="2235" y="881"/>
                  </a:lnTo>
                  <a:lnTo>
                    <a:pt x="2241" y="871"/>
                  </a:lnTo>
                  <a:lnTo>
                    <a:pt x="2250" y="862"/>
                  </a:lnTo>
                  <a:lnTo>
                    <a:pt x="2257" y="854"/>
                  </a:lnTo>
                  <a:lnTo>
                    <a:pt x="2266" y="847"/>
                  </a:lnTo>
                  <a:lnTo>
                    <a:pt x="2275" y="841"/>
                  </a:lnTo>
                  <a:lnTo>
                    <a:pt x="2285" y="836"/>
                  </a:lnTo>
                  <a:lnTo>
                    <a:pt x="2296" y="831"/>
                  </a:lnTo>
                  <a:lnTo>
                    <a:pt x="2307" y="827"/>
                  </a:lnTo>
                  <a:lnTo>
                    <a:pt x="2319" y="824"/>
                  </a:lnTo>
                  <a:lnTo>
                    <a:pt x="2331" y="822"/>
                  </a:lnTo>
                  <a:lnTo>
                    <a:pt x="3142" y="700"/>
                  </a:lnTo>
                  <a:lnTo>
                    <a:pt x="3154" y="699"/>
                  </a:lnTo>
                  <a:lnTo>
                    <a:pt x="3166" y="699"/>
                  </a:lnTo>
                  <a:lnTo>
                    <a:pt x="3177" y="699"/>
                  </a:lnTo>
                  <a:lnTo>
                    <a:pt x="3189" y="700"/>
                  </a:lnTo>
                  <a:lnTo>
                    <a:pt x="3200" y="702"/>
                  </a:lnTo>
                  <a:lnTo>
                    <a:pt x="3211" y="706"/>
                  </a:lnTo>
                  <a:lnTo>
                    <a:pt x="3222" y="710"/>
                  </a:lnTo>
                  <a:lnTo>
                    <a:pt x="3232" y="715"/>
                  </a:lnTo>
                  <a:lnTo>
                    <a:pt x="3241" y="721"/>
                  </a:lnTo>
                  <a:lnTo>
                    <a:pt x="3250" y="728"/>
                  </a:lnTo>
                  <a:lnTo>
                    <a:pt x="3259" y="737"/>
                  </a:lnTo>
                  <a:lnTo>
                    <a:pt x="3268" y="746"/>
                  </a:lnTo>
                  <a:lnTo>
                    <a:pt x="3275" y="758"/>
                  </a:lnTo>
                  <a:lnTo>
                    <a:pt x="3282" y="769"/>
                  </a:lnTo>
                  <a:lnTo>
                    <a:pt x="3289" y="782"/>
                  </a:lnTo>
                  <a:lnTo>
                    <a:pt x="3294" y="796"/>
                  </a:lnTo>
                  <a:lnTo>
                    <a:pt x="3529" y="1433"/>
                  </a:lnTo>
                  <a:lnTo>
                    <a:pt x="3530" y="1438"/>
                  </a:lnTo>
                  <a:lnTo>
                    <a:pt x="3531" y="1443"/>
                  </a:lnTo>
                  <a:lnTo>
                    <a:pt x="3532" y="1449"/>
                  </a:lnTo>
                  <a:lnTo>
                    <a:pt x="3532" y="1454"/>
                  </a:lnTo>
                  <a:lnTo>
                    <a:pt x="3531" y="1459"/>
                  </a:lnTo>
                  <a:lnTo>
                    <a:pt x="3530" y="1464"/>
                  </a:lnTo>
                  <a:lnTo>
                    <a:pt x="3529" y="1469"/>
                  </a:lnTo>
                  <a:lnTo>
                    <a:pt x="3527" y="1474"/>
                  </a:lnTo>
                  <a:lnTo>
                    <a:pt x="3525" y="1478"/>
                  </a:lnTo>
                  <a:lnTo>
                    <a:pt x="3522" y="1483"/>
                  </a:lnTo>
                  <a:lnTo>
                    <a:pt x="3518" y="1487"/>
                  </a:lnTo>
                  <a:lnTo>
                    <a:pt x="3515" y="1490"/>
                  </a:lnTo>
                  <a:lnTo>
                    <a:pt x="3510" y="1493"/>
                  </a:lnTo>
                  <a:lnTo>
                    <a:pt x="3506" y="1495"/>
                  </a:lnTo>
                  <a:lnTo>
                    <a:pt x="3501" y="1497"/>
                  </a:lnTo>
                  <a:lnTo>
                    <a:pt x="3494" y="1498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225569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Вертикальный заголовок и текст"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3"/>
          <p:cNvSpPr>
            <a:spLocks noChangeAspect="1" noChangeArrowheads="1" noTextEdit="1"/>
          </p:cNvSpPr>
          <p:nvPr userDrawn="1"/>
        </p:nvSpPr>
        <p:spPr bwMode="auto">
          <a:xfrm>
            <a:off x="15" y="393700"/>
            <a:ext cx="9906000" cy="646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Freeform 6"/>
          <p:cNvSpPr>
            <a:spLocks/>
          </p:cNvSpPr>
          <p:nvPr userDrawn="1"/>
        </p:nvSpPr>
        <p:spPr bwMode="auto">
          <a:xfrm>
            <a:off x="6719242" y="2214742"/>
            <a:ext cx="990600" cy="2163763"/>
          </a:xfrm>
          <a:custGeom>
            <a:avLst/>
            <a:gdLst>
              <a:gd name="T0" fmla="*/ 1727 w 1727"/>
              <a:gd name="T1" fmla="*/ 4091 h 4091"/>
              <a:gd name="T2" fmla="*/ 356 w 1727"/>
              <a:gd name="T3" fmla="*/ 3560 h 4091"/>
              <a:gd name="T4" fmla="*/ 329 w 1727"/>
              <a:gd name="T5" fmla="*/ 3550 h 4091"/>
              <a:gd name="T6" fmla="*/ 304 w 1727"/>
              <a:gd name="T7" fmla="*/ 3538 h 4091"/>
              <a:gd name="T8" fmla="*/ 279 w 1727"/>
              <a:gd name="T9" fmla="*/ 3526 h 4091"/>
              <a:gd name="T10" fmla="*/ 256 w 1727"/>
              <a:gd name="T11" fmla="*/ 3514 h 4091"/>
              <a:gd name="T12" fmla="*/ 234 w 1727"/>
              <a:gd name="T13" fmla="*/ 3501 h 4091"/>
              <a:gd name="T14" fmla="*/ 213 w 1727"/>
              <a:gd name="T15" fmla="*/ 3487 h 4091"/>
              <a:gd name="T16" fmla="*/ 193 w 1727"/>
              <a:gd name="T17" fmla="*/ 3473 h 4091"/>
              <a:gd name="T18" fmla="*/ 174 w 1727"/>
              <a:gd name="T19" fmla="*/ 3458 h 4091"/>
              <a:gd name="T20" fmla="*/ 156 w 1727"/>
              <a:gd name="T21" fmla="*/ 3443 h 4091"/>
              <a:gd name="T22" fmla="*/ 140 w 1727"/>
              <a:gd name="T23" fmla="*/ 3428 h 4091"/>
              <a:gd name="T24" fmla="*/ 123 w 1727"/>
              <a:gd name="T25" fmla="*/ 3411 h 4091"/>
              <a:gd name="T26" fmla="*/ 108 w 1727"/>
              <a:gd name="T27" fmla="*/ 3394 h 4091"/>
              <a:gd name="T28" fmla="*/ 94 w 1727"/>
              <a:gd name="T29" fmla="*/ 3378 h 4091"/>
              <a:gd name="T30" fmla="*/ 81 w 1727"/>
              <a:gd name="T31" fmla="*/ 3360 h 4091"/>
              <a:gd name="T32" fmla="*/ 69 w 1727"/>
              <a:gd name="T33" fmla="*/ 3342 h 4091"/>
              <a:gd name="T34" fmla="*/ 59 w 1727"/>
              <a:gd name="T35" fmla="*/ 3324 h 4091"/>
              <a:gd name="T36" fmla="*/ 49 w 1727"/>
              <a:gd name="T37" fmla="*/ 3306 h 4091"/>
              <a:gd name="T38" fmla="*/ 40 w 1727"/>
              <a:gd name="T39" fmla="*/ 3286 h 4091"/>
              <a:gd name="T40" fmla="*/ 32 w 1727"/>
              <a:gd name="T41" fmla="*/ 3267 h 4091"/>
              <a:gd name="T42" fmla="*/ 25 w 1727"/>
              <a:gd name="T43" fmla="*/ 3247 h 4091"/>
              <a:gd name="T44" fmla="*/ 19 w 1727"/>
              <a:gd name="T45" fmla="*/ 3227 h 4091"/>
              <a:gd name="T46" fmla="*/ 13 w 1727"/>
              <a:gd name="T47" fmla="*/ 3207 h 4091"/>
              <a:gd name="T48" fmla="*/ 9 w 1727"/>
              <a:gd name="T49" fmla="*/ 3187 h 4091"/>
              <a:gd name="T50" fmla="*/ 6 w 1727"/>
              <a:gd name="T51" fmla="*/ 3165 h 4091"/>
              <a:gd name="T52" fmla="*/ 4 w 1727"/>
              <a:gd name="T53" fmla="*/ 3145 h 4091"/>
              <a:gd name="T54" fmla="*/ 1 w 1727"/>
              <a:gd name="T55" fmla="*/ 3123 h 4091"/>
              <a:gd name="T56" fmla="*/ 0 w 1727"/>
              <a:gd name="T57" fmla="*/ 3102 h 4091"/>
              <a:gd name="T58" fmla="*/ 0 w 1727"/>
              <a:gd name="T59" fmla="*/ 3080 h 4091"/>
              <a:gd name="T60" fmla="*/ 1 w 1727"/>
              <a:gd name="T61" fmla="*/ 3058 h 4091"/>
              <a:gd name="T62" fmla="*/ 4 w 1727"/>
              <a:gd name="T63" fmla="*/ 3036 h 4091"/>
              <a:gd name="T64" fmla="*/ 6 w 1727"/>
              <a:gd name="T65" fmla="*/ 3014 h 4091"/>
              <a:gd name="T66" fmla="*/ 9 w 1727"/>
              <a:gd name="T67" fmla="*/ 2991 h 4091"/>
              <a:gd name="T68" fmla="*/ 508 w 1727"/>
              <a:gd name="T69" fmla="*/ 0 h 4091"/>
              <a:gd name="T70" fmla="*/ 482 w 1727"/>
              <a:gd name="T71" fmla="*/ 2806 h 4091"/>
              <a:gd name="T72" fmla="*/ 483 w 1727"/>
              <a:gd name="T73" fmla="*/ 2832 h 4091"/>
              <a:gd name="T74" fmla="*/ 484 w 1727"/>
              <a:gd name="T75" fmla="*/ 2859 h 4091"/>
              <a:gd name="T76" fmla="*/ 487 w 1727"/>
              <a:gd name="T77" fmla="*/ 2885 h 4091"/>
              <a:gd name="T78" fmla="*/ 492 w 1727"/>
              <a:gd name="T79" fmla="*/ 2910 h 4091"/>
              <a:gd name="T80" fmla="*/ 497 w 1727"/>
              <a:gd name="T81" fmla="*/ 2937 h 4091"/>
              <a:gd name="T82" fmla="*/ 504 w 1727"/>
              <a:gd name="T83" fmla="*/ 2963 h 4091"/>
              <a:gd name="T84" fmla="*/ 511 w 1727"/>
              <a:gd name="T85" fmla="*/ 2989 h 4091"/>
              <a:gd name="T86" fmla="*/ 521 w 1727"/>
              <a:gd name="T87" fmla="*/ 3015 h 4091"/>
              <a:gd name="T88" fmla="*/ 531 w 1727"/>
              <a:gd name="T89" fmla="*/ 3039 h 4091"/>
              <a:gd name="T90" fmla="*/ 542 w 1727"/>
              <a:gd name="T91" fmla="*/ 3064 h 4091"/>
              <a:gd name="T92" fmla="*/ 555 w 1727"/>
              <a:gd name="T93" fmla="*/ 3086 h 4091"/>
              <a:gd name="T94" fmla="*/ 569 w 1727"/>
              <a:gd name="T95" fmla="*/ 3109 h 4091"/>
              <a:gd name="T96" fmla="*/ 585 w 1727"/>
              <a:gd name="T97" fmla="*/ 3131 h 4091"/>
              <a:gd name="T98" fmla="*/ 602 w 1727"/>
              <a:gd name="T99" fmla="*/ 3150 h 4091"/>
              <a:gd name="T100" fmla="*/ 619 w 1727"/>
              <a:gd name="T101" fmla="*/ 3168 h 4091"/>
              <a:gd name="T102" fmla="*/ 639 w 1727"/>
              <a:gd name="T103" fmla="*/ 3186 h 4091"/>
              <a:gd name="T104" fmla="*/ 1727 w 1727"/>
              <a:gd name="T105" fmla="*/ 4091 h 40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727" h="4091">
                <a:moveTo>
                  <a:pt x="1727" y="4091"/>
                </a:moveTo>
                <a:lnTo>
                  <a:pt x="356" y="3560"/>
                </a:lnTo>
                <a:lnTo>
                  <a:pt x="329" y="3550"/>
                </a:lnTo>
                <a:lnTo>
                  <a:pt x="304" y="3538"/>
                </a:lnTo>
                <a:lnTo>
                  <a:pt x="279" y="3526"/>
                </a:lnTo>
                <a:lnTo>
                  <a:pt x="256" y="3514"/>
                </a:lnTo>
                <a:lnTo>
                  <a:pt x="234" y="3501"/>
                </a:lnTo>
                <a:lnTo>
                  <a:pt x="213" y="3487"/>
                </a:lnTo>
                <a:lnTo>
                  <a:pt x="193" y="3473"/>
                </a:lnTo>
                <a:lnTo>
                  <a:pt x="174" y="3458"/>
                </a:lnTo>
                <a:lnTo>
                  <a:pt x="156" y="3443"/>
                </a:lnTo>
                <a:lnTo>
                  <a:pt x="140" y="3428"/>
                </a:lnTo>
                <a:lnTo>
                  <a:pt x="123" y="3411"/>
                </a:lnTo>
                <a:lnTo>
                  <a:pt x="108" y="3394"/>
                </a:lnTo>
                <a:lnTo>
                  <a:pt x="94" y="3378"/>
                </a:lnTo>
                <a:lnTo>
                  <a:pt x="81" y="3360"/>
                </a:lnTo>
                <a:lnTo>
                  <a:pt x="69" y="3342"/>
                </a:lnTo>
                <a:lnTo>
                  <a:pt x="59" y="3324"/>
                </a:lnTo>
                <a:lnTo>
                  <a:pt x="49" y="3306"/>
                </a:lnTo>
                <a:lnTo>
                  <a:pt x="40" y="3286"/>
                </a:lnTo>
                <a:lnTo>
                  <a:pt x="32" y="3267"/>
                </a:lnTo>
                <a:lnTo>
                  <a:pt x="25" y="3247"/>
                </a:lnTo>
                <a:lnTo>
                  <a:pt x="19" y="3227"/>
                </a:lnTo>
                <a:lnTo>
                  <a:pt x="13" y="3207"/>
                </a:lnTo>
                <a:lnTo>
                  <a:pt x="9" y="3187"/>
                </a:lnTo>
                <a:lnTo>
                  <a:pt x="6" y="3165"/>
                </a:lnTo>
                <a:lnTo>
                  <a:pt x="4" y="3145"/>
                </a:lnTo>
                <a:lnTo>
                  <a:pt x="1" y="3123"/>
                </a:lnTo>
                <a:lnTo>
                  <a:pt x="0" y="3102"/>
                </a:lnTo>
                <a:lnTo>
                  <a:pt x="0" y="3080"/>
                </a:lnTo>
                <a:lnTo>
                  <a:pt x="1" y="3058"/>
                </a:lnTo>
                <a:lnTo>
                  <a:pt x="4" y="3036"/>
                </a:lnTo>
                <a:lnTo>
                  <a:pt x="6" y="3014"/>
                </a:lnTo>
                <a:lnTo>
                  <a:pt x="9" y="2991"/>
                </a:lnTo>
                <a:lnTo>
                  <a:pt x="508" y="0"/>
                </a:lnTo>
                <a:lnTo>
                  <a:pt x="482" y="2806"/>
                </a:lnTo>
                <a:lnTo>
                  <a:pt x="483" y="2832"/>
                </a:lnTo>
                <a:lnTo>
                  <a:pt x="484" y="2859"/>
                </a:lnTo>
                <a:lnTo>
                  <a:pt x="487" y="2885"/>
                </a:lnTo>
                <a:lnTo>
                  <a:pt x="492" y="2910"/>
                </a:lnTo>
                <a:lnTo>
                  <a:pt x="497" y="2937"/>
                </a:lnTo>
                <a:lnTo>
                  <a:pt x="504" y="2963"/>
                </a:lnTo>
                <a:lnTo>
                  <a:pt x="511" y="2989"/>
                </a:lnTo>
                <a:lnTo>
                  <a:pt x="521" y="3015"/>
                </a:lnTo>
                <a:lnTo>
                  <a:pt x="531" y="3039"/>
                </a:lnTo>
                <a:lnTo>
                  <a:pt x="542" y="3064"/>
                </a:lnTo>
                <a:lnTo>
                  <a:pt x="555" y="3086"/>
                </a:lnTo>
                <a:lnTo>
                  <a:pt x="569" y="3109"/>
                </a:lnTo>
                <a:lnTo>
                  <a:pt x="585" y="3131"/>
                </a:lnTo>
                <a:lnTo>
                  <a:pt x="602" y="3150"/>
                </a:lnTo>
                <a:lnTo>
                  <a:pt x="619" y="3168"/>
                </a:lnTo>
                <a:lnTo>
                  <a:pt x="639" y="3186"/>
                </a:lnTo>
                <a:lnTo>
                  <a:pt x="1727" y="4091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Freeform 8"/>
          <p:cNvSpPr>
            <a:spLocks/>
          </p:cNvSpPr>
          <p:nvPr userDrawn="1"/>
        </p:nvSpPr>
        <p:spPr bwMode="auto">
          <a:xfrm>
            <a:off x="9102939" y="3473452"/>
            <a:ext cx="803143" cy="1114425"/>
          </a:xfrm>
          <a:custGeom>
            <a:avLst/>
            <a:gdLst>
              <a:gd name="T0" fmla="*/ 0 w 1401"/>
              <a:gd name="T1" fmla="*/ 2106 h 2106"/>
              <a:gd name="T2" fmla="*/ 81 w 1401"/>
              <a:gd name="T3" fmla="*/ 638 h 2106"/>
              <a:gd name="T4" fmla="*/ 82 w 1401"/>
              <a:gd name="T5" fmla="*/ 609 h 2106"/>
              <a:gd name="T6" fmla="*/ 86 w 1401"/>
              <a:gd name="T7" fmla="*/ 581 h 2106"/>
              <a:gd name="T8" fmla="*/ 90 w 1401"/>
              <a:gd name="T9" fmla="*/ 555 h 2106"/>
              <a:gd name="T10" fmla="*/ 94 w 1401"/>
              <a:gd name="T11" fmla="*/ 529 h 2106"/>
              <a:gd name="T12" fmla="*/ 100 w 1401"/>
              <a:gd name="T13" fmla="*/ 504 h 2106"/>
              <a:gd name="T14" fmla="*/ 106 w 1401"/>
              <a:gd name="T15" fmla="*/ 480 h 2106"/>
              <a:gd name="T16" fmla="*/ 114 w 1401"/>
              <a:gd name="T17" fmla="*/ 456 h 2106"/>
              <a:gd name="T18" fmla="*/ 122 w 1401"/>
              <a:gd name="T19" fmla="*/ 433 h 2106"/>
              <a:gd name="T20" fmla="*/ 131 w 1401"/>
              <a:gd name="T21" fmla="*/ 412 h 2106"/>
              <a:gd name="T22" fmla="*/ 141 w 1401"/>
              <a:gd name="T23" fmla="*/ 391 h 2106"/>
              <a:gd name="T24" fmla="*/ 151 w 1401"/>
              <a:gd name="T25" fmla="*/ 371 h 2106"/>
              <a:gd name="T26" fmla="*/ 162 w 1401"/>
              <a:gd name="T27" fmla="*/ 351 h 2106"/>
              <a:gd name="T28" fmla="*/ 174 w 1401"/>
              <a:gd name="T29" fmla="*/ 333 h 2106"/>
              <a:gd name="T30" fmla="*/ 187 w 1401"/>
              <a:gd name="T31" fmla="*/ 316 h 2106"/>
              <a:gd name="T32" fmla="*/ 200 w 1401"/>
              <a:gd name="T33" fmla="*/ 299 h 2106"/>
              <a:gd name="T34" fmla="*/ 214 w 1401"/>
              <a:gd name="T35" fmla="*/ 283 h 2106"/>
              <a:gd name="T36" fmla="*/ 229 w 1401"/>
              <a:gd name="T37" fmla="*/ 268 h 2106"/>
              <a:gd name="T38" fmla="*/ 244 w 1401"/>
              <a:gd name="T39" fmla="*/ 253 h 2106"/>
              <a:gd name="T40" fmla="*/ 259 w 1401"/>
              <a:gd name="T41" fmla="*/ 240 h 2106"/>
              <a:gd name="T42" fmla="*/ 277 w 1401"/>
              <a:gd name="T43" fmla="*/ 227 h 2106"/>
              <a:gd name="T44" fmla="*/ 294 w 1401"/>
              <a:gd name="T45" fmla="*/ 215 h 2106"/>
              <a:gd name="T46" fmla="*/ 311 w 1401"/>
              <a:gd name="T47" fmla="*/ 203 h 2106"/>
              <a:gd name="T48" fmla="*/ 330 w 1401"/>
              <a:gd name="T49" fmla="*/ 194 h 2106"/>
              <a:gd name="T50" fmla="*/ 348 w 1401"/>
              <a:gd name="T51" fmla="*/ 184 h 2106"/>
              <a:gd name="T52" fmla="*/ 367 w 1401"/>
              <a:gd name="T53" fmla="*/ 174 h 2106"/>
              <a:gd name="T54" fmla="*/ 387 w 1401"/>
              <a:gd name="T55" fmla="*/ 167 h 2106"/>
              <a:gd name="T56" fmla="*/ 407 w 1401"/>
              <a:gd name="T57" fmla="*/ 159 h 2106"/>
              <a:gd name="T58" fmla="*/ 428 w 1401"/>
              <a:gd name="T59" fmla="*/ 153 h 2106"/>
              <a:gd name="T60" fmla="*/ 450 w 1401"/>
              <a:gd name="T61" fmla="*/ 146 h 2106"/>
              <a:gd name="T62" fmla="*/ 471 w 1401"/>
              <a:gd name="T63" fmla="*/ 141 h 2106"/>
              <a:gd name="T64" fmla="*/ 493 w 1401"/>
              <a:gd name="T65" fmla="*/ 136 h 2106"/>
              <a:gd name="T66" fmla="*/ 515 w 1401"/>
              <a:gd name="T67" fmla="*/ 133 h 2106"/>
              <a:gd name="T68" fmla="*/ 1401 w 1401"/>
              <a:gd name="T69" fmla="*/ 0 h 2106"/>
              <a:gd name="T70" fmla="*/ 1401 w 1401"/>
              <a:gd name="T71" fmla="*/ 348 h 2106"/>
              <a:gd name="T72" fmla="*/ 837 w 1401"/>
              <a:gd name="T73" fmla="*/ 525 h 2106"/>
              <a:gd name="T74" fmla="*/ 813 w 1401"/>
              <a:gd name="T75" fmla="*/ 534 h 2106"/>
              <a:gd name="T76" fmla="*/ 789 w 1401"/>
              <a:gd name="T77" fmla="*/ 543 h 2106"/>
              <a:gd name="T78" fmla="*/ 765 w 1401"/>
              <a:gd name="T79" fmla="*/ 554 h 2106"/>
              <a:gd name="T80" fmla="*/ 740 w 1401"/>
              <a:gd name="T81" fmla="*/ 566 h 2106"/>
              <a:gd name="T82" fmla="*/ 717 w 1401"/>
              <a:gd name="T83" fmla="*/ 580 h 2106"/>
              <a:gd name="T84" fmla="*/ 695 w 1401"/>
              <a:gd name="T85" fmla="*/ 594 h 2106"/>
              <a:gd name="T86" fmla="*/ 672 w 1401"/>
              <a:gd name="T87" fmla="*/ 609 h 2106"/>
              <a:gd name="T88" fmla="*/ 650 w 1401"/>
              <a:gd name="T89" fmla="*/ 627 h 2106"/>
              <a:gd name="T90" fmla="*/ 631 w 1401"/>
              <a:gd name="T91" fmla="*/ 644 h 2106"/>
              <a:gd name="T92" fmla="*/ 612 w 1401"/>
              <a:gd name="T93" fmla="*/ 662 h 2106"/>
              <a:gd name="T94" fmla="*/ 593 w 1401"/>
              <a:gd name="T95" fmla="*/ 682 h 2106"/>
              <a:gd name="T96" fmla="*/ 576 w 1401"/>
              <a:gd name="T97" fmla="*/ 702 h 2106"/>
              <a:gd name="T98" fmla="*/ 561 w 1401"/>
              <a:gd name="T99" fmla="*/ 724 h 2106"/>
              <a:gd name="T100" fmla="*/ 547 w 1401"/>
              <a:gd name="T101" fmla="*/ 745 h 2106"/>
              <a:gd name="T102" fmla="*/ 535 w 1401"/>
              <a:gd name="T103" fmla="*/ 768 h 2106"/>
              <a:gd name="T104" fmla="*/ 524 w 1401"/>
              <a:gd name="T105" fmla="*/ 792 h 2106"/>
              <a:gd name="T106" fmla="*/ 0 w 1401"/>
              <a:gd name="T107" fmla="*/ 2106 h 2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401" h="2106">
                <a:moveTo>
                  <a:pt x="0" y="2106"/>
                </a:moveTo>
                <a:lnTo>
                  <a:pt x="81" y="638"/>
                </a:lnTo>
                <a:lnTo>
                  <a:pt x="82" y="609"/>
                </a:lnTo>
                <a:lnTo>
                  <a:pt x="86" y="581"/>
                </a:lnTo>
                <a:lnTo>
                  <a:pt x="90" y="555"/>
                </a:lnTo>
                <a:lnTo>
                  <a:pt x="94" y="529"/>
                </a:lnTo>
                <a:lnTo>
                  <a:pt x="100" y="504"/>
                </a:lnTo>
                <a:lnTo>
                  <a:pt x="106" y="480"/>
                </a:lnTo>
                <a:lnTo>
                  <a:pt x="114" y="456"/>
                </a:lnTo>
                <a:lnTo>
                  <a:pt x="122" y="433"/>
                </a:lnTo>
                <a:lnTo>
                  <a:pt x="131" y="412"/>
                </a:lnTo>
                <a:lnTo>
                  <a:pt x="141" y="391"/>
                </a:lnTo>
                <a:lnTo>
                  <a:pt x="151" y="371"/>
                </a:lnTo>
                <a:lnTo>
                  <a:pt x="162" y="351"/>
                </a:lnTo>
                <a:lnTo>
                  <a:pt x="174" y="333"/>
                </a:lnTo>
                <a:lnTo>
                  <a:pt x="187" y="316"/>
                </a:lnTo>
                <a:lnTo>
                  <a:pt x="200" y="299"/>
                </a:lnTo>
                <a:lnTo>
                  <a:pt x="214" y="283"/>
                </a:lnTo>
                <a:lnTo>
                  <a:pt x="229" y="268"/>
                </a:lnTo>
                <a:lnTo>
                  <a:pt x="244" y="253"/>
                </a:lnTo>
                <a:lnTo>
                  <a:pt x="259" y="240"/>
                </a:lnTo>
                <a:lnTo>
                  <a:pt x="277" y="227"/>
                </a:lnTo>
                <a:lnTo>
                  <a:pt x="294" y="215"/>
                </a:lnTo>
                <a:lnTo>
                  <a:pt x="311" y="203"/>
                </a:lnTo>
                <a:lnTo>
                  <a:pt x="330" y="194"/>
                </a:lnTo>
                <a:lnTo>
                  <a:pt x="348" y="184"/>
                </a:lnTo>
                <a:lnTo>
                  <a:pt x="367" y="174"/>
                </a:lnTo>
                <a:lnTo>
                  <a:pt x="387" y="167"/>
                </a:lnTo>
                <a:lnTo>
                  <a:pt x="407" y="159"/>
                </a:lnTo>
                <a:lnTo>
                  <a:pt x="428" y="153"/>
                </a:lnTo>
                <a:lnTo>
                  <a:pt x="450" y="146"/>
                </a:lnTo>
                <a:lnTo>
                  <a:pt x="471" y="141"/>
                </a:lnTo>
                <a:lnTo>
                  <a:pt x="493" y="136"/>
                </a:lnTo>
                <a:lnTo>
                  <a:pt x="515" y="133"/>
                </a:lnTo>
                <a:lnTo>
                  <a:pt x="1401" y="0"/>
                </a:lnTo>
                <a:lnTo>
                  <a:pt x="1401" y="348"/>
                </a:lnTo>
                <a:lnTo>
                  <a:pt x="837" y="525"/>
                </a:lnTo>
                <a:lnTo>
                  <a:pt x="813" y="534"/>
                </a:lnTo>
                <a:lnTo>
                  <a:pt x="789" y="543"/>
                </a:lnTo>
                <a:lnTo>
                  <a:pt x="765" y="554"/>
                </a:lnTo>
                <a:lnTo>
                  <a:pt x="740" y="566"/>
                </a:lnTo>
                <a:lnTo>
                  <a:pt x="717" y="580"/>
                </a:lnTo>
                <a:lnTo>
                  <a:pt x="695" y="594"/>
                </a:lnTo>
                <a:lnTo>
                  <a:pt x="672" y="609"/>
                </a:lnTo>
                <a:lnTo>
                  <a:pt x="650" y="627"/>
                </a:lnTo>
                <a:lnTo>
                  <a:pt x="631" y="644"/>
                </a:lnTo>
                <a:lnTo>
                  <a:pt x="612" y="662"/>
                </a:lnTo>
                <a:lnTo>
                  <a:pt x="593" y="682"/>
                </a:lnTo>
                <a:lnTo>
                  <a:pt x="576" y="702"/>
                </a:lnTo>
                <a:lnTo>
                  <a:pt x="561" y="724"/>
                </a:lnTo>
                <a:lnTo>
                  <a:pt x="547" y="745"/>
                </a:lnTo>
                <a:lnTo>
                  <a:pt x="535" y="768"/>
                </a:lnTo>
                <a:lnTo>
                  <a:pt x="524" y="792"/>
                </a:lnTo>
                <a:lnTo>
                  <a:pt x="0" y="2106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1" name="Freeform 10"/>
          <p:cNvSpPr>
            <a:spLocks/>
          </p:cNvSpPr>
          <p:nvPr userDrawn="1"/>
        </p:nvSpPr>
        <p:spPr bwMode="auto">
          <a:xfrm>
            <a:off x="9321287" y="5721350"/>
            <a:ext cx="584729" cy="179388"/>
          </a:xfrm>
          <a:custGeom>
            <a:avLst/>
            <a:gdLst>
              <a:gd name="T0" fmla="*/ 0 w 1021"/>
              <a:gd name="T1" fmla="*/ 278 h 338"/>
              <a:gd name="T2" fmla="*/ 1021 w 1021"/>
              <a:gd name="T3" fmla="*/ 0 h 338"/>
              <a:gd name="T4" fmla="*/ 1021 w 1021"/>
              <a:gd name="T5" fmla="*/ 338 h 338"/>
              <a:gd name="T6" fmla="*/ 0 w 1021"/>
              <a:gd name="T7" fmla="*/ 278 h 3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21" h="338">
                <a:moveTo>
                  <a:pt x="0" y="278"/>
                </a:moveTo>
                <a:lnTo>
                  <a:pt x="1021" y="0"/>
                </a:lnTo>
                <a:lnTo>
                  <a:pt x="1021" y="338"/>
                </a:lnTo>
                <a:lnTo>
                  <a:pt x="0" y="278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3" name="Freeform 12"/>
          <p:cNvSpPr>
            <a:spLocks/>
          </p:cNvSpPr>
          <p:nvPr userDrawn="1"/>
        </p:nvSpPr>
        <p:spPr bwMode="auto">
          <a:xfrm>
            <a:off x="8057225" y="6461304"/>
            <a:ext cx="278606" cy="396875"/>
          </a:xfrm>
          <a:custGeom>
            <a:avLst/>
            <a:gdLst>
              <a:gd name="T0" fmla="*/ 0 w 484"/>
              <a:gd name="T1" fmla="*/ 0 h 749"/>
              <a:gd name="T2" fmla="*/ 484 w 484"/>
              <a:gd name="T3" fmla="*/ 749 h 749"/>
              <a:gd name="T4" fmla="*/ 191 w 484"/>
              <a:gd name="T5" fmla="*/ 749 h 749"/>
              <a:gd name="T6" fmla="*/ 0 w 484"/>
              <a:gd name="T7" fmla="*/ 0 h 7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4" h="749">
                <a:moveTo>
                  <a:pt x="0" y="0"/>
                </a:moveTo>
                <a:lnTo>
                  <a:pt x="484" y="749"/>
                </a:lnTo>
                <a:lnTo>
                  <a:pt x="191" y="749"/>
                </a:lnTo>
                <a:lnTo>
                  <a:pt x="0" y="0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5" name="Freeform 14"/>
          <p:cNvSpPr>
            <a:spLocks/>
          </p:cNvSpPr>
          <p:nvPr userDrawn="1"/>
        </p:nvSpPr>
        <p:spPr bwMode="auto">
          <a:xfrm>
            <a:off x="4617648" y="5487988"/>
            <a:ext cx="2445544" cy="769938"/>
          </a:xfrm>
          <a:custGeom>
            <a:avLst/>
            <a:gdLst>
              <a:gd name="T0" fmla="*/ 4268 w 4268"/>
              <a:gd name="T1" fmla="*/ 95 h 1455"/>
              <a:gd name="T2" fmla="*/ 3342 w 4268"/>
              <a:gd name="T3" fmla="*/ 1237 h 1455"/>
              <a:gd name="T4" fmla="*/ 3324 w 4268"/>
              <a:gd name="T5" fmla="*/ 1259 h 1455"/>
              <a:gd name="T6" fmla="*/ 3305 w 4268"/>
              <a:gd name="T7" fmla="*/ 1280 h 1455"/>
              <a:gd name="T8" fmla="*/ 3287 w 4268"/>
              <a:gd name="T9" fmla="*/ 1300 h 1455"/>
              <a:gd name="T10" fmla="*/ 3268 w 4268"/>
              <a:gd name="T11" fmla="*/ 1317 h 1455"/>
              <a:gd name="T12" fmla="*/ 3248 w 4268"/>
              <a:gd name="T13" fmla="*/ 1334 h 1455"/>
              <a:gd name="T14" fmla="*/ 3229 w 4268"/>
              <a:gd name="T15" fmla="*/ 1351 h 1455"/>
              <a:gd name="T16" fmla="*/ 3209 w 4268"/>
              <a:gd name="T17" fmla="*/ 1366 h 1455"/>
              <a:gd name="T18" fmla="*/ 3190 w 4268"/>
              <a:gd name="T19" fmla="*/ 1379 h 1455"/>
              <a:gd name="T20" fmla="*/ 3169 w 4268"/>
              <a:gd name="T21" fmla="*/ 1392 h 1455"/>
              <a:gd name="T22" fmla="*/ 3150 w 4268"/>
              <a:gd name="T23" fmla="*/ 1402 h 1455"/>
              <a:gd name="T24" fmla="*/ 3129 w 4268"/>
              <a:gd name="T25" fmla="*/ 1412 h 1455"/>
              <a:gd name="T26" fmla="*/ 3109 w 4268"/>
              <a:gd name="T27" fmla="*/ 1422 h 1455"/>
              <a:gd name="T28" fmla="*/ 3088 w 4268"/>
              <a:gd name="T29" fmla="*/ 1429 h 1455"/>
              <a:gd name="T30" fmla="*/ 3068 w 4268"/>
              <a:gd name="T31" fmla="*/ 1436 h 1455"/>
              <a:gd name="T32" fmla="*/ 3047 w 4268"/>
              <a:gd name="T33" fmla="*/ 1442 h 1455"/>
              <a:gd name="T34" fmla="*/ 3027 w 4268"/>
              <a:gd name="T35" fmla="*/ 1447 h 1455"/>
              <a:gd name="T36" fmla="*/ 3006 w 4268"/>
              <a:gd name="T37" fmla="*/ 1451 h 1455"/>
              <a:gd name="T38" fmla="*/ 2985 w 4268"/>
              <a:gd name="T39" fmla="*/ 1453 h 1455"/>
              <a:gd name="T40" fmla="*/ 2964 w 4268"/>
              <a:gd name="T41" fmla="*/ 1455 h 1455"/>
              <a:gd name="T42" fmla="*/ 2944 w 4268"/>
              <a:gd name="T43" fmla="*/ 1455 h 1455"/>
              <a:gd name="T44" fmla="*/ 2922 w 4268"/>
              <a:gd name="T45" fmla="*/ 1455 h 1455"/>
              <a:gd name="T46" fmla="*/ 2902 w 4268"/>
              <a:gd name="T47" fmla="*/ 1454 h 1455"/>
              <a:gd name="T48" fmla="*/ 2881 w 4268"/>
              <a:gd name="T49" fmla="*/ 1452 h 1455"/>
              <a:gd name="T50" fmla="*/ 2859 w 4268"/>
              <a:gd name="T51" fmla="*/ 1449 h 1455"/>
              <a:gd name="T52" fmla="*/ 2839 w 4268"/>
              <a:gd name="T53" fmla="*/ 1444 h 1455"/>
              <a:gd name="T54" fmla="*/ 2818 w 4268"/>
              <a:gd name="T55" fmla="*/ 1440 h 1455"/>
              <a:gd name="T56" fmla="*/ 2797 w 4268"/>
              <a:gd name="T57" fmla="*/ 1434 h 1455"/>
              <a:gd name="T58" fmla="*/ 2776 w 4268"/>
              <a:gd name="T59" fmla="*/ 1427 h 1455"/>
              <a:gd name="T60" fmla="*/ 2756 w 4268"/>
              <a:gd name="T61" fmla="*/ 1420 h 1455"/>
              <a:gd name="T62" fmla="*/ 2735 w 4268"/>
              <a:gd name="T63" fmla="*/ 1411 h 1455"/>
              <a:gd name="T64" fmla="*/ 2715 w 4268"/>
              <a:gd name="T65" fmla="*/ 1402 h 1455"/>
              <a:gd name="T66" fmla="*/ 2694 w 4268"/>
              <a:gd name="T67" fmla="*/ 1393 h 1455"/>
              <a:gd name="T68" fmla="*/ 0 w 4268"/>
              <a:gd name="T69" fmla="*/ 0 h 1455"/>
              <a:gd name="T70" fmla="*/ 2664 w 4268"/>
              <a:gd name="T71" fmla="*/ 885 h 1455"/>
              <a:gd name="T72" fmla="*/ 2688 w 4268"/>
              <a:gd name="T73" fmla="*/ 893 h 1455"/>
              <a:gd name="T74" fmla="*/ 2714 w 4268"/>
              <a:gd name="T75" fmla="*/ 899 h 1455"/>
              <a:gd name="T76" fmla="*/ 2740 w 4268"/>
              <a:gd name="T77" fmla="*/ 905 h 1455"/>
              <a:gd name="T78" fmla="*/ 2767 w 4268"/>
              <a:gd name="T79" fmla="*/ 909 h 1455"/>
              <a:gd name="T80" fmla="*/ 2792 w 4268"/>
              <a:gd name="T81" fmla="*/ 911 h 1455"/>
              <a:gd name="T82" fmla="*/ 2819 w 4268"/>
              <a:gd name="T83" fmla="*/ 913 h 1455"/>
              <a:gd name="T84" fmla="*/ 2846 w 4268"/>
              <a:gd name="T85" fmla="*/ 913 h 1455"/>
              <a:gd name="T86" fmla="*/ 2873 w 4268"/>
              <a:gd name="T87" fmla="*/ 913 h 1455"/>
              <a:gd name="T88" fmla="*/ 2900 w 4268"/>
              <a:gd name="T89" fmla="*/ 910 h 1455"/>
              <a:gd name="T90" fmla="*/ 2927 w 4268"/>
              <a:gd name="T91" fmla="*/ 907 h 1455"/>
              <a:gd name="T92" fmla="*/ 2953 w 4268"/>
              <a:gd name="T93" fmla="*/ 901 h 1455"/>
              <a:gd name="T94" fmla="*/ 2979 w 4268"/>
              <a:gd name="T95" fmla="*/ 895 h 1455"/>
              <a:gd name="T96" fmla="*/ 3004 w 4268"/>
              <a:gd name="T97" fmla="*/ 887 h 1455"/>
              <a:gd name="T98" fmla="*/ 3028 w 4268"/>
              <a:gd name="T99" fmla="*/ 878 h 1455"/>
              <a:gd name="T100" fmla="*/ 3051 w 4268"/>
              <a:gd name="T101" fmla="*/ 866 h 1455"/>
              <a:gd name="T102" fmla="*/ 3073 w 4268"/>
              <a:gd name="T103" fmla="*/ 853 h 1455"/>
              <a:gd name="T104" fmla="*/ 4268 w 4268"/>
              <a:gd name="T105" fmla="*/ 95 h 14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268" h="1455">
                <a:moveTo>
                  <a:pt x="4268" y="95"/>
                </a:moveTo>
                <a:lnTo>
                  <a:pt x="3342" y="1237"/>
                </a:lnTo>
                <a:lnTo>
                  <a:pt x="3324" y="1259"/>
                </a:lnTo>
                <a:lnTo>
                  <a:pt x="3305" y="1280"/>
                </a:lnTo>
                <a:lnTo>
                  <a:pt x="3287" y="1300"/>
                </a:lnTo>
                <a:lnTo>
                  <a:pt x="3268" y="1317"/>
                </a:lnTo>
                <a:lnTo>
                  <a:pt x="3248" y="1334"/>
                </a:lnTo>
                <a:lnTo>
                  <a:pt x="3229" y="1351"/>
                </a:lnTo>
                <a:lnTo>
                  <a:pt x="3209" y="1366"/>
                </a:lnTo>
                <a:lnTo>
                  <a:pt x="3190" y="1379"/>
                </a:lnTo>
                <a:lnTo>
                  <a:pt x="3169" y="1392"/>
                </a:lnTo>
                <a:lnTo>
                  <a:pt x="3150" y="1402"/>
                </a:lnTo>
                <a:lnTo>
                  <a:pt x="3129" y="1412"/>
                </a:lnTo>
                <a:lnTo>
                  <a:pt x="3109" y="1422"/>
                </a:lnTo>
                <a:lnTo>
                  <a:pt x="3088" y="1429"/>
                </a:lnTo>
                <a:lnTo>
                  <a:pt x="3068" y="1436"/>
                </a:lnTo>
                <a:lnTo>
                  <a:pt x="3047" y="1442"/>
                </a:lnTo>
                <a:lnTo>
                  <a:pt x="3027" y="1447"/>
                </a:lnTo>
                <a:lnTo>
                  <a:pt x="3006" y="1451"/>
                </a:lnTo>
                <a:lnTo>
                  <a:pt x="2985" y="1453"/>
                </a:lnTo>
                <a:lnTo>
                  <a:pt x="2964" y="1455"/>
                </a:lnTo>
                <a:lnTo>
                  <a:pt x="2944" y="1455"/>
                </a:lnTo>
                <a:lnTo>
                  <a:pt x="2922" y="1455"/>
                </a:lnTo>
                <a:lnTo>
                  <a:pt x="2902" y="1454"/>
                </a:lnTo>
                <a:lnTo>
                  <a:pt x="2881" y="1452"/>
                </a:lnTo>
                <a:lnTo>
                  <a:pt x="2859" y="1449"/>
                </a:lnTo>
                <a:lnTo>
                  <a:pt x="2839" y="1444"/>
                </a:lnTo>
                <a:lnTo>
                  <a:pt x="2818" y="1440"/>
                </a:lnTo>
                <a:lnTo>
                  <a:pt x="2797" y="1434"/>
                </a:lnTo>
                <a:lnTo>
                  <a:pt x="2776" y="1427"/>
                </a:lnTo>
                <a:lnTo>
                  <a:pt x="2756" y="1420"/>
                </a:lnTo>
                <a:lnTo>
                  <a:pt x="2735" y="1411"/>
                </a:lnTo>
                <a:lnTo>
                  <a:pt x="2715" y="1402"/>
                </a:lnTo>
                <a:lnTo>
                  <a:pt x="2694" y="1393"/>
                </a:lnTo>
                <a:lnTo>
                  <a:pt x="0" y="0"/>
                </a:lnTo>
                <a:lnTo>
                  <a:pt x="2664" y="885"/>
                </a:lnTo>
                <a:lnTo>
                  <a:pt x="2688" y="893"/>
                </a:lnTo>
                <a:lnTo>
                  <a:pt x="2714" y="899"/>
                </a:lnTo>
                <a:lnTo>
                  <a:pt x="2740" y="905"/>
                </a:lnTo>
                <a:lnTo>
                  <a:pt x="2767" y="909"/>
                </a:lnTo>
                <a:lnTo>
                  <a:pt x="2792" y="911"/>
                </a:lnTo>
                <a:lnTo>
                  <a:pt x="2819" y="913"/>
                </a:lnTo>
                <a:lnTo>
                  <a:pt x="2846" y="913"/>
                </a:lnTo>
                <a:lnTo>
                  <a:pt x="2873" y="913"/>
                </a:lnTo>
                <a:lnTo>
                  <a:pt x="2900" y="910"/>
                </a:lnTo>
                <a:lnTo>
                  <a:pt x="2927" y="907"/>
                </a:lnTo>
                <a:lnTo>
                  <a:pt x="2953" y="901"/>
                </a:lnTo>
                <a:lnTo>
                  <a:pt x="2979" y="895"/>
                </a:lnTo>
                <a:lnTo>
                  <a:pt x="3004" y="887"/>
                </a:lnTo>
                <a:lnTo>
                  <a:pt x="3028" y="878"/>
                </a:lnTo>
                <a:lnTo>
                  <a:pt x="3051" y="866"/>
                </a:lnTo>
                <a:lnTo>
                  <a:pt x="3073" y="853"/>
                </a:lnTo>
                <a:lnTo>
                  <a:pt x="4268" y="95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6" name="Группа 15"/>
          <p:cNvGrpSpPr/>
          <p:nvPr userDrawn="1"/>
        </p:nvGrpSpPr>
        <p:grpSpPr>
          <a:xfrm>
            <a:off x="4459430" y="1936750"/>
            <a:ext cx="5446581" cy="4921250"/>
            <a:chOff x="4116388" y="1936750"/>
            <a:chExt cx="5027613" cy="4921250"/>
          </a:xfrm>
        </p:grpSpPr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6203950" y="1936750"/>
              <a:ext cx="1966913" cy="2646363"/>
            </a:xfrm>
            <a:custGeom>
              <a:avLst/>
              <a:gdLst>
                <a:gd name="T0" fmla="*/ 2936 w 3717"/>
                <a:gd name="T1" fmla="*/ 4866 h 5000"/>
                <a:gd name="T2" fmla="*/ 2932 w 3717"/>
                <a:gd name="T3" fmla="*/ 4886 h 5000"/>
                <a:gd name="T4" fmla="*/ 2924 w 3717"/>
                <a:gd name="T5" fmla="*/ 4905 h 5000"/>
                <a:gd name="T6" fmla="*/ 2915 w 3717"/>
                <a:gd name="T7" fmla="*/ 4922 h 5000"/>
                <a:gd name="T8" fmla="*/ 2905 w 3717"/>
                <a:gd name="T9" fmla="*/ 4938 h 5000"/>
                <a:gd name="T10" fmla="*/ 2893 w 3717"/>
                <a:gd name="T11" fmla="*/ 4952 h 5000"/>
                <a:gd name="T12" fmla="*/ 2879 w 3717"/>
                <a:gd name="T13" fmla="*/ 4964 h 5000"/>
                <a:gd name="T14" fmla="*/ 2847 w 3717"/>
                <a:gd name="T15" fmla="*/ 4983 h 5000"/>
                <a:gd name="T16" fmla="*/ 2811 w 3717"/>
                <a:gd name="T17" fmla="*/ 4996 h 5000"/>
                <a:gd name="T18" fmla="*/ 2773 w 3717"/>
                <a:gd name="T19" fmla="*/ 5000 h 5000"/>
                <a:gd name="T20" fmla="*/ 2733 w 3717"/>
                <a:gd name="T21" fmla="*/ 4998 h 5000"/>
                <a:gd name="T22" fmla="*/ 2693 w 3717"/>
                <a:gd name="T23" fmla="*/ 4987 h 5000"/>
                <a:gd name="T24" fmla="*/ 329 w 3717"/>
                <a:gd name="T25" fmla="*/ 4073 h 5000"/>
                <a:gd name="T26" fmla="*/ 279 w 3717"/>
                <a:gd name="T27" fmla="*/ 4049 h 5000"/>
                <a:gd name="T28" fmla="*/ 233 w 3717"/>
                <a:gd name="T29" fmla="*/ 4024 h 5000"/>
                <a:gd name="T30" fmla="*/ 192 w 3717"/>
                <a:gd name="T31" fmla="*/ 3996 h 5000"/>
                <a:gd name="T32" fmla="*/ 155 w 3717"/>
                <a:gd name="T33" fmla="*/ 3966 h 5000"/>
                <a:gd name="T34" fmla="*/ 122 w 3717"/>
                <a:gd name="T35" fmla="*/ 3934 h 5000"/>
                <a:gd name="T36" fmla="*/ 93 w 3717"/>
                <a:gd name="T37" fmla="*/ 3900 h 5000"/>
                <a:gd name="T38" fmla="*/ 70 w 3717"/>
                <a:gd name="T39" fmla="*/ 3865 h 5000"/>
                <a:gd name="T40" fmla="*/ 48 w 3717"/>
                <a:gd name="T41" fmla="*/ 3829 h 5000"/>
                <a:gd name="T42" fmla="*/ 32 w 3717"/>
                <a:gd name="T43" fmla="*/ 3790 h 5000"/>
                <a:gd name="T44" fmla="*/ 18 w 3717"/>
                <a:gd name="T45" fmla="*/ 3750 h 5000"/>
                <a:gd name="T46" fmla="*/ 8 w 3717"/>
                <a:gd name="T47" fmla="*/ 3710 h 5000"/>
                <a:gd name="T48" fmla="*/ 3 w 3717"/>
                <a:gd name="T49" fmla="*/ 3668 h 5000"/>
                <a:gd name="T50" fmla="*/ 0 w 3717"/>
                <a:gd name="T51" fmla="*/ 3625 h 5000"/>
                <a:gd name="T52" fmla="*/ 0 w 3717"/>
                <a:gd name="T53" fmla="*/ 3581 h 5000"/>
                <a:gd name="T54" fmla="*/ 5 w 3717"/>
                <a:gd name="T55" fmla="*/ 3537 h 5000"/>
                <a:gd name="T56" fmla="*/ 507 w 3717"/>
                <a:gd name="T57" fmla="*/ 523 h 5000"/>
                <a:gd name="T58" fmla="*/ 516 w 3717"/>
                <a:gd name="T59" fmla="*/ 479 h 5000"/>
                <a:gd name="T60" fmla="*/ 527 w 3717"/>
                <a:gd name="T61" fmla="*/ 437 h 5000"/>
                <a:gd name="T62" fmla="*/ 541 w 3717"/>
                <a:gd name="T63" fmla="*/ 396 h 5000"/>
                <a:gd name="T64" fmla="*/ 560 w 3717"/>
                <a:gd name="T65" fmla="*/ 357 h 5000"/>
                <a:gd name="T66" fmla="*/ 580 w 3717"/>
                <a:gd name="T67" fmla="*/ 320 h 5000"/>
                <a:gd name="T68" fmla="*/ 604 w 3717"/>
                <a:gd name="T69" fmla="*/ 286 h 5000"/>
                <a:gd name="T70" fmla="*/ 631 w 3717"/>
                <a:gd name="T71" fmla="*/ 254 h 5000"/>
                <a:gd name="T72" fmla="*/ 661 w 3717"/>
                <a:gd name="T73" fmla="*/ 224 h 5000"/>
                <a:gd name="T74" fmla="*/ 694 w 3717"/>
                <a:gd name="T75" fmla="*/ 198 h 5000"/>
                <a:gd name="T76" fmla="*/ 730 w 3717"/>
                <a:gd name="T77" fmla="*/ 173 h 5000"/>
                <a:gd name="T78" fmla="*/ 770 w 3717"/>
                <a:gd name="T79" fmla="*/ 153 h 5000"/>
                <a:gd name="T80" fmla="*/ 814 w 3717"/>
                <a:gd name="T81" fmla="*/ 135 h 5000"/>
                <a:gd name="T82" fmla="*/ 859 w 3717"/>
                <a:gd name="T83" fmla="*/ 121 h 5000"/>
                <a:gd name="T84" fmla="*/ 909 w 3717"/>
                <a:gd name="T85" fmla="*/ 109 h 5000"/>
                <a:gd name="T86" fmla="*/ 962 w 3717"/>
                <a:gd name="T87" fmla="*/ 101 h 5000"/>
                <a:gd name="T88" fmla="*/ 1019 w 3717"/>
                <a:gd name="T89" fmla="*/ 97 h 5000"/>
                <a:gd name="T90" fmla="*/ 3544 w 3717"/>
                <a:gd name="T91" fmla="*/ 0 h 5000"/>
                <a:gd name="T92" fmla="*/ 3584 w 3717"/>
                <a:gd name="T93" fmla="*/ 6 h 5000"/>
                <a:gd name="T94" fmla="*/ 3622 w 3717"/>
                <a:gd name="T95" fmla="*/ 20 h 5000"/>
                <a:gd name="T96" fmla="*/ 3654 w 3717"/>
                <a:gd name="T97" fmla="*/ 41 h 5000"/>
                <a:gd name="T98" fmla="*/ 3680 w 3717"/>
                <a:gd name="T99" fmla="*/ 67 h 5000"/>
                <a:gd name="T100" fmla="*/ 3696 w 3717"/>
                <a:gd name="T101" fmla="*/ 89 h 5000"/>
                <a:gd name="T102" fmla="*/ 3705 w 3717"/>
                <a:gd name="T103" fmla="*/ 106 h 5000"/>
                <a:gd name="T104" fmla="*/ 3710 w 3717"/>
                <a:gd name="T105" fmla="*/ 124 h 5000"/>
                <a:gd name="T106" fmla="*/ 3715 w 3717"/>
                <a:gd name="T107" fmla="*/ 142 h 5000"/>
                <a:gd name="T108" fmla="*/ 3717 w 3717"/>
                <a:gd name="T109" fmla="*/ 162 h 5000"/>
                <a:gd name="T110" fmla="*/ 3716 w 3717"/>
                <a:gd name="T111" fmla="*/ 182 h 5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717" h="5000">
                  <a:moveTo>
                    <a:pt x="3715" y="192"/>
                  </a:moveTo>
                  <a:lnTo>
                    <a:pt x="2936" y="4866"/>
                  </a:lnTo>
                  <a:lnTo>
                    <a:pt x="2934" y="4876"/>
                  </a:lnTo>
                  <a:lnTo>
                    <a:pt x="2932" y="4886"/>
                  </a:lnTo>
                  <a:lnTo>
                    <a:pt x="2928" y="4895"/>
                  </a:lnTo>
                  <a:lnTo>
                    <a:pt x="2924" y="4905"/>
                  </a:lnTo>
                  <a:lnTo>
                    <a:pt x="2921" y="4914"/>
                  </a:lnTo>
                  <a:lnTo>
                    <a:pt x="2915" y="4922"/>
                  </a:lnTo>
                  <a:lnTo>
                    <a:pt x="2911" y="4930"/>
                  </a:lnTo>
                  <a:lnTo>
                    <a:pt x="2905" y="4938"/>
                  </a:lnTo>
                  <a:lnTo>
                    <a:pt x="2899" y="4945"/>
                  </a:lnTo>
                  <a:lnTo>
                    <a:pt x="2893" y="4952"/>
                  </a:lnTo>
                  <a:lnTo>
                    <a:pt x="2886" y="4958"/>
                  </a:lnTo>
                  <a:lnTo>
                    <a:pt x="2879" y="4964"/>
                  </a:lnTo>
                  <a:lnTo>
                    <a:pt x="2863" y="4974"/>
                  </a:lnTo>
                  <a:lnTo>
                    <a:pt x="2847" y="4983"/>
                  </a:lnTo>
                  <a:lnTo>
                    <a:pt x="2829" y="4991"/>
                  </a:lnTo>
                  <a:lnTo>
                    <a:pt x="2811" y="4996"/>
                  </a:lnTo>
                  <a:lnTo>
                    <a:pt x="2792" y="4999"/>
                  </a:lnTo>
                  <a:lnTo>
                    <a:pt x="2773" y="5000"/>
                  </a:lnTo>
                  <a:lnTo>
                    <a:pt x="2752" y="5000"/>
                  </a:lnTo>
                  <a:lnTo>
                    <a:pt x="2733" y="4998"/>
                  </a:lnTo>
                  <a:lnTo>
                    <a:pt x="2713" y="4994"/>
                  </a:lnTo>
                  <a:lnTo>
                    <a:pt x="2693" y="4987"/>
                  </a:lnTo>
                  <a:lnTo>
                    <a:pt x="355" y="4083"/>
                  </a:lnTo>
                  <a:lnTo>
                    <a:pt x="329" y="4073"/>
                  </a:lnTo>
                  <a:lnTo>
                    <a:pt x="303" y="4061"/>
                  </a:lnTo>
                  <a:lnTo>
                    <a:pt x="279" y="4049"/>
                  </a:lnTo>
                  <a:lnTo>
                    <a:pt x="255" y="4037"/>
                  </a:lnTo>
                  <a:lnTo>
                    <a:pt x="233" y="4024"/>
                  </a:lnTo>
                  <a:lnTo>
                    <a:pt x="212" y="4010"/>
                  </a:lnTo>
                  <a:lnTo>
                    <a:pt x="192" y="3996"/>
                  </a:lnTo>
                  <a:lnTo>
                    <a:pt x="173" y="3981"/>
                  </a:lnTo>
                  <a:lnTo>
                    <a:pt x="155" y="3966"/>
                  </a:lnTo>
                  <a:lnTo>
                    <a:pt x="139" y="3951"/>
                  </a:lnTo>
                  <a:lnTo>
                    <a:pt x="122" y="3934"/>
                  </a:lnTo>
                  <a:lnTo>
                    <a:pt x="107" y="3917"/>
                  </a:lnTo>
                  <a:lnTo>
                    <a:pt x="93" y="3900"/>
                  </a:lnTo>
                  <a:lnTo>
                    <a:pt x="81" y="3883"/>
                  </a:lnTo>
                  <a:lnTo>
                    <a:pt x="70" y="3865"/>
                  </a:lnTo>
                  <a:lnTo>
                    <a:pt x="58" y="3847"/>
                  </a:lnTo>
                  <a:lnTo>
                    <a:pt x="48" y="3829"/>
                  </a:lnTo>
                  <a:lnTo>
                    <a:pt x="39" y="3809"/>
                  </a:lnTo>
                  <a:lnTo>
                    <a:pt x="32" y="3790"/>
                  </a:lnTo>
                  <a:lnTo>
                    <a:pt x="24" y="3770"/>
                  </a:lnTo>
                  <a:lnTo>
                    <a:pt x="18" y="3750"/>
                  </a:lnTo>
                  <a:lnTo>
                    <a:pt x="12" y="3730"/>
                  </a:lnTo>
                  <a:lnTo>
                    <a:pt x="8" y="3710"/>
                  </a:lnTo>
                  <a:lnTo>
                    <a:pt x="5" y="3688"/>
                  </a:lnTo>
                  <a:lnTo>
                    <a:pt x="3" y="3668"/>
                  </a:lnTo>
                  <a:lnTo>
                    <a:pt x="0" y="3646"/>
                  </a:lnTo>
                  <a:lnTo>
                    <a:pt x="0" y="3625"/>
                  </a:lnTo>
                  <a:lnTo>
                    <a:pt x="0" y="3603"/>
                  </a:lnTo>
                  <a:lnTo>
                    <a:pt x="0" y="3581"/>
                  </a:lnTo>
                  <a:lnTo>
                    <a:pt x="3" y="3559"/>
                  </a:lnTo>
                  <a:lnTo>
                    <a:pt x="5" y="3537"/>
                  </a:lnTo>
                  <a:lnTo>
                    <a:pt x="8" y="3514"/>
                  </a:lnTo>
                  <a:lnTo>
                    <a:pt x="507" y="523"/>
                  </a:lnTo>
                  <a:lnTo>
                    <a:pt x="510" y="501"/>
                  </a:lnTo>
                  <a:lnTo>
                    <a:pt x="516" y="479"/>
                  </a:lnTo>
                  <a:lnTo>
                    <a:pt x="521" y="457"/>
                  </a:lnTo>
                  <a:lnTo>
                    <a:pt x="527" y="437"/>
                  </a:lnTo>
                  <a:lnTo>
                    <a:pt x="534" y="416"/>
                  </a:lnTo>
                  <a:lnTo>
                    <a:pt x="541" y="396"/>
                  </a:lnTo>
                  <a:lnTo>
                    <a:pt x="550" y="376"/>
                  </a:lnTo>
                  <a:lnTo>
                    <a:pt x="560" y="357"/>
                  </a:lnTo>
                  <a:lnTo>
                    <a:pt x="570" y="339"/>
                  </a:lnTo>
                  <a:lnTo>
                    <a:pt x="580" y="320"/>
                  </a:lnTo>
                  <a:lnTo>
                    <a:pt x="592" y="303"/>
                  </a:lnTo>
                  <a:lnTo>
                    <a:pt x="604" y="286"/>
                  </a:lnTo>
                  <a:lnTo>
                    <a:pt x="617" y="270"/>
                  </a:lnTo>
                  <a:lnTo>
                    <a:pt x="631" y="254"/>
                  </a:lnTo>
                  <a:lnTo>
                    <a:pt x="646" y="239"/>
                  </a:lnTo>
                  <a:lnTo>
                    <a:pt x="661" y="224"/>
                  </a:lnTo>
                  <a:lnTo>
                    <a:pt x="678" y="211"/>
                  </a:lnTo>
                  <a:lnTo>
                    <a:pt x="694" y="198"/>
                  </a:lnTo>
                  <a:lnTo>
                    <a:pt x="712" y="185"/>
                  </a:lnTo>
                  <a:lnTo>
                    <a:pt x="730" y="173"/>
                  </a:lnTo>
                  <a:lnTo>
                    <a:pt x="750" y="163"/>
                  </a:lnTo>
                  <a:lnTo>
                    <a:pt x="770" y="153"/>
                  </a:lnTo>
                  <a:lnTo>
                    <a:pt x="791" y="143"/>
                  </a:lnTo>
                  <a:lnTo>
                    <a:pt x="814" y="135"/>
                  </a:lnTo>
                  <a:lnTo>
                    <a:pt x="836" y="127"/>
                  </a:lnTo>
                  <a:lnTo>
                    <a:pt x="859" y="121"/>
                  </a:lnTo>
                  <a:lnTo>
                    <a:pt x="884" y="114"/>
                  </a:lnTo>
                  <a:lnTo>
                    <a:pt x="909" y="109"/>
                  </a:lnTo>
                  <a:lnTo>
                    <a:pt x="936" y="104"/>
                  </a:lnTo>
                  <a:lnTo>
                    <a:pt x="962" y="101"/>
                  </a:lnTo>
                  <a:lnTo>
                    <a:pt x="990" y="99"/>
                  </a:lnTo>
                  <a:lnTo>
                    <a:pt x="1019" y="97"/>
                  </a:lnTo>
                  <a:lnTo>
                    <a:pt x="3523" y="0"/>
                  </a:lnTo>
                  <a:lnTo>
                    <a:pt x="3544" y="0"/>
                  </a:lnTo>
                  <a:lnTo>
                    <a:pt x="3564" y="2"/>
                  </a:lnTo>
                  <a:lnTo>
                    <a:pt x="3584" y="6"/>
                  </a:lnTo>
                  <a:lnTo>
                    <a:pt x="3603" y="13"/>
                  </a:lnTo>
                  <a:lnTo>
                    <a:pt x="3622" y="20"/>
                  </a:lnTo>
                  <a:lnTo>
                    <a:pt x="3638" y="30"/>
                  </a:lnTo>
                  <a:lnTo>
                    <a:pt x="3654" y="41"/>
                  </a:lnTo>
                  <a:lnTo>
                    <a:pt x="3668" y="53"/>
                  </a:lnTo>
                  <a:lnTo>
                    <a:pt x="3680" y="67"/>
                  </a:lnTo>
                  <a:lnTo>
                    <a:pt x="3692" y="82"/>
                  </a:lnTo>
                  <a:lnTo>
                    <a:pt x="3696" y="89"/>
                  </a:lnTo>
                  <a:lnTo>
                    <a:pt x="3700" y="98"/>
                  </a:lnTo>
                  <a:lnTo>
                    <a:pt x="3705" y="106"/>
                  </a:lnTo>
                  <a:lnTo>
                    <a:pt x="3708" y="115"/>
                  </a:lnTo>
                  <a:lnTo>
                    <a:pt x="3710" y="124"/>
                  </a:lnTo>
                  <a:lnTo>
                    <a:pt x="3713" y="132"/>
                  </a:lnTo>
                  <a:lnTo>
                    <a:pt x="3715" y="142"/>
                  </a:lnTo>
                  <a:lnTo>
                    <a:pt x="3716" y="152"/>
                  </a:lnTo>
                  <a:lnTo>
                    <a:pt x="3717" y="162"/>
                  </a:lnTo>
                  <a:lnTo>
                    <a:pt x="3717" y="171"/>
                  </a:lnTo>
                  <a:lnTo>
                    <a:pt x="3716" y="182"/>
                  </a:lnTo>
                  <a:lnTo>
                    <a:pt x="3715" y="192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8372475" y="3473450"/>
              <a:ext cx="771525" cy="1765300"/>
            </a:xfrm>
            <a:custGeom>
              <a:avLst/>
              <a:gdLst>
                <a:gd name="T0" fmla="*/ 1458 w 1458"/>
                <a:gd name="T1" fmla="*/ 3144 h 3336"/>
                <a:gd name="T2" fmla="*/ 190 w 1458"/>
                <a:gd name="T3" fmla="*/ 3335 h 3336"/>
                <a:gd name="T4" fmla="*/ 180 w 1458"/>
                <a:gd name="T5" fmla="*/ 3336 h 3336"/>
                <a:gd name="T6" fmla="*/ 170 w 1458"/>
                <a:gd name="T7" fmla="*/ 3336 h 3336"/>
                <a:gd name="T8" fmla="*/ 160 w 1458"/>
                <a:gd name="T9" fmla="*/ 3336 h 3336"/>
                <a:gd name="T10" fmla="*/ 150 w 1458"/>
                <a:gd name="T11" fmla="*/ 3336 h 3336"/>
                <a:gd name="T12" fmla="*/ 140 w 1458"/>
                <a:gd name="T13" fmla="*/ 3334 h 3336"/>
                <a:gd name="T14" fmla="*/ 131 w 1458"/>
                <a:gd name="T15" fmla="*/ 3333 h 3336"/>
                <a:gd name="T16" fmla="*/ 122 w 1458"/>
                <a:gd name="T17" fmla="*/ 3329 h 3336"/>
                <a:gd name="T18" fmla="*/ 112 w 1458"/>
                <a:gd name="T19" fmla="*/ 3327 h 3336"/>
                <a:gd name="T20" fmla="*/ 104 w 1458"/>
                <a:gd name="T21" fmla="*/ 3323 h 3336"/>
                <a:gd name="T22" fmla="*/ 96 w 1458"/>
                <a:gd name="T23" fmla="*/ 3320 h 3336"/>
                <a:gd name="T24" fmla="*/ 87 w 1458"/>
                <a:gd name="T25" fmla="*/ 3315 h 3336"/>
                <a:gd name="T26" fmla="*/ 80 w 1458"/>
                <a:gd name="T27" fmla="*/ 3310 h 3336"/>
                <a:gd name="T28" fmla="*/ 65 w 1458"/>
                <a:gd name="T29" fmla="*/ 3299 h 3336"/>
                <a:gd name="T30" fmla="*/ 52 w 1458"/>
                <a:gd name="T31" fmla="*/ 3286 h 3336"/>
                <a:gd name="T32" fmla="*/ 39 w 1458"/>
                <a:gd name="T33" fmla="*/ 3271 h 3336"/>
                <a:gd name="T34" fmla="*/ 28 w 1458"/>
                <a:gd name="T35" fmla="*/ 3256 h 3336"/>
                <a:gd name="T36" fmla="*/ 19 w 1458"/>
                <a:gd name="T37" fmla="*/ 3239 h 3336"/>
                <a:gd name="T38" fmla="*/ 12 w 1458"/>
                <a:gd name="T39" fmla="*/ 3220 h 3336"/>
                <a:gd name="T40" fmla="*/ 6 w 1458"/>
                <a:gd name="T41" fmla="*/ 3202 h 3336"/>
                <a:gd name="T42" fmla="*/ 2 w 1458"/>
                <a:gd name="T43" fmla="*/ 3181 h 3336"/>
                <a:gd name="T44" fmla="*/ 0 w 1458"/>
                <a:gd name="T45" fmla="*/ 3162 h 3336"/>
                <a:gd name="T46" fmla="*/ 0 w 1458"/>
                <a:gd name="T47" fmla="*/ 3140 h 3336"/>
                <a:gd name="T48" fmla="*/ 138 w 1458"/>
                <a:gd name="T49" fmla="*/ 638 h 3336"/>
                <a:gd name="T50" fmla="*/ 139 w 1458"/>
                <a:gd name="T51" fmla="*/ 609 h 3336"/>
                <a:gd name="T52" fmla="*/ 143 w 1458"/>
                <a:gd name="T53" fmla="*/ 582 h 3336"/>
                <a:gd name="T54" fmla="*/ 147 w 1458"/>
                <a:gd name="T55" fmla="*/ 555 h 3336"/>
                <a:gd name="T56" fmla="*/ 151 w 1458"/>
                <a:gd name="T57" fmla="*/ 529 h 3336"/>
                <a:gd name="T58" fmla="*/ 157 w 1458"/>
                <a:gd name="T59" fmla="*/ 504 h 3336"/>
                <a:gd name="T60" fmla="*/ 163 w 1458"/>
                <a:gd name="T61" fmla="*/ 480 h 3336"/>
                <a:gd name="T62" fmla="*/ 171 w 1458"/>
                <a:gd name="T63" fmla="*/ 456 h 3336"/>
                <a:gd name="T64" fmla="*/ 179 w 1458"/>
                <a:gd name="T65" fmla="*/ 433 h 3336"/>
                <a:gd name="T66" fmla="*/ 188 w 1458"/>
                <a:gd name="T67" fmla="*/ 412 h 3336"/>
                <a:gd name="T68" fmla="*/ 198 w 1458"/>
                <a:gd name="T69" fmla="*/ 391 h 3336"/>
                <a:gd name="T70" fmla="*/ 208 w 1458"/>
                <a:gd name="T71" fmla="*/ 371 h 3336"/>
                <a:gd name="T72" fmla="*/ 219 w 1458"/>
                <a:gd name="T73" fmla="*/ 351 h 3336"/>
                <a:gd name="T74" fmla="*/ 231 w 1458"/>
                <a:gd name="T75" fmla="*/ 333 h 3336"/>
                <a:gd name="T76" fmla="*/ 244 w 1458"/>
                <a:gd name="T77" fmla="*/ 316 h 3336"/>
                <a:gd name="T78" fmla="*/ 257 w 1458"/>
                <a:gd name="T79" fmla="*/ 299 h 3336"/>
                <a:gd name="T80" fmla="*/ 271 w 1458"/>
                <a:gd name="T81" fmla="*/ 283 h 3336"/>
                <a:gd name="T82" fmla="*/ 286 w 1458"/>
                <a:gd name="T83" fmla="*/ 268 h 3336"/>
                <a:gd name="T84" fmla="*/ 301 w 1458"/>
                <a:gd name="T85" fmla="*/ 253 h 3336"/>
                <a:gd name="T86" fmla="*/ 318 w 1458"/>
                <a:gd name="T87" fmla="*/ 240 h 3336"/>
                <a:gd name="T88" fmla="*/ 334 w 1458"/>
                <a:gd name="T89" fmla="*/ 227 h 3336"/>
                <a:gd name="T90" fmla="*/ 351 w 1458"/>
                <a:gd name="T91" fmla="*/ 215 h 3336"/>
                <a:gd name="T92" fmla="*/ 368 w 1458"/>
                <a:gd name="T93" fmla="*/ 203 h 3336"/>
                <a:gd name="T94" fmla="*/ 387 w 1458"/>
                <a:gd name="T95" fmla="*/ 194 h 3336"/>
                <a:gd name="T96" fmla="*/ 405 w 1458"/>
                <a:gd name="T97" fmla="*/ 184 h 3336"/>
                <a:gd name="T98" fmla="*/ 424 w 1458"/>
                <a:gd name="T99" fmla="*/ 174 h 3336"/>
                <a:gd name="T100" fmla="*/ 444 w 1458"/>
                <a:gd name="T101" fmla="*/ 167 h 3336"/>
                <a:gd name="T102" fmla="*/ 464 w 1458"/>
                <a:gd name="T103" fmla="*/ 159 h 3336"/>
                <a:gd name="T104" fmla="*/ 485 w 1458"/>
                <a:gd name="T105" fmla="*/ 153 h 3336"/>
                <a:gd name="T106" fmla="*/ 507 w 1458"/>
                <a:gd name="T107" fmla="*/ 146 h 3336"/>
                <a:gd name="T108" fmla="*/ 528 w 1458"/>
                <a:gd name="T109" fmla="*/ 141 h 3336"/>
                <a:gd name="T110" fmla="*/ 550 w 1458"/>
                <a:gd name="T111" fmla="*/ 136 h 3336"/>
                <a:gd name="T112" fmla="*/ 572 w 1458"/>
                <a:gd name="T113" fmla="*/ 133 h 3336"/>
                <a:gd name="T114" fmla="*/ 1458 w 1458"/>
                <a:gd name="T115" fmla="*/ 0 h 3336"/>
                <a:gd name="T116" fmla="*/ 1458 w 1458"/>
                <a:gd name="T117" fmla="*/ 3144 h 3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58" h="3336">
                  <a:moveTo>
                    <a:pt x="1458" y="3144"/>
                  </a:moveTo>
                  <a:lnTo>
                    <a:pt x="190" y="3335"/>
                  </a:lnTo>
                  <a:lnTo>
                    <a:pt x="180" y="3336"/>
                  </a:lnTo>
                  <a:lnTo>
                    <a:pt x="170" y="3336"/>
                  </a:lnTo>
                  <a:lnTo>
                    <a:pt x="160" y="3336"/>
                  </a:lnTo>
                  <a:lnTo>
                    <a:pt x="150" y="3336"/>
                  </a:lnTo>
                  <a:lnTo>
                    <a:pt x="140" y="3334"/>
                  </a:lnTo>
                  <a:lnTo>
                    <a:pt x="131" y="3333"/>
                  </a:lnTo>
                  <a:lnTo>
                    <a:pt x="122" y="3329"/>
                  </a:lnTo>
                  <a:lnTo>
                    <a:pt x="112" y="3327"/>
                  </a:lnTo>
                  <a:lnTo>
                    <a:pt x="104" y="3323"/>
                  </a:lnTo>
                  <a:lnTo>
                    <a:pt x="96" y="3320"/>
                  </a:lnTo>
                  <a:lnTo>
                    <a:pt x="87" y="3315"/>
                  </a:lnTo>
                  <a:lnTo>
                    <a:pt x="80" y="3310"/>
                  </a:lnTo>
                  <a:lnTo>
                    <a:pt x="65" y="3299"/>
                  </a:lnTo>
                  <a:lnTo>
                    <a:pt x="52" y="3286"/>
                  </a:lnTo>
                  <a:lnTo>
                    <a:pt x="39" y="3271"/>
                  </a:lnTo>
                  <a:lnTo>
                    <a:pt x="28" y="3256"/>
                  </a:lnTo>
                  <a:lnTo>
                    <a:pt x="19" y="3239"/>
                  </a:lnTo>
                  <a:lnTo>
                    <a:pt x="12" y="3220"/>
                  </a:lnTo>
                  <a:lnTo>
                    <a:pt x="6" y="3202"/>
                  </a:lnTo>
                  <a:lnTo>
                    <a:pt x="2" y="3181"/>
                  </a:lnTo>
                  <a:lnTo>
                    <a:pt x="0" y="3162"/>
                  </a:lnTo>
                  <a:lnTo>
                    <a:pt x="0" y="3140"/>
                  </a:lnTo>
                  <a:lnTo>
                    <a:pt x="138" y="638"/>
                  </a:lnTo>
                  <a:lnTo>
                    <a:pt x="139" y="609"/>
                  </a:lnTo>
                  <a:lnTo>
                    <a:pt x="143" y="582"/>
                  </a:lnTo>
                  <a:lnTo>
                    <a:pt x="147" y="555"/>
                  </a:lnTo>
                  <a:lnTo>
                    <a:pt x="151" y="529"/>
                  </a:lnTo>
                  <a:lnTo>
                    <a:pt x="157" y="504"/>
                  </a:lnTo>
                  <a:lnTo>
                    <a:pt x="163" y="480"/>
                  </a:lnTo>
                  <a:lnTo>
                    <a:pt x="171" y="456"/>
                  </a:lnTo>
                  <a:lnTo>
                    <a:pt x="179" y="433"/>
                  </a:lnTo>
                  <a:lnTo>
                    <a:pt x="188" y="412"/>
                  </a:lnTo>
                  <a:lnTo>
                    <a:pt x="198" y="391"/>
                  </a:lnTo>
                  <a:lnTo>
                    <a:pt x="208" y="371"/>
                  </a:lnTo>
                  <a:lnTo>
                    <a:pt x="219" y="351"/>
                  </a:lnTo>
                  <a:lnTo>
                    <a:pt x="231" y="333"/>
                  </a:lnTo>
                  <a:lnTo>
                    <a:pt x="244" y="316"/>
                  </a:lnTo>
                  <a:lnTo>
                    <a:pt x="257" y="299"/>
                  </a:lnTo>
                  <a:lnTo>
                    <a:pt x="271" y="283"/>
                  </a:lnTo>
                  <a:lnTo>
                    <a:pt x="286" y="268"/>
                  </a:lnTo>
                  <a:lnTo>
                    <a:pt x="301" y="253"/>
                  </a:lnTo>
                  <a:lnTo>
                    <a:pt x="318" y="240"/>
                  </a:lnTo>
                  <a:lnTo>
                    <a:pt x="334" y="227"/>
                  </a:lnTo>
                  <a:lnTo>
                    <a:pt x="351" y="215"/>
                  </a:lnTo>
                  <a:lnTo>
                    <a:pt x="368" y="203"/>
                  </a:lnTo>
                  <a:lnTo>
                    <a:pt x="387" y="194"/>
                  </a:lnTo>
                  <a:lnTo>
                    <a:pt x="405" y="184"/>
                  </a:lnTo>
                  <a:lnTo>
                    <a:pt x="424" y="174"/>
                  </a:lnTo>
                  <a:lnTo>
                    <a:pt x="444" y="167"/>
                  </a:lnTo>
                  <a:lnTo>
                    <a:pt x="464" y="159"/>
                  </a:lnTo>
                  <a:lnTo>
                    <a:pt x="485" y="153"/>
                  </a:lnTo>
                  <a:lnTo>
                    <a:pt x="507" y="146"/>
                  </a:lnTo>
                  <a:lnTo>
                    <a:pt x="528" y="141"/>
                  </a:lnTo>
                  <a:lnTo>
                    <a:pt x="550" y="136"/>
                  </a:lnTo>
                  <a:lnTo>
                    <a:pt x="572" y="133"/>
                  </a:lnTo>
                  <a:lnTo>
                    <a:pt x="1458" y="0"/>
                  </a:lnTo>
                  <a:lnTo>
                    <a:pt x="1458" y="3144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7999413" y="5721350"/>
              <a:ext cx="1144588" cy="1136650"/>
            </a:xfrm>
            <a:custGeom>
              <a:avLst/>
              <a:gdLst>
                <a:gd name="T0" fmla="*/ 705 w 2162"/>
                <a:gd name="T1" fmla="*/ 2147 h 2147"/>
                <a:gd name="T2" fmla="*/ 17 w 2162"/>
                <a:gd name="T3" fmla="*/ 792 h 2147"/>
                <a:gd name="T4" fmla="*/ 13 w 2162"/>
                <a:gd name="T5" fmla="*/ 782 h 2147"/>
                <a:gd name="T6" fmla="*/ 8 w 2162"/>
                <a:gd name="T7" fmla="*/ 773 h 2147"/>
                <a:gd name="T8" fmla="*/ 5 w 2162"/>
                <a:gd name="T9" fmla="*/ 764 h 2147"/>
                <a:gd name="T10" fmla="*/ 3 w 2162"/>
                <a:gd name="T11" fmla="*/ 754 h 2147"/>
                <a:gd name="T12" fmla="*/ 1 w 2162"/>
                <a:gd name="T13" fmla="*/ 744 h 2147"/>
                <a:gd name="T14" fmla="*/ 0 w 2162"/>
                <a:gd name="T15" fmla="*/ 735 h 2147"/>
                <a:gd name="T16" fmla="*/ 0 w 2162"/>
                <a:gd name="T17" fmla="*/ 726 h 2147"/>
                <a:gd name="T18" fmla="*/ 0 w 2162"/>
                <a:gd name="T19" fmla="*/ 716 h 2147"/>
                <a:gd name="T20" fmla="*/ 0 w 2162"/>
                <a:gd name="T21" fmla="*/ 707 h 2147"/>
                <a:gd name="T22" fmla="*/ 1 w 2162"/>
                <a:gd name="T23" fmla="*/ 698 h 2147"/>
                <a:gd name="T24" fmla="*/ 3 w 2162"/>
                <a:gd name="T25" fmla="*/ 688 h 2147"/>
                <a:gd name="T26" fmla="*/ 5 w 2162"/>
                <a:gd name="T27" fmla="*/ 680 h 2147"/>
                <a:gd name="T28" fmla="*/ 12 w 2162"/>
                <a:gd name="T29" fmla="*/ 662 h 2147"/>
                <a:gd name="T30" fmla="*/ 19 w 2162"/>
                <a:gd name="T31" fmla="*/ 645 h 2147"/>
                <a:gd name="T32" fmla="*/ 29 w 2162"/>
                <a:gd name="T33" fmla="*/ 629 h 2147"/>
                <a:gd name="T34" fmla="*/ 41 w 2162"/>
                <a:gd name="T35" fmla="*/ 614 h 2147"/>
                <a:gd name="T36" fmla="*/ 54 w 2162"/>
                <a:gd name="T37" fmla="*/ 600 h 2147"/>
                <a:gd name="T38" fmla="*/ 69 w 2162"/>
                <a:gd name="T39" fmla="*/ 587 h 2147"/>
                <a:gd name="T40" fmla="*/ 85 w 2162"/>
                <a:gd name="T41" fmla="*/ 576 h 2147"/>
                <a:gd name="T42" fmla="*/ 102 w 2162"/>
                <a:gd name="T43" fmla="*/ 565 h 2147"/>
                <a:gd name="T44" fmla="*/ 121 w 2162"/>
                <a:gd name="T45" fmla="*/ 558 h 2147"/>
                <a:gd name="T46" fmla="*/ 141 w 2162"/>
                <a:gd name="T47" fmla="*/ 551 h 2147"/>
                <a:gd name="T48" fmla="*/ 2162 w 2162"/>
                <a:gd name="T49" fmla="*/ 0 h 2147"/>
                <a:gd name="T50" fmla="*/ 2162 w 2162"/>
                <a:gd name="T51" fmla="*/ 2147 h 2147"/>
                <a:gd name="T52" fmla="*/ 705 w 2162"/>
                <a:gd name="T53" fmla="*/ 2147 h 2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162" h="2147">
                  <a:moveTo>
                    <a:pt x="705" y="2147"/>
                  </a:moveTo>
                  <a:lnTo>
                    <a:pt x="17" y="792"/>
                  </a:lnTo>
                  <a:lnTo>
                    <a:pt x="13" y="782"/>
                  </a:lnTo>
                  <a:lnTo>
                    <a:pt x="8" y="773"/>
                  </a:lnTo>
                  <a:lnTo>
                    <a:pt x="5" y="764"/>
                  </a:lnTo>
                  <a:lnTo>
                    <a:pt x="3" y="754"/>
                  </a:lnTo>
                  <a:lnTo>
                    <a:pt x="1" y="744"/>
                  </a:lnTo>
                  <a:lnTo>
                    <a:pt x="0" y="735"/>
                  </a:lnTo>
                  <a:lnTo>
                    <a:pt x="0" y="726"/>
                  </a:lnTo>
                  <a:lnTo>
                    <a:pt x="0" y="716"/>
                  </a:lnTo>
                  <a:lnTo>
                    <a:pt x="0" y="707"/>
                  </a:lnTo>
                  <a:lnTo>
                    <a:pt x="1" y="698"/>
                  </a:lnTo>
                  <a:lnTo>
                    <a:pt x="3" y="688"/>
                  </a:lnTo>
                  <a:lnTo>
                    <a:pt x="5" y="680"/>
                  </a:lnTo>
                  <a:lnTo>
                    <a:pt x="12" y="662"/>
                  </a:lnTo>
                  <a:lnTo>
                    <a:pt x="19" y="645"/>
                  </a:lnTo>
                  <a:lnTo>
                    <a:pt x="29" y="629"/>
                  </a:lnTo>
                  <a:lnTo>
                    <a:pt x="41" y="614"/>
                  </a:lnTo>
                  <a:lnTo>
                    <a:pt x="54" y="600"/>
                  </a:lnTo>
                  <a:lnTo>
                    <a:pt x="69" y="587"/>
                  </a:lnTo>
                  <a:lnTo>
                    <a:pt x="85" y="576"/>
                  </a:lnTo>
                  <a:lnTo>
                    <a:pt x="102" y="565"/>
                  </a:lnTo>
                  <a:lnTo>
                    <a:pt x="121" y="558"/>
                  </a:lnTo>
                  <a:lnTo>
                    <a:pt x="141" y="551"/>
                  </a:lnTo>
                  <a:lnTo>
                    <a:pt x="2162" y="0"/>
                  </a:lnTo>
                  <a:lnTo>
                    <a:pt x="2162" y="2147"/>
                  </a:lnTo>
                  <a:lnTo>
                    <a:pt x="705" y="2147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" name="Freeform 11"/>
            <p:cNvSpPr>
              <a:spLocks/>
            </p:cNvSpPr>
            <p:nvPr userDrawn="1"/>
          </p:nvSpPr>
          <p:spPr bwMode="auto">
            <a:xfrm>
              <a:off x="6105525" y="5953125"/>
              <a:ext cx="1589088" cy="904875"/>
            </a:xfrm>
            <a:custGeom>
              <a:avLst/>
              <a:gdLst>
                <a:gd name="T0" fmla="*/ 0 w 3003"/>
                <a:gd name="T1" fmla="*/ 1709 h 1709"/>
                <a:gd name="T2" fmla="*/ 1688 w 3003"/>
                <a:gd name="T3" fmla="*/ 45 h 1709"/>
                <a:gd name="T4" fmla="*/ 1695 w 3003"/>
                <a:gd name="T5" fmla="*/ 39 h 1709"/>
                <a:gd name="T6" fmla="*/ 1704 w 3003"/>
                <a:gd name="T7" fmla="*/ 32 h 1709"/>
                <a:gd name="T8" fmla="*/ 1711 w 3003"/>
                <a:gd name="T9" fmla="*/ 26 h 1709"/>
                <a:gd name="T10" fmla="*/ 1720 w 3003"/>
                <a:gd name="T11" fmla="*/ 20 h 1709"/>
                <a:gd name="T12" fmla="*/ 1729 w 3003"/>
                <a:gd name="T13" fmla="*/ 16 h 1709"/>
                <a:gd name="T14" fmla="*/ 1737 w 3003"/>
                <a:gd name="T15" fmla="*/ 12 h 1709"/>
                <a:gd name="T16" fmla="*/ 1746 w 3003"/>
                <a:gd name="T17" fmla="*/ 8 h 1709"/>
                <a:gd name="T18" fmla="*/ 1755 w 3003"/>
                <a:gd name="T19" fmla="*/ 6 h 1709"/>
                <a:gd name="T20" fmla="*/ 1764 w 3003"/>
                <a:gd name="T21" fmla="*/ 3 h 1709"/>
                <a:gd name="T22" fmla="*/ 1773 w 3003"/>
                <a:gd name="T23" fmla="*/ 2 h 1709"/>
                <a:gd name="T24" fmla="*/ 1783 w 3003"/>
                <a:gd name="T25" fmla="*/ 1 h 1709"/>
                <a:gd name="T26" fmla="*/ 1791 w 3003"/>
                <a:gd name="T27" fmla="*/ 0 h 1709"/>
                <a:gd name="T28" fmla="*/ 1811 w 3003"/>
                <a:gd name="T29" fmla="*/ 0 h 1709"/>
                <a:gd name="T30" fmla="*/ 1829 w 3003"/>
                <a:gd name="T31" fmla="*/ 3 h 1709"/>
                <a:gd name="T32" fmla="*/ 1847 w 3003"/>
                <a:gd name="T33" fmla="*/ 7 h 1709"/>
                <a:gd name="T34" fmla="*/ 1865 w 3003"/>
                <a:gd name="T35" fmla="*/ 14 h 1709"/>
                <a:gd name="T36" fmla="*/ 1882 w 3003"/>
                <a:gd name="T37" fmla="*/ 22 h 1709"/>
                <a:gd name="T38" fmla="*/ 1899 w 3003"/>
                <a:gd name="T39" fmla="*/ 32 h 1709"/>
                <a:gd name="T40" fmla="*/ 1914 w 3003"/>
                <a:gd name="T41" fmla="*/ 44 h 1709"/>
                <a:gd name="T42" fmla="*/ 1930 w 3003"/>
                <a:gd name="T43" fmla="*/ 58 h 1709"/>
                <a:gd name="T44" fmla="*/ 1944 w 3003"/>
                <a:gd name="T45" fmla="*/ 73 h 1709"/>
                <a:gd name="T46" fmla="*/ 1955 w 3003"/>
                <a:gd name="T47" fmla="*/ 90 h 1709"/>
                <a:gd name="T48" fmla="*/ 3003 w 3003"/>
                <a:gd name="T49" fmla="*/ 1709 h 1709"/>
                <a:gd name="T50" fmla="*/ 0 w 3003"/>
                <a:gd name="T51" fmla="*/ 1709 h 1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03" h="1709">
                  <a:moveTo>
                    <a:pt x="0" y="1709"/>
                  </a:moveTo>
                  <a:lnTo>
                    <a:pt x="1688" y="45"/>
                  </a:lnTo>
                  <a:lnTo>
                    <a:pt x="1695" y="39"/>
                  </a:lnTo>
                  <a:lnTo>
                    <a:pt x="1704" y="32"/>
                  </a:lnTo>
                  <a:lnTo>
                    <a:pt x="1711" y="26"/>
                  </a:lnTo>
                  <a:lnTo>
                    <a:pt x="1720" y="20"/>
                  </a:lnTo>
                  <a:lnTo>
                    <a:pt x="1729" y="16"/>
                  </a:lnTo>
                  <a:lnTo>
                    <a:pt x="1737" y="12"/>
                  </a:lnTo>
                  <a:lnTo>
                    <a:pt x="1746" y="8"/>
                  </a:lnTo>
                  <a:lnTo>
                    <a:pt x="1755" y="6"/>
                  </a:lnTo>
                  <a:lnTo>
                    <a:pt x="1764" y="3"/>
                  </a:lnTo>
                  <a:lnTo>
                    <a:pt x="1773" y="2"/>
                  </a:lnTo>
                  <a:lnTo>
                    <a:pt x="1783" y="1"/>
                  </a:lnTo>
                  <a:lnTo>
                    <a:pt x="1791" y="0"/>
                  </a:lnTo>
                  <a:lnTo>
                    <a:pt x="1811" y="0"/>
                  </a:lnTo>
                  <a:lnTo>
                    <a:pt x="1829" y="3"/>
                  </a:lnTo>
                  <a:lnTo>
                    <a:pt x="1847" y="7"/>
                  </a:lnTo>
                  <a:lnTo>
                    <a:pt x="1865" y="14"/>
                  </a:lnTo>
                  <a:lnTo>
                    <a:pt x="1882" y="22"/>
                  </a:lnTo>
                  <a:lnTo>
                    <a:pt x="1899" y="32"/>
                  </a:lnTo>
                  <a:lnTo>
                    <a:pt x="1914" y="44"/>
                  </a:lnTo>
                  <a:lnTo>
                    <a:pt x="1930" y="58"/>
                  </a:lnTo>
                  <a:lnTo>
                    <a:pt x="1944" y="73"/>
                  </a:lnTo>
                  <a:lnTo>
                    <a:pt x="1955" y="90"/>
                  </a:lnTo>
                  <a:lnTo>
                    <a:pt x="3003" y="1709"/>
                  </a:lnTo>
                  <a:lnTo>
                    <a:pt x="0" y="1709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4" name="Freeform 13"/>
            <p:cNvSpPr>
              <a:spLocks/>
            </p:cNvSpPr>
            <p:nvPr userDrawn="1"/>
          </p:nvSpPr>
          <p:spPr bwMode="auto">
            <a:xfrm>
              <a:off x="4116388" y="3810000"/>
              <a:ext cx="2773363" cy="2447925"/>
            </a:xfrm>
            <a:custGeom>
              <a:avLst/>
              <a:gdLst>
                <a:gd name="T0" fmla="*/ 5156 w 5241"/>
                <a:gd name="T1" fmla="*/ 2193 h 4627"/>
                <a:gd name="T2" fmla="*/ 5173 w 5241"/>
                <a:gd name="T3" fmla="*/ 2204 h 4627"/>
                <a:gd name="T4" fmla="*/ 5190 w 5241"/>
                <a:gd name="T5" fmla="*/ 2216 h 4627"/>
                <a:gd name="T6" fmla="*/ 5203 w 5241"/>
                <a:gd name="T7" fmla="*/ 2230 h 4627"/>
                <a:gd name="T8" fmla="*/ 5214 w 5241"/>
                <a:gd name="T9" fmla="*/ 2244 h 4627"/>
                <a:gd name="T10" fmla="*/ 5224 w 5241"/>
                <a:gd name="T11" fmla="*/ 2260 h 4627"/>
                <a:gd name="T12" fmla="*/ 5232 w 5241"/>
                <a:gd name="T13" fmla="*/ 2278 h 4627"/>
                <a:gd name="T14" fmla="*/ 5240 w 5241"/>
                <a:gd name="T15" fmla="*/ 2314 h 4627"/>
                <a:gd name="T16" fmla="*/ 5241 w 5241"/>
                <a:gd name="T17" fmla="*/ 2352 h 4627"/>
                <a:gd name="T18" fmla="*/ 5234 w 5241"/>
                <a:gd name="T19" fmla="*/ 2390 h 4627"/>
                <a:gd name="T20" fmla="*/ 5219 w 5241"/>
                <a:gd name="T21" fmla="*/ 2427 h 4627"/>
                <a:gd name="T22" fmla="*/ 5196 w 5241"/>
                <a:gd name="T23" fmla="*/ 2461 h 4627"/>
                <a:gd name="T24" fmla="*/ 3600 w 5241"/>
                <a:gd name="T25" fmla="*/ 4431 h 4627"/>
                <a:gd name="T26" fmla="*/ 3563 w 5241"/>
                <a:gd name="T27" fmla="*/ 4471 h 4627"/>
                <a:gd name="T28" fmla="*/ 3524 w 5241"/>
                <a:gd name="T29" fmla="*/ 4506 h 4627"/>
                <a:gd name="T30" fmla="*/ 3485 w 5241"/>
                <a:gd name="T31" fmla="*/ 4537 h 4627"/>
                <a:gd name="T32" fmla="*/ 3445 w 5241"/>
                <a:gd name="T33" fmla="*/ 4562 h 4627"/>
                <a:gd name="T34" fmla="*/ 3405 w 5241"/>
                <a:gd name="T35" fmla="*/ 4584 h 4627"/>
                <a:gd name="T36" fmla="*/ 3364 w 5241"/>
                <a:gd name="T37" fmla="*/ 4601 h 4627"/>
                <a:gd name="T38" fmla="*/ 3323 w 5241"/>
                <a:gd name="T39" fmla="*/ 4614 h 4627"/>
                <a:gd name="T40" fmla="*/ 3281 w 5241"/>
                <a:gd name="T41" fmla="*/ 4623 h 4627"/>
                <a:gd name="T42" fmla="*/ 3240 w 5241"/>
                <a:gd name="T43" fmla="*/ 4627 h 4627"/>
                <a:gd name="T44" fmla="*/ 3198 w 5241"/>
                <a:gd name="T45" fmla="*/ 4627 h 4627"/>
                <a:gd name="T46" fmla="*/ 3157 w 5241"/>
                <a:gd name="T47" fmla="*/ 4624 h 4627"/>
                <a:gd name="T48" fmla="*/ 3115 w 5241"/>
                <a:gd name="T49" fmla="*/ 4616 h 4627"/>
                <a:gd name="T50" fmla="*/ 3073 w 5241"/>
                <a:gd name="T51" fmla="*/ 4606 h 4627"/>
                <a:gd name="T52" fmla="*/ 3032 w 5241"/>
                <a:gd name="T53" fmla="*/ 4592 h 4627"/>
                <a:gd name="T54" fmla="*/ 2991 w 5241"/>
                <a:gd name="T55" fmla="*/ 4574 h 4627"/>
                <a:gd name="T56" fmla="*/ 277 w 5241"/>
                <a:gd name="T57" fmla="*/ 3172 h 4627"/>
                <a:gd name="T58" fmla="*/ 237 w 5241"/>
                <a:gd name="T59" fmla="*/ 3150 h 4627"/>
                <a:gd name="T60" fmla="*/ 200 w 5241"/>
                <a:gd name="T61" fmla="*/ 3125 h 4627"/>
                <a:gd name="T62" fmla="*/ 166 w 5241"/>
                <a:gd name="T63" fmla="*/ 3099 h 4627"/>
                <a:gd name="T64" fmla="*/ 134 w 5241"/>
                <a:gd name="T65" fmla="*/ 3070 h 4627"/>
                <a:gd name="T66" fmla="*/ 106 w 5241"/>
                <a:gd name="T67" fmla="*/ 3039 h 4627"/>
                <a:gd name="T68" fmla="*/ 81 w 5241"/>
                <a:gd name="T69" fmla="*/ 3006 h 4627"/>
                <a:gd name="T70" fmla="*/ 58 w 5241"/>
                <a:gd name="T71" fmla="*/ 2971 h 4627"/>
                <a:gd name="T72" fmla="*/ 40 w 5241"/>
                <a:gd name="T73" fmla="*/ 2933 h 4627"/>
                <a:gd name="T74" fmla="*/ 24 w 5241"/>
                <a:gd name="T75" fmla="*/ 2893 h 4627"/>
                <a:gd name="T76" fmla="*/ 13 w 5241"/>
                <a:gd name="T77" fmla="*/ 2851 h 4627"/>
                <a:gd name="T78" fmla="*/ 4 w 5241"/>
                <a:gd name="T79" fmla="*/ 2807 h 4627"/>
                <a:gd name="T80" fmla="*/ 1 w 5241"/>
                <a:gd name="T81" fmla="*/ 2761 h 4627"/>
                <a:gd name="T82" fmla="*/ 1 w 5241"/>
                <a:gd name="T83" fmla="*/ 2713 h 4627"/>
                <a:gd name="T84" fmla="*/ 6 w 5241"/>
                <a:gd name="T85" fmla="*/ 2662 h 4627"/>
                <a:gd name="T86" fmla="*/ 14 w 5241"/>
                <a:gd name="T87" fmla="*/ 2609 h 4627"/>
                <a:gd name="T88" fmla="*/ 28 w 5241"/>
                <a:gd name="T89" fmla="*/ 2554 h 4627"/>
                <a:gd name="T90" fmla="*/ 711 w 5241"/>
                <a:gd name="T91" fmla="*/ 121 h 4627"/>
                <a:gd name="T92" fmla="*/ 729 w 5241"/>
                <a:gd name="T93" fmla="*/ 84 h 4627"/>
                <a:gd name="T94" fmla="*/ 753 w 5241"/>
                <a:gd name="T95" fmla="*/ 54 h 4627"/>
                <a:gd name="T96" fmla="*/ 782 w 5241"/>
                <a:gd name="T97" fmla="*/ 29 h 4627"/>
                <a:gd name="T98" fmla="*/ 816 w 5241"/>
                <a:gd name="T99" fmla="*/ 11 h 4627"/>
                <a:gd name="T100" fmla="*/ 843 w 5241"/>
                <a:gd name="T101" fmla="*/ 3 h 4627"/>
                <a:gd name="T102" fmla="*/ 861 w 5241"/>
                <a:gd name="T103" fmla="*/ 1 h 4627"/>
                <a:gd name="T104" fmla="*/ 879 w 5241"/>
                <a:gd name="T105" fmla="*/ 0 h 4627"/>
                <a:gd name="T106" fmla="*/ 899 w 5241"/>
                <a:gd name="T107" fmla="*/ 2 h 4627"/>
                <a:gd name="T108" fmla="*/ 917 w 5241"/>
                <a:gd name="T109" fmla="*/ 7 h 4627"/>
                <a:gd name="T110" fmla="*/ 937 w 5241"/>
                <a:gd name="T111" fmla="*/ 13 h 4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241" h="4627">
                  <a:moveTo>
                    <a:pt x="946" y="19"/>
                  </a:moveTo>
                  <a:lnTo>
                    <a:pt x="5156" y="2193"/>
                  </a:lnTo>
                  <a:lnTo>
                    <a:pt x="5165" y="2199"/>
                  </a:lnTo>
                  <a:lnTo>
                    <a:pt x="5173" y="2204"/>
                  </a:lnTo>
                  <a:lnTo>
                    <a:pt x="5182" y="2210"/>
                  </a:lnTo>
                  <a:lnTo>
                    <a:pt x="5190" y="2216"/>
                  </a:lnTo>
                  <a:lnTo>
                    <a:pt x="5196" y="2223"/>
                  </a:lnTo>
                  <a:lnTo>
                    <a:pt x="5203" y="2230"/>
                  </a:lnTo>
                  <a:lnTo>
                    <a:pt x="5209" y="2237"/>
                  </a:lnTo>
                  <a:lnTo>
                    <a:pt x="5214" y="2244"/>
                  </a:lnTo>
                  <a:lnTo>
                    <a:pt x="5220" y="2253"/>
                  </a:lnTo>
                  <a:lnTo>
                    <a:pt x="5224" y="2260"/>
                  </a:lnTo>
                  <a:lnTo>
                    <a:pt x="5228" y="2269"/>
                  </a:lnTo>
                  <a:lnTo>
                    <a:pt x="5232" y="2278"/>
                  </a:lnTo>
                  <a:lnTo>
                    <a:pt x="5237" y="2296"/>
                  </a:lnTo>
                  <a:lnTo>
                    <a:pt x="5240" y="2314"/>
                  </a:lnTo>
                  <a:lnTo>
                    <a:pt x="5241" y="2333"/>
                  </a:lnTo>
                  <a:lnTo>
                    <a:pt x="5241" y="2352"/>
                  </a:lnTo>
                  <a:lnTo>
                    <a:pt x="5238" y="2370"/>
                  </a:lnTo>
                  <a:lnTo>
                    <a:pt x="5234" y="2390"/>
                  </a:lnTo>
                  <a:lnTo>
                    <a:pt x="5227" y="2408"/>
                  </a:lnTo>
                  <a:lnTo>
                    <a:pt x="5219" y="2427"/>
                  </a:lnTo>
                  <a:lnTo>
                    <a:pt x="5209" y="2445"/>
                  </a:lnTo>
                  <a:lnTo>
                    <a:pt x="5196" y="2461"/>
                  </a:lnTo>
                  <a:lnTo>
                    <a:pt x="3619" y="4409"/>
                  </a:lnTo>
                  <a:lnTo>
                    <a:pt x="3600" y="4431"/>
                  </a:lnTo>
                  <a:lnTo>
                    <a:pt x="3581" y="4451"/>
                  </a:lnTo>
                  <a:lnTo>
                    <a:pt x="3563" y="4471"/>
                  </a:lnTo>
                  <a:lnTo>
                    <a:pt x="3544" y="4489"/>
                  </a:lnTo>
                  <a:lnTo>
                    <a:pt x="3524" y="4506"/>
                  </a:lnTo>
                  <a:lnTo>
                    <a:pt x="3505" y="4523"/>
                  </a:lnTo>
                  <a:lnTo>
                    <a:pt x="3485" y="4537"/>
                  </a:lnTo>
                  <a:lnTo>
                    <a:pt x="3466" y="4551"/>
                  </a:lnTo>
                  <a:lnTo>
                    <a:pt x="3445" y="4562"/>
                  </a:lnTo>
                  <a:lnTo>
                    <a:pt x="3426" y="4574"/>
                  </a:lnTo>
                  <a:lnTo>
                    <a:pt x="3405" y="4584"/>
                  </a:lnTo>
                  <a:lnTo>
                    <a:pt x="3385" y="4594"/>
                  </a:lnTo>
                  <a:lnTo>
                    <a:pt x="3364" y="4601"/>
                  </a:lnTo>
                  <a:lnTo>
                    <a:pt x="3344" y="4608"/>
                  </a:lnTo>
                  <a:lnTo>
                    <a:pt x="3323" y="4614"/>
                  </a:lnTo>
                  <a:lnTo>
                    <a:pt x="3303" y="4619"/>
                  </a:lnTo>
                  <a:lnTo>
                    <a:pt x="3281" y="4623"/>
                  </a:lnTo>
                  <a:lnTo>
                    <a:pt x="3261" y="4625"/>
                  </a:lnTo>
                  <a:lnTo>
                    <a:pt x="3240" y="4627"/>
                  </a:lnTo>
                  <a:lnTo>
                    <a:pt x="3220" y="4627"/>
                  </a:lnTo>
                  <a:lnTo>
                    <a:pt x="3198" y="4627"/>
                  </a:lnTo>
                  <a:lnTo>
                    <a:pt x="3178" y="4626"/>
                  </a:lnTo>
                  <a:lnTo>
                    <a:pt x="3157" y="4624"/>
                  </a:lnTo>
                  <a:lnTo>
                    <a:pt x="3135" y="4621"/>
                  </a:lnTo>
                  <a:lnTo>
                    <a:pt x="3115" y="4616"/>
                  </a:lnTo>
                  <a:lnTo>
                    <a:pt x="3094" y="4612"/>
                  </a:lnTo>
                  <a:lnTo>
                    <a:pt x="3073" y="4606"/>
                  </a:lnTo>
                  <a:lnTo>
                    <a:pt x="3052" y="4599"/>
                  </a:lnTo>
                  <a:lnTo>
                    <a:pt x="3032" y="4592"/>
                  </a:lnTo>
                  <a:lnTo>
                    <a:pt x="3011" y="4583"/>
                  </a:lnTo>
                  <a:lnTo>
                    <a:pt x="2991" y="4574"/>
                  </a:lnTo>
                  <a:lnTo>
                    <a:pt x="2970" y="4564"/>
                  </a:lnTo>
                  <a:lnTo>
                    <a:pt x="277" y="3172"/>
                  </a:lnTo>
                  <a:lnTo>
                    <a:pt x="256" y="3161"/>
                  </a:lnTo>
                  <a:lnTo>
                    <a:pt x="237" y="3150"/>
                  </a:lnTo>
                  <a:lnTo>
                    <a:pt x="218" y="3138"/>
                  </a:lnTo>
                  <a:lnTo>
                    <a:pt x="200" y="3125"/>
                  </a:lnTo>
                  <a:lnTo>
                    <a:pt x="183" y="3112"/>
                  </a:lnTo>
                  <a:lnTo>
                    <a:pt x="166" y="3099"/>
                  </a:lnTo>
                  <a:lnTo>
                    <a:pt x="150" y="3085"/>
                  </a:lnTo>
                  <a:lnTo>
                    <a:pt x="134" y="3070"/>
                  </a:lnTo>
                  <a:lnTo>
                    <a:pt x="120" y="3055"/>
                  </a:lnTo>
                  <a:lnTo>
                    <a:pt x="106" y="3039"/>
                  </a:lnTo>
                  <a:lnTo>
                    <a:pt x="93" y="3023"/>
                  </a:lnTo>
                  <a:lnTo>
                    <a:pt x="81" y="3006"/>
                  </a:lnTo>
                  <a:lnTo>
                    <a:pt x="69" y="2989"/>
                  </a:lnTo>
                  <a:lnTo>
                    <a:pt x="58" y="2971"/>
                  </a:lnTo>
                  <a:lnTo>
                    <a:pt x="49" y="2952"/>
                  </a:lnTo>
                  <a:lnTo>
                    <a:pt x="40" y="2933"/>
                  </a:lnTo>
                  <a:lnTo>
                    <a:pt x="31" y="2914"/>
                  </a:lnTo>
                  <a:lnTo>
                    <a:pt x="24" y="2893"/>
                  </a:lnTo>
                  <a:lnTo>
                    <a:pt x="17" y="2873"/>
                  </a:lnTo>
                  <a:lnTo>
                    <a:pt x="13" y="2851"/>
                  </a:lnTo>
                  <a:lnTo>
                    <a:pt x="8" y="2829"/>
                  </a:lnTo>
                  <a:lnTo>
                    <a:pt x="4" y="2807"/>
                  </a:lnTo>
                  <a:lnTo>
                    <a:pt x="2" y="2784"/>
                  </a:lnTo>
                  <a:lnTo>
                    <a:pt x="1" y="2761"/>
                  </a:lnTo>
                  <a:lnTo>
                    <a:pt x="0" y="2737"/>
                  </a:lnTo>
                  <a:lnTo>
                    <a:pt x="1" y="2713"/>
                  </a:lnTo>
                  <a:lnTo>
                    <a:pt x="2" y="2687"/>
                  </a:lnTo>
                  <a:lnTo>
                    <a:pt x="6" y="2662"/>
                  </a:lnTo>
                  <a:lnTo>
                    <a:pt x="10" y="2635"/>
                  </a:lnTo>
                  <a:lnTo>
                    <a:pt x="14" y="2609"/>
                  </a:lnTo>
                  <a:lnTo>
                    <a:pt x="21" y="2582"/>
                  </a:lnTo>
                  <a:lnTo>
                    <a:pt x="28" y="2554"/>
                  </a:lnTo>
                  <a:lnTo>
                    <a:pt x="704" y="141"/>
                  </a:lnTo>
                  <a:lnTo>
                    <a:pt x="711" y="121"/>
                  </a:lnTo>
                  <a:lnTo>
                    <a:pt x="718" y="102"/>
                  </a:lnTo>
                  <a:lnTo>
                    <a:pt x="729" y="84"/>
                  </a:lnTo>
                  <a:lnTo>
                    <a:pt x="740" y="68"/>
                  </a:lnTo>
                  <a:lnTo>
                    <a:pt x="753" y="54"/>
                  </a:lnTo>
                  <a:lnTo>
                    <a:pt x="767" y="40"/>
                  </a:lnTo>
                  <a:lnTo>
                    <a:pt x="782" y="29"/>
                  </a:lnTo>
                  <a:lnTo>
                    <a:pt x="798" y="20"/>
                  </a:lnTo>
                  <a:lnTo>
                    <a:pt x="816" y="11"/>
                  </a:lnTo>
                  <a:lnTo>
                    <a:pt x="833" y="6"/>
                  </a:lnTo>
                  <a:lnTo>
                    <a:pt x="843" y="3"/>
                  </a:lnTo>
                  <a:lnTo>
                    <a:pt x="851" y="2"/>
                  </a:lnTo>
                  <a:lnTo>
                    <a:pt x="861" y="1"/>
                  </a:lnTo>
                  <a:lnTo>
                    <a:pt x="871" y="0"/>
                  </a:lnTo>
                  <a:lnTo>
                    <a:pt x="879" y="0"/>
                  </a:lnTo>
                  <a:lnTo>
                    <a:pt x="889" y="1"/>
                  </a:lnTo>
                  <a:lnTo>
                    <a:pt x="899" y="2"/>
                  </a:lnTo>
                  <a:lnTo>
                    <a:pt x="908" y="5"/>
                  </a:lnTo>
                  <a:lnTo>
                    <a:pt x="917" y="7"/>
                  </a:lnTo>
                  <a:lnTo>
                    <a:pt x="927" y="10"/>
                  </a:lnTo>
                  <a:lnTo>
                    <a:pt x="937" y="13"/>
                  </a:lnTo>
                  <a:lnTo>
                    <a:pt x="946" y="19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20" name="Группа 19"/>
          <p:cNvGrpSpPr/>
          <p:nvPr userDrawn="1"/>
        </p:nvGrpSpPr>
        <p:grpSpPr>
          <a:xfrm>
            <a:off x="531416" y="487363"/>
            <a:ext cx="2332038" cy="455612"/>
            <a:chOff x="490538" y="487363"/>
            <a:chExt cx="2152650" cy="455612"/>
          </a:xfrm>
        </p:grpSpPr>
        <p:sp>
          <p:nvSpPr>
            <p:cNvPr id="21" name="Freeform 5"/>
            <p:cNvSpPr>
              <a:spLocks noEditPoints="1"/>
            </p:cNvSpPr>
            <p:nvPr userDrawn="1"/>
          </p:nvSpPr>
          <p:spPr bwMode="auto">
            <a:xfrm>
              <a:off x="1144588" y="590550"/>
              <a:ext cx="1498600" cy="247650"/>
            </a:xfrm>
            <a:custGeom>
              <a:avLst/>
              <a:gdLst>
                <a:gd name="T0" fmla="*/ 2465 w 11327"/>
                <a:gd name="T1" fmla="*/ 803 h 1868"/>
                <a:gd name="T2" fmla="*/ 2667 w 11327"/>
                <a:gd name="T3" fmla="*/ 466 h 1868"/>
                <a:gd name="T4" fmla="*/ 3049 w 11327"/>
                <a:gd name="T5" fmla="*/ 345 h 1868"/>
                <a:gd name="T6" fmla="*/ 3430 w 11327"/>
                <a:gd name="T7" fmla="*/ 466 h 1868"/>
                <a:gd name="T8" fmla="*/ 3632 w 11327"/>
                <a:gd name="T9" fmla="*/ 803 h 1868"/>
                <a:gd name="T10" fmla="*/ 3574 w 11327"/>
                <a:gd name="T11" fmla="*/ 1233 h 1868"/>
                <a:gd name="T12" fmla="*/ 3284 w 11327"/>
                <a:gd name="T13" fmla="*/ 1483 h 1868"/>
                <a:gd name="T14" fmla="*/ 2870 w 11327"/>
                <a:gd name="T15" fmla="*/ 1500 h 1868"/>
                <a:gd name="T16" fmla="*/ 2553 w 11327"/>
                <a:gd name="T17" fmla="*/ 1281 h 1868"/>
                <a:gd name="T18" fmla="*/ 4046 w 11327"/>
                <a:gd name="T19" fmla="*/ 882 h 1868"/>
                <a:gd name="T20" fmla="*/ 3784 w 11327"/>
                <a:gd name="T21" fmla="*/ 289 h 1868"/>
                <a:gd name="T22" fmla="*/ 3199 w 11327"/>
                <a:gd name="T23" fmla="*/ 10 h 1868"/>
                <a:gd name="T24" fmla="*/ 2536 w 11327"/>
                <a:gd name="T25" fmla="*/ 125 h 1868"/>
                <a:gd name="T26" fmla="*/ 2113 w 11327"/>
                <a:gd name="T27" fmla="*/ 595 h 1868"/>
                <a:gd name="T28" fmla="*/ 2113 w 11327"/>
                <a:gd name="T29" fmla="*/ 1273 h 1868"/>
                <a:gd name="T30" fmla="*/ 2536 w 11327"/>
                <a:gd name="T31" fmla="*/ 1743 h 1868"/>
                <a:gd name="T32" fmla="*/ 3199 w 11327"/>
                <a:gd name="T33" fmla="*/ 1858 h 1868"/>
                <a:gd name="T34" fmla="*/ 3784 w 11327"/>
                <a:gd name="T35" fmla="*/ 1579 h 1868"/>
                <a:gd name="T36" fmla="*/ 4046 w 11327"/>
                <a:gd name="T37" fmla="*/ 985 h 1868"/>
                <a:gd name="T38" fmla="*/ 4444 w 11327"/>
                <a:gd name="T39" fmla="*/ 1443 h 1868"/>
                <a:gd name="T40" fmla="*/ 4540 w 11327"/>
                <a:gd name="T41" fmla="*/ 1808 h 1868"/>
                <a:gd name="T42" fmla="*/ 4811 w 11327"/>
                <a:gd name="T43" fmla="*/ 1650 h 1868"/>
                <a:gd name="T44" fmla="*/ 5796 w 11327"/>
                <a:gd name="T45" fmla="*/ 403 h 1868"/>
                <a:gd name="T46" fmla="*/ 7304 w 11327"/>
                <a:gd name="T47" fmla="*/ 1292 h 1868"/>
                <a:gd name="T48" fmla="*/ 7673 w 11327"/>
                <a:gd name="T49" fmla="*/ 1730 h 1868"/>
                <a:gd name="T50" fmla="*/ 8267 w 11327"/>
                <a:gd name="T51" fmla="*/ 1867 h 1868"/>
                <a:gd name="T52" fmla="*/ 8871 w 11327"/>
                <a:gd name="T53" fmla="*/ 1653 h 1868"/>
                <a:gd name="T54" fmla="*/ 9178 w 11327"/>
                <a:gd name="T55" fmla="*/ 1094 h 1868"/>
                <a:gd name="T56" fmla="*/ 9049 w 11327"/>
                <a:gd name="T57" fmla="*/ 414 h 1868"/>
                <a:gd name="T58" fmla="*/ 8552 w 11327"/>
                <a:gd name="T59" fmla="*/ 48 h 1868"/>
                <a:gd name="T60" fmla="*/ 7924 w 11327"/>
                <a:gd name="T61" fmla="*/ 36 h 1868"/>
                <a:gd name="T62" fmla="*/ 7459 w 11327"/>
                <a:gd name="T63" fmla="*/ 313 h 1868"/>
                <a:gd name="T64" fmla="*/ 6585 w 11327"/>
                <a:gd name="T65" fmla="*/ 42 h 1868"/>
                <a:gd name="T66" fmla="*/ 7740 w 11327"/>
                <a:gd name="T67" fmla="*/ 563 h 1868"/>
                <a:gd name="T68" fmla="*/ 8053 w 11327"/>
                <a:gd name="T69" fmla="*/ 361 h 1868"/>
                <a:gd name="T70" fmla="*/ 8492 w 11327"/>
                <a:gd name="T71" fmla="*/ 396 h 1868"/>
                <a:gd name="T72" fmla="*/ 8744 w 11327"/>
                <a:gd name="T73" fmla="*/ 660 h 1868"/>
                <a:gd name="T74" fmla="*/ 8775 w 11327"/>
                <a:gd name="T75" fmla="*/ 1095 h 1868"/>
                <a:gd name="T76" fmla="*/ 8585 w 11327"/>
                <a:gd name="T77" fmla="*/ 1418 h 1868"/>
                <a:gd name="T78" fmla="*/ 8182 w 11327"/>
                <a:gd name="T79" fmla="*/ 1522 h 1868"/>
                <a:gd name="T80" fmla="*/ 7807 w 11327"/>
                <a:gd name="T81" fmla="*/ 1385 h 1868"/>
                <a:gd name="T82" fmla="*/ 7649 w 11327"/>
                <a:gd name="T83" fmla="*/ 1033 h 1868"/>
                <a:gd name="T84" fmla="*/ 11121 w 11327"/>
                <a:gd name="T85" fmla="*/ 228 h 1868"/>
                <a:gd name="T86" fmla="*/ 10716 w 11327"/>
                <a:gd name="T87" fmla="*/ 30 h 1868"/>
                <a:gd name="T88" fmla="*/ 10126 w 11327"/>
                <a:gd name="T89" fmla="*/ 37 h 1868"/>
                <a:gd name="T90" fmla="*/ 9598 w 11327"/>
                <a:gd name="T91" fmla="*/ 385 h 1868"/>
                <a:gd name="T92" fmla="*/ 9435 w 11327"/>
                <a:gd name="T93" fmla="*/ 1039 h 1868"/>
                <a:gd name="T94" fmla="*/ 9714 w 11327"/>
                <a:gd name="T95" fmla="*/ 1617 h 1868"/>
                <a:gd name="T96" fmla="*/ 10320 w 11327"/>
                <a:gd name="T97" fmla="*/ 1863 h 1868"/>
                <a:gd name="T98" fmla="*/ 10845 w 11327"/>
                <a:gd name="T99" fmla="*/ 1799 h 1868"/>
                <a:gd name="T100" fmla="*/ 11211 w 11327"/>
                <a:gd name="T101" fmla="*/ 1551 h 1868"/>
                <a:gd name="T102" fmla="*/ 10919 w 11327"/>
                <a:gd name="T103" fmla="*/ 1325 h 1868"/>
                <a:gd name="T104" fmla="*/ 10676 w 11327"/>
                <a:gd name="T105" fmla="*/ 1473 h 1868"/>
                <a:gd name="T106" fmla="*/ 10324 w 11327"/>
                <a:gd name="T107" fmla="*/ 1504 h 1868"/>
                <a:gd name="T108" fmla="*/ 9975 w 11327"/>
                <a:gd name="T109" fmla="*/ 1332 h 1868"/>
                <a:gd name="T110" fmla="*/ 9831 w 11327"/>
                <a:gd name="T111" fmla="*/ 966 h 1868"/>
                <a:gd name="T112" fmla="*/ 9938 w 11327"/>
                <a:gd name="T113" fmla="*/ 575 h 1868"/>
                <a:gd name="T114" fmla="*/ 10261 w 11327"/>
                <a:gd name="T115" fmla="*/ 373 h 1868"/>
                <a:gd name="T116" fmla="*/ 10634 w 11327"/>
                <a:gd name="T117" fmla="*/ 382 h 1868"/>
                <a:gd name="T118" fmla="*/ 10890 w 11327"/>
                <a:gd name="T119" fmla="*/ 515 h 1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27" h="1868">
                  <a:moveTo>
                    <a:pt x="0" y="42"/>
                  </a:moveTo>
                  <a:lnTo>
                    <a:pt x="0" y="1822"/>
                  </a:lnTo>
                  <a:lnTo>
                    <a:pt x="399" y="1822"/>
                  </a:lnTo>
                  <a:lnTo>
                    <a:pt x="399" y="400"/>
                  </a:lnTo>
                  <a:lnTo>
                    <a:pt x="1352" y="400"/>
                  </a:lnTo>
                  <a:lnTo>
                    <a:pt x="1352" y="1822"/>
                  </a:lnTo>
                  <a:lnTo>
                    <a:pt x="1755" y="1822"/>
                  </a:lnTo>
                  <a:lnTo>
                    <a:pt x="1755" y="42"/>
                  </a:lnTo>
                  <a:lnTo>
                    <a:pt x="0" y="42"/>
                  </a:lnTo>
                  <a:close/>
                  <a:moveTo>
                    <a:pt x="2454" y="933"/>
                  </a:moveTo>
                  <a:lnTo>
                    <a:pt x="2454" y="900"/>
                  </a:lnTo>
                  <a:lnTo>
                    <a:pt x="2457" y="866"/>
                  </a:lnTo>
                  <a:lnTo>
                    <a:pt x="2460" y="835"/>
                  </a:lnTo>
                  <a:lnTo>
                    <a:pt x="2465" y="803"/>
                  </a:lnTo>
                  <a:lnTo>
                    <a:pt x="2472" y="773"/>
                  </a:lnTo>
                  <a:lnTo>
                    <a:pt x="2480" y="743"/>
                  </a:lnTo>
                  <a:lnTo>
                    <a:pt x="2489" y="715"/>
                  </a:lnTo>
                  <a:lnTo>
                    <a:pt x="2499" y="686"/>
                  </a:lnTo>
                  <a:lnTo>
                    <a:pt x="2511" y="660"/>
                  </a:lnTo>
                  <a:lnTo>
                    <a:pt x="2524" y="634"/>
                  </a:lnTo>
                  <a:lnTo>
                    <a:pt x="2538" y="610"/>
                  </a:lnTo>
                  <a:lnTo>
                    <a:pt x="2553" y="586"/>
                  </a:lnTo>
                  <a:lnTo>
                    <a:pt x="2570" y="563"/>
                  </a:lnTo>
                  <a:lnTo>
                    <a:pt x="2588" y="542"/>
                  </a:lnTo>
                  <a:lnTo>
                    <a:pt x="2606" y="521"/>
                  </a:lnTo>
                  <a:lnTo>
                    <a:pt x="2626" y="501"/>
                  </a:lnTo>
                  <a:lnTo>
                    <a:pt x="2646" y="483"/>
                  </a:lnTo>
                  <a:lnTo>
                    <a:pt x="2667" y="466"/>
                  </a:lnTo>
                  <a:lnTo>
                    <a:pt x="2691" y="449"/>
                  </a:lnTo>
                  <a:lnTo>
                    <a:pt x="2713" y="434"/>
                  </a:lnTo>
                  <a:lnTo>
                    <a:pt x="2737" y="420"/>
                  </a:lnTo>
                  <a:lnTo>
                    <a:pt x="2763" y="408"/>
                  </a:lnTo>
                  <a:lnTo>
                    <a:pt x="2788" y="396"/>
                  </a:lnTo>
                  <a:lnTo>
                    <a:pt x="2815" y="385"/>
                  </a:lnTo>
                  <a:lnTo>
                    <a:pt x="2842" y="375"/>
                  </a:lnTo>
                  <a:lnTo>
                    <a:pt x="2870" y="367"/>
                  </a:lnTo>
                  <a:lnTo>
                    <a:pt x="2898" y="361"/>
                  </a:lnTo>
                  <a:lnTo>
                    <a:pt x="2928" y="355"/>
                  </a:lnTo>
                  <a:lnTo>
                    <a:pt x="2957" y="351"/>
                  </a:lnTo>
                  <a:lnTo>
                    <a:pt x="2988" y="347"/>
                  </a:lnTo>
                  <a:lnTo>
                    <a:pt x="3018" y="345"/>
                  </a:lnTo>
                  <a:lnTo>
                    <a:pt x="3049" y="345"/>
                  </a:lnTo>
                  <a:lnTo>
                    <a:pt x="3080" y="345"/>
                  </a:lnTo>
                  <a:lnTo>
                    <a:pt x="3111" y="347"/>
                  </a:lnTo>
                  <a:lnTo>
                    <a:pt x="3141" y="351"/>
                  </a:lnTo>
                  <a:lnTo>
                    <a:pt x="3171" y="355"/>
                  </a:lnTo>
                  <a:lnTo>
                    <a:pt x="3200" y="361"/>
                  </a:lnTo>
                  <a:lnTo>
                    <a:pt x="3229" y="367"/>
                  </a:lnTo>
                  <a:lnTo>
                    <a:pt x="3256" y="375"/>
                  </a:lnTo>
                  <a:lnTo>
                    <a:pt x="3284" y="385"/>
                  </a:lnTo>
                  <a:lnTo>
                    <a:pt x="3310" y="396"/>
                  </a:lnTo>
                  <a:lnTo>
                    <a:pt x="3335" y="408"/>
                  </a:lnTo>
                  <a:lnTo>
                    <a:pt x="3361" y="420"/>
                  </a:lnTo>
                  <a:lnTo>
                    <a:pt x="3384" y="434"/>
                  </a:lnTo>
                  <a:lnTo>
                    <a:pt x="3408" y="449"/>
                  </a:lnTo>
                  <a:lnTo>
                    <a:pt x="3430" y="466"/>
                  </a:lnTo>
                  <a:lnTo>
                    <a:pt x="3452" y="483"/>
                  </a:lnTo>
                  <a:lnTo>
                    <a:pt x="3473" y="501"/>
                  </a:lnTo>
                  <a:lnTo>
                    <a:pt x="3492" y="521"/>
                  </a:lnTo>
                  <a:lnTo>
                    <a:pt x="3510" y="542"/>
                  </a:lnTo>
                  <a:lnTo>
                    <a:pt x="3528" y="563"/>
                  </a:lnTo>
                  <a:lnTo>
                    <a:pt x="3545" y="586"/>
                  </a:lnTo>
                  <a:lnTo>
                    <a:pt x="3560" y="610"/>
                  </a:lnTo>
                  <a:lnTo>
                    <a:pt x="3574" y="634"/>
                  </a:lnTo>
                  <a:lnTo>
                    <a:pt x="3587" y="660"/>
                  </a:lnTo>
                  <a:lnTo>
                    <a:pt x="3599" y="686"/>
                  </a:lnTo>
                  <a:lnTo>
                    <a:pt x="3609" y="715"/>
                  </a:lnTo>
                  <a:lnTo>
                    <a:pt x="3618" y="743"/>
                  </a:lnTo>
                  <a:lnTo>
                    <a:pt x="3626" y="773"/>
                  </a:lnTo>
                  <a:lnTo>
                    <a:pt x="3632" y="803"/>
                  </a:lnTo>
                  <a:lnTo>
                    <a:pt x="3637" y="835"/>
                  </a:lnTo>
                  <a:lnTo>
                    <a:pt x="3642" y="866"/>
                  </a:lnTo>
                  <a:lnTo>
                    <a:pt x="3644" y="900"/>
                  </a:lnTo>
                  <a:lnTo>
                    <a:pt x="3645" y="933"/>
                  </a:lnTo>
                  <a:lnTo>
                    <a:pt x="3644" y="968"/>
                  </a:lnTo>
                  <a:lnTo>
                    <a:pt x="3642" y="1001"/>
                  </a:lnTo>
                  <a:lnTo>
                    <a:pt x="3637" y="1033"/>
                  </a:lnTo>
                  <a:lnTo>
                    <a:pt x="3632" y="1065"/>
                  </a:lnTo>
                  <a:lnTo>
                    <a:pt x="3626" y="1095"/>
                  </a:lnTo>
                  <a:lnTo>
                    <a:pt x="3618" y="1125"/>
                  </a:lnTo>
                  <a:lnTo>
                    <a:pt x="3609" y="1153"/>
                  </a:lnTo>
                  <a:lnTo>
                    <a:pt x="3599" y="1181"/>
                  </a:lnTo>
                  <a:lnTo>
                    <a:pt x="3587" y="1207"/>
                  </a:lnTo>
                  <a:lnTo>
                    <a:pt x="3574" y="1233"/>
                  </a:lnTo>
                  <a:lnTo>
                    <a:pt x="3560" y="1258"/>
                  </a:lnTo>
                  <a:lnTo>
                    <a:pt x="3545" y="1281"/>
                  </a:lnTo>
                  <a:lnTo>
                    <a:pt x="3528" y="1305"/>
                  </a:lnTo>
                  <a:lnTo>
                    <a:pt x="3510" y="1326"/>
                  </a:lnTo>
                  <a:lnTo>
                    <a:pt x="3492" y="1346"/>
                  </a:lnTo>
                  <a:lnTo>
                    <a:pt x="3473" y="1366"/>
                  </a:lnTo>
                  <a:lnTo>
                    <a:pt x="3452" y="1385"/>
                  </a:lnTo>
                  <a:lnTo>
                    <a:pt x="3430" y="1402"/>
                  </a:lnTo>
                  <a:lnTo>
                    <a:pt x="3408" y="1418"/>
                  </a:lnTo>
                  <a:lnTo>
                    <a:pt x="3384" y="1434"/>
                  </a:lnTo>
                  <a:lnTo>
                    <a:pt x="3361" y="1447"/>
                  </a:lnTo>
                  <a:lnTo>
                    <a:pt x="3335" y="1460"/>
                  </a:lnTo>
                  <a:lnTo>
                    <a:pt x="3310" y="1472"/>
                  </a:lnTo>
                  <a:lnTo>
                    <a:pt x="3284" y="1483"/>
                  </a:lnTo>
                  <a:lnTo>
                    <a:pt x="3256" y="1492"/>
                  </a:lnTo>
                  <a:lnTo>
                    <a:pt x="3229" y="1500"/>
                  </a:lnTo>
                  <a:lnTo>
                    <a:pt x="3200" y="1507"/>
                  </a:lnTo>
                  <a:lnTo>
                    <a:pt x="3171" y="1513"/>
                  </a:lnTo>
                  <a:lnTo>
                    <a:pt x="3141" y="1517"/>
                  </a:lnTo>
                  <a:lnTo>
                    <a:pt x="3111" y="1520"/>
                  </a:lnTo>
                  <a:lnTo>
                    <a:pt x="3080" y="1522"/>
                  </a:lnTo>
                  <a:lnTo>
                    <a:pt x="3049" y="1523"/>
                  </a:lnTo>
                  <a:lnTo>
                    <a:pt x="3018" y="1522"/>
                  </a:lnTo>
                  <a:lnTo>
                    <a:pt x="2988" y="1520"/>
                  </a:lnTo>
                  <a:lnTo>
                    <a:pt x="2957" y="1517"/>
                  </a:lnTo>
                  <a:lnTo>
                    <a:pt x="2928" y="1513"/>
                  </a:lnTo>
                  <a:lnTo>
                    <a:pt x="2898" y="1507"/>
                  </a:lnTo>
                  <a:lnTo>
                    <a:pt x="2870" y="1500"/>
                  </a:lnTo>
                  <a:lnTo>
                    <a:pt x="2842" y="1492"/>
                  </a:lnTo>
                  <a:lnTo>
                    <a:pt x="2815" y="1483"/>
                  </a:lnTo>
                  <a:lnTo>
                    <a:pt x="2788" y="1472"/>
                  </a:lnTo>
                  <a:lnTo>
                    <a:pt x="2763" y="1460"/>
                  </a:lnTo>
                  <a:lnTo>
                    <a:pt x="2737" y="1447"/>
                  </a:lnTo>
                  <a:lnTo>
                    <a:pt x="2713" y="1434"/>
                  </a:lnTo>
                  <a:lnTo>
                    <a:pt x="2691" y="1418"/>
                  </a:lnTo>
                  <a:lnTo>
                    <a:pt x="2667" y="1402"/>
                  </a:lnTo>
                  <a:lnTo>
                    <a:pt x="2646" y="1385"/>
                  </a:lnTo>
                  <a:lnTo>
                    <a:pt x="2626" y="1366"/>
                  </a:lnTo>
                  <a:lnTo>
                    <a:pt x="2606" y="1346"/>
                  </a:lnTo>
                  <a:lnTo>
                    <a:pt x="2588" y="1326"/>
                  </a:lnTo>
                  <a:lnTo>
                    <a:pt x="2570" y="1305"/>
                  </a:lnTo>
                  <a:lnTo>
                    <a:pt x="2553" y="1281"/>
                  </a:lnTo>
                  <a:lnTo>
                    <a:pt x="2538" y="1258"/>
                  </a:lnTo>
                  <a:lnTo>
                    <a:pt x="2524" y="1233"/>
                  </a:lnTo>
                  <a:lnTo>
                    <a:pt x="2511" y="1207"/>
                  </a:lnTo>
                  <a:lnTo>
                    <a:pt x="2499" y="1181"/>
                  </a:lnTo>
                  <a:lnTo>
                    <a:pt x="2489" y="1153"/>
                  </a:lnTo>
                  <a:lnTo>
                    <a:pt x="2480" y="1125"/>
                  </a:lnTo>
                  <a:lnTo>
                    <a:pt x="2472" y="1095"/>
                  </a:lnTo>
                  <a:lnTo>
                    <a:pt x="2465" y="1065"/>
                  </a:lnTo>
                  <a:lnTo>
                    <a:pt x="2460" y="1033"/>
                  </a:lnTo>
                  <a:lnTo>
                    <a:pt x="2457" y="1001"/>
                  </a:lnTo>
                  <a:lnTo>
                    <a:pt x="2454" y="968"/>
                  </a:lnTo>
                  <a:lnTo>
                    <a:pt x="2454" y="933"/>
                  </a:lnTo>
                  <a:close/>
                  <a:moveTo>
                    <a:pt x="4047" y="933"/>
                  </a:moveTo>
                  <a:lnTo>
                    <a:pt x="4046" y="882"/>
                  </a:lnTo>
                  <a:lnTo>
                    <a:pt x="4042" y="831"/>
                  </a:lnTo>
                  <a:lnTo>
                    <a:pt x="4035" y="781"/>
                  </a:lnTo>
                  <a:lnTo>
                    <a:pt x="4026" y="733"/>
                  </a:lnTo>
                  <a:lnTo>
                    <a:pt x="4015" y="685"/>
                  </a:lnTo>
                  <a:lnTo>
                    <a:pt x="4002" y="640"/>
                  </a:lnTo>
                  <a:lnTo>
                    <a:pt x="3985" y="595"/>
                  </a:lnTo>
                  <a:lnTo>
                    <a:pt x="3967" y="551"/>
                  </a:lnTo>
                  <a:lnTo>
                    <a:pt x="3947" y="509"/>
                  </a:lnTo>
                  <a:lnTo>
                    <a:pt x="3924" y="469"/>
                  </a:lnTo>
                  <a:lnTo>
                    <a:pt x="3900" y="430"/>
                  </a:lnTo>
                  <a:lnTo>
                    <a:pt x="3874" y="392"/>
                  </a:lnTo>
                  <a:lnTo>
                    <a:pt x="3846" y="356"/>
                  </a:lnTo>
                  <a:lnTo>
                    <a:pt x="3815" y="321"/>
                  </a:lnTo>
                  <a:lnTo>
                    <a:pt x="3784" y="289"/>
                  </a:lnTo>
                  <a:lnTo>
                    <a:pt x="3751" y="257"/>
                  </a:lnTo>
                  <a:lnTo>
                    <a:pt x="3716" y="227"/>
                  </a:lnTo>
                  <a:lnTo>
                    <a:pt x="3679" y="199"/>
                  </a:lnTo>
                  <a:lnTo>
                    <a:pt x="3642" y="173"/>
                  </a:lnTo>
                  <a:lnTo>
                    <a:pt x="3603" y="147"/>
                  </a:lnTo>
                  <a:lnTo>
                    <a:pt x="3562" y="125"/>
                  </a:lnTo>
                  <a:lnTo>
                    <a:pt x="3521" y="104"/>
                  </a:lnTo>
                  <a:lnTo>
                    <a:pt x="3477" y="84"/>
                  </a:lnTo>
                  <a:lnTo>
                    <a:pt x="3433" y="67"/>
                  </a:lnTo>
                  <a:lnTo>
                    <a:pt x="3388" y="52"/>
                  </a:lnTo>
                  <a:lnTo>
                    <a:pt x="3342" y="39"/>
                  </a:lnTo>
                  <a:lnTo>
                    <a:pt x="3295" y="26"/>
                  </a:lnTo>
                  <a:lnTo>
                    <a:pt x="3247" y="17"/>
                  </a:lnTo>
                  <a:lnTo>
                    <a:pt x="3199" y="10"/>
                  </a:lnTo>
                  <a:lnTo>
                    <a:pt x="3149" y="4"/>
                  </a:lnTo>
                  <a:lnTo>
                    <a:pt x="3099" y="1"/>
                  </a:lnTo>
                  <a:lnTo>
                    <a:pt x="3049" y="0"/>
                  </a:lnTo>
                  <a:lnTo>
                    <a:pt x="2999" y="1"/>
                  </a:lnTo>
                  <a:lnTo>
                    <a:pt x="2949" y="4"/>
                  </a:lnTo>
                  <a:lnTo>
                    <a:pt x="2899" y="10"/>
                  </a:lnTo>
                  <a:lnTo>
                    <a:pt x="2851" y="17"/>
                  </a:lnTo>
                  <a:lnTo>
                    <a:pt x="2804" y="26"/>
                  </a:lnTo>
                  <a:lnTo>
                    <a:pt x="2756" y="39"/>
                  </a:lnTo>
                  <a:lnTo>
                    <a:pt x="2710" y="52"/>
                  </a:lnTo>
                  <a:lnTo>
                    <a:pt x="2665" y="67"/>
                  </a:lnTo>
                  <a:lnTo>
                    <a:pt x="2620" y="84"/>
                  </a:lnTo>
                  <a:lnTo>
                    <a:pt x="2578" y="104"/>
                  </a:lnTo>
                  <a:lnTo>
                    <a:pt x="2536" y="125"/>
                  </a:lnTo>
                  <a:lnTo>
                    <a:pt x="2495" y="147"/>
                  </a:lnTo>
                  <a:lnTo>
                    <a:pt x="2457" y="173"/>
                  </a:lnTo>
                  <a:lnTo>
                    <a:pt x="2418" y="199"/>
                  </a:lnTo>
                  <a:lnTo>
                    <a:pt x="2382" y="227"/>
                  </a:lnTo>
                  <a:lnTo>
                    <a:pt x="2347" y="257"/>
                  </a:lnTo>
                  <a:lnTo>
                    <a:pt x="2313" y="289"/>
                  </a:lnTo>
                  <a:lnTo>
                    <a:pt x="2282" y="321"/>
                  </a:lnTo>
                  <a:lnTo>
                    <a:pt x="2252" y="356"/>
                  </a:lnTo>
                  <a:lnTo>
                    <a:pt x="2224" y="392"/>
                  </a:lnTo>
                  <a:lnTo>
                    <a:pt x="2197" y="430"/>
                  </a:lnTo>
                  <a:lnTo>
                    <a:pt x="2173" y="469"/>
                  </a:lnTo>
                  <a:lnTo>
                    <a:pt x="2152" y="509"/>
                  </a:lnTo>
                  <a:lnTo>
                    <a:pt x="2131" y="551"/>
                  </a:lnTo>
                  <a:lnTo>
                    <a:pt x="2113" y="595"/>
                  </a:lnTo>
                  <a:lnTo>
                    <a:pt x="2097" y="640"/>
                  </a:lnTo>
                  <a:lnTo>
                    <a:pt x="2083" y="685"/>
                  </a:lnTo>
                  <a:lnTo>
                    <a:pt x="2071" y="733"/>
                  </a:lnTo>
                  <a:lnTo>
                    <a:pt x="2063" y="781"/>
                  </a:lnTo>
                  <a:lnTo>
                    <a:pt x="2056" y="831"/>
                  </a:lnTo>
                  <a:lnTo>
                    <a:pt x="2052" y="882"/>
                  </a:lnTo>
                  <a:lnTo>
                    <a:pt x="2051" y="933"/>
                  </a:lnTo>
                  <a:lnTo>
                    <a:pt x="2052" y="985"/>
                  </a:lnTo>
                  <a:lnTo>
                    <a:pt x="2056" y="1036"/>
                  </a:lnTo>
                  <a:lnTo>
                    <a:pt x="2063" y="1086"/>
                  </a:lnTo>
                  <a:lnTo>
                    <a:pt x="2071" y="1135"/>
                  </a:lnTo>
                  <a:lnTo>
                    <a:pt x="2083" y="1182"/>
                  </a:lnTo>
                  <a:lnTo>
                    <a:pt x="2097" y="1228"/>
                  </a:lnTo>
                  <a:lnTo>
                    <a:pt x="2113" y="1273"/>
                  </a:lnTo>
                  <a:lnTo>
                    <a:pt x="2131" y="1316"/>
                  </a:lnTo>
                  <a:lnTo>
                    <a:pt x="2152" y="1357"/>
                  </a:lnTo>
                  <a:lnTo>
                    <a:pt x="2173" y="1398"/>
                  </a:lnTo>
                  <a:lnTo>
                    <a:pt x="2197" y="1438"/>
                  </a:lnTo>
                  <a:lnTo>
                    <a:pt x="2224" y="1475"/>
                  </a:lnTo>
                  <a:lnTo>
                    <a:pt x="2252" y="1512"/>
                  </a:lnTo>
                  <a:lnTo>
                    <a:pt x="2282" y="1547"/>
                  </a:lnTo>
                  <a:lnTo>
                    <a:pt x="2313" y="1579"/>
                  </a:lnTo>
                  <a:lnTo>
                    <a:pt x="2347" y="1611"/>
                  </a:lnTo>
                  <a:lnTo>
                    <a:pt x="2382" y="1640"/>
                  </a:lnTo>
                  <a:lnTo>
                    <a:pt x="2418" y="1669"/>
                  </a:lnTo>
                  <a:lnTo>
                    <a:pt x="2457" y="1695"/>
                  </a:lnTo>
                  <a:lnTo>
                    <a:pt x="2495" y="1719"/>
                  </a:lnTo>
                  <a:lnTo>
                    <a:pt x="2536" y="1743"/>
                  </a:lnTo>
                  <a:lnTo>
                    <a:pt x="2578" y="1764"/>
                  </a:lnTo>
                  <a:lnTo>
                    <a:pt x="2620" y="1782"/>
                  </a:lnTo>
                  <a:lnTo>
                    <a:pt x="2665" y="1801"/>
                  </a:lnTo>
                  <a:lnTo>
                    <a:pt x="2710" y="1816"/>
                  </a:lnTo>
                  <a:lnTo>
                    <a:pt x="2756" y="1829"/>
                  </a:lnTo>
                  <a:lnTo>
                    <a:pt x="2804" y="1840"/>
                  </a:lnTo>
                  <a:lnTo>
                    <a:pt x="2851" y="1851"/>
                  </a:lnTo>
                  <a:lnTo>
                    <a:pt x="2899" y="1858"/>
                  </a:lnTo>
                  <a:lnTo>
                    <a:pt x="2949" y="1863"/>
                  </a:lnTo>
                  <a:lnTo>
                    <a:pt x="2999" y="1866"/>
                  </a:lnTo>
                  <a:lnTo>
                    <a:pt x="3049" y="1868"/>
                  </a:lnTo>
                  <a:lnTo>
                    <a:pt x="3099" y="1866"/>
                  </a:lnTo>
                  <a:lnTo>
                    <a:pt x="3149" y="1863"/>
                  </a:lnTo>
                  <a:lnTo>
                    <a:pt x="3199" y="1858"/>
                  </a:lnTo>
                  <a:lnTo>
                    <a:pt x="3247" y="1851"/>
                  </a:lnTo>
                  <a:lnTo>
                    <a:pt x="3295" y="1840"/>
                  </a:lnTo>
                  <a:lnTo>
                    <a:pt x="3342" y="1829"/>
                  </a:lnTo>
                  <a:lnTo>
                    <a:pt x="3388" y="1816"/>
                  </a:lnTo>
                  <a:lnTo>
                    <a:pt x="3433" y="1801"/>
                  </a:lnTo>
                  <a:lnTo>
                    <a:pt x="3477" y="1782"/>
                  </a:lnTo>
                  <a:lnTo>
                    <a:pt x="3521" y="1764"/>
                  </a:lnTo>
                  <a:lnTo>
                    <a:pt x="3562" y="1743"/>
                  </a:lnTo>
                  <a:lnTo>
                    <a:pt x="3603" y="1719"/>
                  </a:lnTo>
                  <a:lnTo>
                    <a:pt x="3642" y="1695"/>
                  </a:lnTo>
                  <a:lnTo>
                    <a:pt x="3679" y="1669"/>
                  </a:lnTo>
                  <a:lnTo>
                    <a:pt x="3716" y="1640"/>
                  </a:lnTo>
                  <a:lnTo>
                    <a:pt x="3751" y="1611"/>
                  </a:lnTo>
                  <a:lnTo>
                    <a:pt x="3784" y="1579"/>
                  </a:lnTo>
                  <a:lnTo>
                    <a:pt x="3815" y="1547"/>
                  </a:lnTo>
                  <a:lnTo>
                    <a:pt x="3846" y="1512"/>
                  </a:lnTo>
                  <a:lnTo>
                    <a:pt x="3874" y="1475"/>
                  </a:lnTo>
                  <a:lnTo>
                    <a:pt x="3900" y="1438"/>
                  </a:lnTo>
                  <a:lnTo>
                    <a:pt x="3924" y="1398"/>
                  </a:lnTo>
                  <a:lnTo>
                    <a:pt x="3947" y="1357"/>
                  </a:lnTo>
                  <a:lnTo>
                    <a:pt x="3967" y="1316"/>
                  </a:lnTo>
                  <a:lnTo>
                    <a:pt x="3985" y="1273"/>
                  </a:lnTo>
                  <a:lnTo>
                    <a:pt x="4002" y="1228"/>
                  </a:lnTo>
                  <a:lnTo>
                    <a:pt x="4015" y="1182"/>
                  </a:lnTo>
                  <a:lnTo>
                    <a:pt x="4026" y="1135"/>
                  </a:lnTo>
                  <a:lnTo>
                    <a:pt x="4035" y="1086"/>
                  </a:lnTo>
                  <a:lnTo>
                    <a:pt x="4042" y="1036"/>
                  </a:lnTo>
                  <a:lnTo>
                    <a:pt x="4046" y="985"/>
                  </a:lnTo>
                  <a:lnTo>
                    <a:pt x="4047" y="933"/>
                  </a:lnTo>
                  <a:close/>
                  <a:moveTo>
                    <a:pt x="4779" y="42"/>
                  </a:moveTo>
                  <a:lnTo>
                    <a:pt x="4540" y="1317"/>
                  </a:lnTo>
                  <a:lnTo>
                    <a:pt x="4535" y="1334"/>
                  </a:lnTo>
                  <a:lnTo>
                    <a:pt x="4530" y="1350"/>
                  </a:lnTo>
                  <a:lnTo>
                    <a:pt x="4524" y="1366"/>
                  </a:lnTo>
                  <a:lnTo>
                    <a:pt x="4517" y="1379"/>
                  </a:lnTo>
                  <a:lnTo>
                    <a:pt x="4510" y="1392"/>
                  </a:lnTo>
                  <a:lnTo>
                    <a:pt x="4501" y="1403"/>
                  </a:lnTo>
                  <a:lnTo>
                    <a:pt x="4491" y="1413"/>
                  </a:lnTo>
                  <a:lnTo>
                    <a:pt x="4481" y="1423"/>
                  </a:lnTo>
                  <a:lnTo>
                    <a:pt x="4469" y="1431"/>
                  </a:lnTo>
                  <a:lnTo>
                    <a:pt x="4457" y="1437"/>
                  </a:lnTo>
                  <a:lnTo>
                    <a:pt x="4444" y="1443"/>
                  </a:lnTo>
                  <a:lnTo>
                    <a:pt x="4430" y="1447"/>
                  </a:lnTo>
                  <a:lnTo>
                    <a:pt x="4415" y="1451"/>
                  </a:lnTo>
                  <a:lnTo>
                    <a:pt x="4399" y="1453"/>
                  </a:lnTo>
                  <a:lnTo>
                    <a:pt x="4383" y="1455"/>
                  </a:lnTo>
                  <a:lnTo>
                    <a:pt x="4366" y="1455"/>
                  </a:lnTo>
                  <a:lnTo>
                    <a:pt x="4172" y="1455"/>
                  </a:lnTo>
                  <a:lnTo>
                    <a:pt x="4172" y="1822"/>
                  </a:lnTo>
                  <a:lnTo>
                    <a:pt x="4385" y="1822"/>
                  </a:lnTo>
                  <a:lnTo>
                    <a:pt x="4412" y="1822"/>
                  </a:lnTo>
                  <a:lnTo>
                    <a:pt x="4439" y="1821"/>
                  </a:lnTo>
                  <a:lnTo>
                    <a:pt x="4465" y="1819"/>
                  </a:lnTo>
                  <a:lnTo>
                    <a:pt x="4491" y="1816"/>
                  </a:lnTo>
                  <a:lnTo>
                    <a:pt x="4515" y="1812"/>
                  </a:lnTo>
                  <a:lnTo>
                    <a:pt x="4540" y="1808"/>
                  </a:lnTo>
                  <a:lnTo>
                    <a:pt x="4563" y="1802"/>
                  </a:lnTo>
                  <a:lnTo>
                    <a:pt x="4586" y="1796"/>
                  </a:lnTo>
                  <a:lnTo>
                    <a:pt x="4609" y="1789"/>
                  </a:lnTo>
                  <a:lnTo>
                    <a:pt x="4630" y="1780"/>
                  </a:lnTo>
                  <a:lnTo>
                    <a:pt x="4651" y="1771"/>
                  </a:lnTo>
                  <a:lnTo>
                    <a:pt x="4672" y="1762"/>
                  </a:lnTo>
                  <a:lnTo>
                    <a:pt x="4692" y="1751"/>
                  </a:lnTo>
                  <a:lnTo>
                    <a:pt x="4710" y="1740"/>
                  </a:lnTo>
                  <a:lnTo>
                    <a:pt x="4730" y="1728"/>
                  </a:lnTo>
                  <a:lnTo>
                    <a:pt x="4747" y="1713"/>
                  </a:lnTo>
                  <a:lnTo>
                    <a:pt x="4764" y="1699"/>
                  </a:lnTo>
                  <a:lnTo>
                    <a:pt x="4781" y="1684"/>
                  </a:lnTo>
                  <a:lnTo>
                    <a:pt x="4796" y="1668"/>
                  </a:lnTo>
                  <a:lnTo>
                    <a:pt x="4811" y="1650"/>
                  </a:lnTo>
                  <a:lnTo>
                    <a:pt x="4825" y="1633"/>
                  </a:lnTo>
                  <a:lnTo>
                    <a:pt x="4839" y="1614"/>
                  </a:lnTo>
                  <a:lnTo>
                    <a:pt x="4852" y="1593"/>
                  </a:lnTo>
                  <a:lnTo>
                    <a:pt x="4864" y="1572"/>
                  </a:lnTo>
                  <a:lnTo>
                    <a:pt x="4875" y="1551"/>
                  </a:lnTo>
                  <a:lnTo>
                    <a:pt x="4885" y="1527"/>
                  </a:lnTo>
                  <a:lnTo>
                    <a:pt x="4895" y="1504"/>
                  </a:lnTo>
                  <a:lnTo>
                    <a:pt x="4905" y="1478"/>
                  </a:lnTo>
                  <a:lnTo>
                    <a:pt x="4913" y="1452"/>
                  </a:lnTo>
                  <a:lnTo>
                    <a:pt x="4920" y="1426"/>
                  </a:lnTo>
                  <a:lnTo>
                    <a:pt x="4927" y="1397"/>
                  </a:lnTo>
                  <a:lnTo>
                    <a:pt x="4932" y="1369"/>
                  </a:lnTo>
                  <a:lnTo>
                    <a:pt x="5113" y="403"/>
                  </a:lnTo>
                  <a:lnTo>
                    <a:pt x="5796" y="403"/>
                  </a:lnTo>
                  <a:lnTo>
                    <a:pt x="5796" y="1822"/>
                  </a:lnTo>
                  <a:lnTo>
                    <a:pt x="6198" y="1822"/>
                  </a:lnTo>
                  <a:lnTo>
                    <a:pt x="6198" y="42"/>
                  </a:lnTo>
                  <a:lnTo>
                    <a:pt x="4779" y="42"/>
                  </a:lnTo>
                  <a:close/>
                  <a:moveTo>
                    <a:pt x="6585" y="42"/>
                  </a:moveTo>
                  <a:lnTo>
                    <a:pt x="6585" y="1822"/>
                  </a:lnTo>
                  <a:lnTo>
                    <a:pt x="6980" y="1822"/>
                  </a:lnTo>
                  <a:lnTo>
                    <a:pt x="6980" y="1069"/>
                  </a:lnTo>
                  <a:lnTo>
                    <a:pt x="7251" y="1069"/>
                  </a:lnTo>
                  <a:lnTo>
                    <a:pt x="7258" y="1116"/>
                  </a:lnTo>
                  <a:lnTo>
                    <a:pt x="7266" y="1162"/>
                  </a:lnTo>
                  <a:lnTo>
                    <a:pt x="7277" y="1207"/>
                  </a:lnTo>
                  <a:lnTo>
                    <a:pt x="7290" y="1251"/>
                  </a:lnTo>
                  <a:lnTo>
                    <a:pt x="7304" y="1292"/>
                  </a:lnTo>
                  <a:lnTo>
                    <a:pt x="7320" y="1333"/>
                  </a:lnTo>
                  <a:lnTo>
                    <a:pt x="7338" y="1372"/>
                  </a:lnTo>
                  <a:lnTo>
                    <a:pt x="7358" y="1409"/>
                  </a:lnTo>
                  <a:lnTo>
                    <a:pt x="7379" y="1446"/>
                  </a:lnTo>
                  <a:lnTo>
                    <a:pt x="7402" y="1482"/>
                  </a:lnTo>
                  <a:lnTo>
                    <a:pt x="7427" y="1514"/>
                  </a:lnTo>
                  <a:lnTo>
                    <a:pt x="7452" y="1547"/>
                  </a:lnTo>
                  <a:lnTo>
                    <a:pt x="7480" y="1577"/>
                  </a:lnTo>
                  <a:lnTo>
                    <a:pt x="7509" y="1607"/>
                  </a:lnTo>
                  <a:lnTo>
                    <a:pt x="7540" y="1634"/>
                  </a:lnTo>
                  <a:lnTo>
                    <a:pt x="7571" y="1660"/>
                  </a:lnTo>
                  <a:lnTo>
                    <a:pt x="7604" y="1685"/>
                  </a:lnTo>
                  <a:lnTo>
                    <a:pt x="7637" y="1708"/>
                  </a:lnTo>
                  <a:lnTo>
                    <a:pt x="7673" y="1730"/>
                  </a:lnTo>
                  <a:lnTo>
                    <a:pt x="7710" y="1750"/>
                  </a:lnTo>
                  <a:lnTo>
                    <a:pt x="7747" y="1768"/>
                  </a:lnTo>
                  <a:lnTo>
                    <a:pt x="7786" y="1786"/>
                  </a:lnTo>
                  <a:lnTo>
                    <a:pt x="7824" y="1801"/>
                  </a:lnTo>
                  <a:lnTo>
                    <a:pt x="7865" y="1815"/>
                  </a:lnTo>
                  <a:lnTo>
                    <a:pt x="7907" y="1827"/>
                  </a:lnTo>
                  <a:lnTo>
                    <a:pt x="7949" y="1837"/>
                  </a:lnTo>
                  <a:lnTo>
                    <a:pt x="7991" y="1847"/>
                  </a:lnTo>
                  <a:lnTo>
                    <a:pt x="8035" y="1854"/>
                  </a:lnTo>
                  <a:lnTo>
                    <a:pt x="8080" y="1860"/>
                  </a:lnTo>
                  <a:lnTo>
                    <a:pt x="8124" y="1864"/>
                  </a:lnTo>
                  <a:lnTo>
                    <a:pt x="8170" y="1867"/>
                  </a:lnTo>
                  <a:lnTo>
                    <a:pt x="8217" y="1868"/>
                  </a:lnTo>
                  <a:lnTo>
                    <a:pt x="8267" y="1867"/>
                  </a:lnTo>
                  <a:lnTo>
                    <a:pt x="8317" y="1864"/>
                  </a:lnTo>
                  <a:lnTo>
                    <a:pt x="8364" y="1859"/>
                  </a:lnTo>
                  <a:lnTo>
                    <a:pt x="8413" y="1852"/>
                  </a:lnTo>
                  <a:lnTo>
                    <a:pt x="8460" y="1842"/>
                  </a:lnTo>
                  <a:lnTo>
                    <a:pt x="8506" y="1832"/>
                  </a:lnTo>
                  <a:lnTo>
                    <a:pt x="8552" y="1820"/>
                  </a:lnTo>
                  <a:lnTo>
                    <a:pt x="8595" y="1805"/>
                  </a:lnTo>
                  <a:lnTo>
                    <a:pt x="8639" y="1789"/>
                  </a:lnTo>
                  <a:lnTo>
                    <a:pt x="8681" y="1771"/>
                  </a:lnTo>
                  <a:lnTo>
                    <a:pt x="8721" y="1751"/>
                  </a:lnTo>
                  <a:lnTo>
                    <a:pt x="8761" y="1729"/>
                  </a:lnTo>
                  <a:lnTo>
                    <a:pt x="8799" y="1705"/>
                  </a:lnTo>
                  <a:lnTo>
                    <a:pt x="8835" y="1680"/>
                  </a:lnTo>
                  <a:lnTo>
                    <a:pt x="8871" y="1653"/>
                  </a:lnTo>
                  <a:lnTo>
                    <a:pt x="8905" y="1624"/>
                  </a:lnTo>
                  <a:lnTo>
                    <a:pt x="8937" y="1593"/>
                  </a:lnTo>
                  <a:lnTo>
                    <a:pt x="8968" y="1561"/>
                  </a:lnTo>
                  <a:lnTo>
                    <a:pt x="8996" y="1526"/>
                  </a:lnTo>
                  <a:lnTo>
                    <a:pt x="9023" y="1491"/>
                  </a:lnTo>
                  <a:lnTo>
                    <a:pt x="9049" y="1453"/>
                  </a:lnTo>
                  <a:lnTo>
                    <a:pt x="9072" y="1414"/>
                  </a:lnTo>
                  <a:lnTo>
                    <a:pt x="9094" y="1374"/>
                  </a:lnTo>
                  <a:lnTo>
                    <a:pt x="9113" y="1331"/>
                  </a:lnTo>
                  <a:lnTo>
                    <a:pt x="9130" y="1287"/>
                  </a:lnTo>
                  <a:lnTo>
                    <a:pt x="9146" y="1242"/>
                  </a:lnTo>
                  <a:lnTo>
                    <a:pt x="9159" y="1194"/>
                  </a:lnTo>
                  <a:lnTo>
                    <a:pt x="9169" y="1145"/>
                  </a:lnTo>
                  <a:lnTo>
                    <a:pt x="9178" y="1094"/>
                  </a:lnTo>
                  <a:lnTo>
                    <a:pt x="9184" y="1042"/>
                  </a:lnTo>
                  <a:lnTo>
                    <a:pt x="9188" y="988"/>
                  </a:lnTo>
                  <a:lnTo>
                    <a:pt x="9189" y="933"/>
                  </a:lnTo>
                  <a:lnTo>
                    <a:pt x="9188" y="879"/>
                  </a:lnTo>
                  <a:lnTo>
                    <a:pt x="9184" y="825"/>
                  </a:lnTo>
                  <a:lnTo>
                    <a:pt x="9178" y="773"/>
                  </a:lnTo>
                  <a:lnTo>
                    <a:pt x="9169" y="723"/>
                  </a:lnTo>
                  <a:lnTo>
                    <a:pt x="9159" y="674"/>
                  </a:lnTo>
                  <a:lnTo>
                    <a:pt x="9146" y="626"/>
                  </a:lnTo>
                  <a:lnTo>
                    <a:pt x="9130" y="581"/>
                  </a:lnTo>
                  <a:lnTo>
                    <a:pt x="9113" y="537"/>
                  </a:lnTo>
                  <a:lnTo>
                    <a:pt x="9094" y="494"/>
                  </a:lnTo>
                  <a:lnTo>
                    <a:pt x="9072" y="453"/>
                  </a:lnTo>
                  <a:lnTo>
                    <a:pt x="9049" y="414"/>
                  </a:lnTo>
                  <a:lnTo>
                    <a:pt x="9023" y="376"/>
                  </a:lnTo>
                  <a:lnTo>
                    <a:pt x="8996" y="341"/>
                  </a:lnTo>
                  <a:lnTo>
                    <a:pt x="8968" y="307"/>
                  </a:lnTo>
                  <a:lnTo>
                    <a:pt x="8937" y="275"/>
                  </a:lnTo>
                  <a:lnTo>
                    <a:pt x="8905" y="244"/>
                  </a:lnTo>
                  <a:lnTo>
                    <a:pt x="8871" y="215"/>
                  </a:lnTo>
                  <a:lnTo>
                    <a:pt x="8835" y="187"/>
                  </a:lnTo>
                  <a:lnTo>
                    <a:pt x="8799" y="162"/>
                  </a:lnTo>
                  <a:lnTo>
                    <a:pt x="8761" y="138"/>
                  </a:lnTo>
                  <a:lnTo>
                    <a:pt x="8721" y="117"/>
                  </a:lnTo>
                  <a:lnTo>
                    <a:pt x="8681" y="97"/>
                  </a:lnTo>
                  <a:lnTo>
                    <a:pt x="8639" y="78"/>
                  </a:lnTo>
                  <a:lnTo>
                    <a:pt x="8595" y="62"/>
                  </a:lnTo>
                  <a:lnTo>
                    <a:pt x="8552" y="48"/>
                  </a:lnTo>
                  <a:lnTo>
                    <a:pt x="8506" y="36"/>
                  </a:lnTo>
                  <a:lnTo>
                    <a:pt x="8460" y="24"/>
                  </a:lnTo>
                  <a:lnTo>
                    <a:pt x="8413" y="16"/>
                  </a:lnTo>
                  <a:lnTo>
                    <a:pt x="8364" y="9"/>
                  </a:lnTo>
                  <a:lnTo>
                    <a:pt x="8317" y="4"/>
                  </a:lnTo>
                  <a:lnTo>
                    <a:pt x="8267" y="1"/>
                  </a:lnTo>
                  <a:lnTo>
                    <a:pt x="8217" y="0"/>
                  </a:lnTo>
                  <a:lnTo>
                    <a:pt x="8173" y="1"/>
                  </a:lnTo>
                  <a:lnTo>
                    <a:pt x="8131" y="3"/>
                  </a:lnTo>
                  <a:lnTo>
                    <a:pt x="8088" y="7"/>
                  </a:lnTo>
                  <a:lnTo>
                    <a:pt x="8046" y="12"/>
                  </a:lnTo>
                  <a:lnTo>
                    <a:pt x="8004" y="18"/>
                  </a:lnTo>
                  <a:lnTo>
                    <a:pt x="7964" y="26"/>
                  </a:lnTo>
                  <a:lnTo>
                    <a:pt x="7924" y="36"/>
                  </a:lnTo>
                  <a:lnTo>
                    <a:pt x="7884" y="47"/>
                  </a:lnTo>
                  <a:lnTo>
                    <a:pt x="7846" y="59"/>
                  </a:lnTo>
                  <a:lnTo>
                    <a:pt x="7808" y="73"/>
                  </a:lnTo>
                  <a:lnTo>
                    <a:pt x="7772" y="88"/>
                  </a:lnTo>
                  <a:lnTo>
                    <a:pt x="7736" y="105"/>
                  </a:lnTo>
                  <a:lnTo>
                    <a:pt x="7700" y="122"/>
                  </a:lnTo>
                  <a:lnTo>
                    <a:pt x="7667" y="141"/>
                  </a:lnTo>
                  <a:lnTo>
                    <a:pt x="7633" y="162"/>
                  </a:lnTo>
                  <a:lnTo>
                    <a:pt x="7602" y="184"/>
                  </a:lnTo>
                  <a:lnTo>
                    <a:pt x="7571" y="207"/>
                  </a:lnTo>
                  <a:lnTo>
                    <a:pt x="7542" y="232"/>
                  </a:lnTo>
                  <a:lnTo>
                    <a:pt x="7512" y="257"/>
                  </a:lnTo>
                  <a:lnTo>
                    <a:pt x="7486" y="285"/>
                  </a:lnTo>
                  <a:lnTo>
                    <a:pt x="7459" y="313"/>
                  </a:lnTo>
                  <a:lnTo>
                    <a:pt x="7435" y="343"/>
                  </a:lnTo>
                  <a:lnTo>
                    <a:pt x="7412" y="374"/>
                  </a:lnTo>
                  <a:lnTo>
                    <a:pt x="7389" y="406"/>
                  </a:lnTo>
                  <a:lnTo>
                    <a:pt x="7369" y="439"/>
                  </a:lnTo>
                  <a:lnTo>
                    <a:pt x="7350" y="475"/>
                  </a:lnTo>
                  <a:lnTo>
                    <a:pt x="7331" y="510"/>
                  </a:lnTo>
                  <a:lnTo>
                    <a:pt x="7315" y="548"/>
                  </a:lnTo>
                  <a:lnTo>
                    <a:pt x="7301" y="586"/>
                  </a:lnTo>
                  <a:lnTo>
                    <a:pt x="7287" y="625"/>
                  </a:lnTo>
                  <a:lnTo>
                    <a:pt x="7276" y="666"/>
                  </a:lnTo>
                  <a:lnTo>
                    <a:pt x="7267" y="709"/>
                  </a:lnTo>
                  <a:lnTo>
                    <a:pt x="6980" y="709"/>
                  </a:lnTo>
                  <a:lnTo>
                    <a:pt x="6980" y="42"/>
                  </a:lnTo>
                  <a:lnTo>
                    <a:pt x="6585" y="42"/>
                  </a:lnTo>
                  <a:close/>
                  <a:moveTo>
                    <a:pt x="7643" y="933"/>
                  </a:moveTo>
                  <a:lnTo>
                    <a:pt x="7644" y="900"/>
                  </a:lnTo>
                  <a:lnTo>
                    <a:pt x="7645" y="866"/>
                  </a:lnTo>
                  <a:lnTo>
                    <a:pt x="7649" y="835"/>
                  </a:lnTo>
                  <a:lnTo>
                    <a:pt x="7653" y="803"/>
                  </a:lnTo>
                  <a:lnTo>
                    <a:pt x="7658" y="773"/>
                  </a:lnTo>
                  <a:lnTo>
                    <a:pt x="7664" y="743"/>
                  </a:lnTo>
                  <a:lnTo>
                    <a:pt x="7672" y="715"/>
                  </a:lnTo>
                  <a:lnTo>
                    <a:pt x="7680" y="686"/>
                  </a:lnTo>
                  <a:lnTo>
                    <a:pt x="7690" y="660"/>
                  </a:lnTo>
                  <a:lnTo>
                    <a:pt x="7700" y="634"/>
                  </a:lnTo>
                  <a:lnTo>
                    <a:pt x="7713" y="610"/>
                  </a:lnTo>
                  <a:lnTo>
                    <a:pt x="7726" y="586"/>
                  </a:lnTo>
                  <a:lnTo>
                    <a:pt x="7740" y="563"/>
                  </a:lnTo>
                  <a:lnTo>
                    <a:pt x="7755" y="542"/>
                  </a:lnTo>
                  <a:lnTo>
                    <a:pt x="7772" y="521"/>
                  </a:lnTo>
                  <a:lnTo>
                    <a:pt x="7789" y="501"/>
                  </a:lnTo>
                  <a:lnTo>
                    <a:pt x="7807" y="483"/>
                  </a:lnTo>
                  <a:lnTo>
                    <a:pt x="7828" y="466"/>
                  </a:lnTo>
                  <a:lnTo>
                    <a:pt x="7848" y="449"/>
                  </a:lnTo>
                  <a:lnTo>
                    <a:pt x="7870" y="434"/>
                  </a:lnTo>
                  <a:lnTo>
                    <a:pt x="7893" y="420"/>
                  </a:lnTo>
                  <a:lnTo>
                    <a:pt x="7917" y="408"/>
                  </a:lnTo>
                  <a:lnTo>
                    <a:pt x="7942" y="396"/>
                  </a:lnTo>
                  <a:lnTo>
                    <a:pt x="7968" y="385"/>
                  </a:lnTo>
                  <a:lnTo>
                    <a:pt x="7995" y="375"/>
                  </a:lnTo>
                  <a:lnTo>
                    <a:pt x="8024" y="367"/>
                  </a:lnTo>
                  <a:lnTo>
                    <a:pt x="8053" y="361"/>
                  </a:lnTo>
                  <a:lnTo>
                    <a:pt x="8084" y="355"/>
                  </a:lnTo>
                  <a:lnTo>
                    <a:pt x="8115" y="351"/>
                  </a:lnTo>
                  <a:lnTo>
                    <a:pt x="8148" y="347"/>
                  </a:lnTo>
                  <a:lnTo>
                    <a:pt x="8182" y="345"/>
                  </a:lnTo>
                  <a:lnTo>
                    <a:pt x="8217" y="345"/>
                  </a:lnTo>
                  <a:lnTo>
                    <a:pt x="8252" y="345"/>
                  </a:lnTo>
                  <a:lnTo>
                    <a:pt x="8285" y="347"/>
                  </a:lnTo>
                  <a:lnTo>
                    <a:pt x="8318" y="351"/>
                  </a:lnTo>
                  <a:lnTo>
                    <a:pt x="8349" y="355"/>
                  </a:lnTo>
                  <a:lnTo>
                    <a:pt x="8380" y="361"/>
                  </a:lnTo>
                  <a:lnTo>
                    <a:pt x="8409" y="367"/>
                  </a:lnTo>
                  <a:lnTo>
                    <a:pt x="8438" y="375"/>
                  </a:lnTo>
                  <a:lnTo>
                    <a:pt x="8465" y="385"/>
                  </a:lnTo>
                  <a:lnTo>
                    <a:pt x="8492" y="396"/>
                  </a:lnTo>
                  <a:lnTo>
                    <a:pt x="8517" y="408"/>
                  </a:lnTo>
                  <a:lnTo>
                    <a:pt x="8540" y="420"/>
                  </a:lnTo>
                  <a:lnTo>
                    <a:pt x="8564" y="434"/>
                  </a:lnTo>
                  <a:lnTo>
                    <a:pt x="8585" y="449"/>
                  </a:lnTo>
                  <a:lnTo>
                    <a:pt x="8607" y="466"/>
                  </a:lnTo>
                  <a:lnTo>
                    <a:pt x="8626" y="483"/>
                  </a:lnTo>
                  <a:lnTo>
                    <a:pt x="8644" y="501"/>
                  </a:lnTo>
                  <a:lnTo>
                    <a:pt x="8662" y="521"/>
                  </a:lnTo>
                  <a:lnTo>
                    <a:pt x="8679" y="542"/>
                  </a:lnTo>
                  <a:lnTo>
                    <a:pt x="8694" y="563"/>
                  </a:lnTo>
                  <a:lnTo>
                    <a:pt x="8708" y="586"/>
                  </a:lnTo>
                  <a:lnTo>
                    <a:pt x="8720" y="610"/>
                  </a:lnTo>
                  <a:lnTo>
                    <a:pt x="8733" y="634"/>
                  </a:lnTo>
                  <a:lnTo>
                    <a:pt x="8744" y="660"/>
                  </a:lnTo>
                  <a:lnTo>
                    <a:pt x="8753" y="686"/>
                  </a:lnTo>
                  <a:lnTo>
                    <a:pt x="8762" y="715"/>
                  </a:lnTo>
                  <a:lnTo>
                    <a:pt x="8769" y="743"/>
                  </a:lnTo>
                  <a:lnTo>
                    <a:pt x="8775" y="773"/>
                  </a:lnTo>
                  <a:lnTo>
                    <a:pt x="8780" y="803"/>
                  </a:lnTo>
                  <a:lnTo>
                    <a:pt x="8785" y="835"/>
                  </a:lnTo>
                  <a:lnTo>
                    <a:pt x="8788" y="866"/>
                  </a:lnTo>
                  <a:lnTo>
                    <a:pt x="8790" y="900"/>
                  </a:lnTo>
                  <a:lnTo>
                    <a:pt x="8790" y="933"/>
                  </a:lnTo>
                  <a:lnTo>
                    <a:pt x="8790" y="968"/>
                  </a:lnTo>
                  <a:lnTo>
                    <a:pt x="8788" y="1001"/>
                  </a:lnTo>
                  <a:lnTo>
                    <a:pt x="8785" y="1033"/>
                  </a:lnTo>
                  <a:lnTo>
                    <a:pt x="8780" y="1065"/>
                  </a:lnTo>
                  <a:lnTo>
                    <a:pt x="8775" y="1095"/>
                  </a:lnTo>
                  <a:lnTo>
                    <a:pt x="8769" y="1125"/>
                  </a:lnTo>
                  <a:lnTo>
                    <a:pt x="8762" y="1153"/>
                  </a:lnTo>
                  <a:lnTo>
                    <a:pt x="8753" y="1181"/>
                  </a:lnTo>
                  <a:lnTo>
                    <a:pt x="8744" y="1207"/>
                  </a:lnTo>
                  <a:lnTo>
                    <a:pt x="8733" y="1233"/>
                  </a:lnTo>
                  <a:lnTo>
                    <a:pt x="8720" y="1258"/>
                  </a:lnTo>
                  <a:lnTo>
                    <a:pt x="8708" y="1281"/>
                  </a:lnTo>
                  <a:lnTo>
                    <a:pt x="8694" y="1305"/>
                  </a:lnTo>
                  <a:lnTo>
                    <a:pt x="8679" y="1326"/>
                  </a:lnTo>
                  <a:lnTo>
                    <a:pt x="8662" y="1346"/>
                  </a:lnTo>
                  <a:lnTo>
                    <a:pt x="8644" y="1366"/>
                  </a:lnTo>
                  <a:lnTo>
                    <a:pt x="8626" y="1385"/>
                  </a:lnTo>
                  <a:lnTo>
                    <a:pt x="8607" y="1402"/>
                  </a:lnTo>
                  <a:lnTo>
                    <a:pt x="8585" y="1418"/>
                  </a:lnTo>
                  <a:lnTo>
                    <a:pt x="8564" y="1434"/>
                  </a:lnTo>
                  <a:lnTo>
                    <a:pt x="8540" y="1447"/>
                  </a:lnTo>
                  <a:lnTo>
                    <a:pt x="8517" y="1460"/>
                  </a:lnTo>
                  <a:lnTo>
                    <a:pt x="8492" y="1472"/>
                  </a:lnTo>
                  <a:lnTo>
                    <a:pt x="8465" y="1483"/>
                  </a:lnTo>
                  <a:lnTo>
                    <a:pt x="8438" y="1492"/>
                  </a:lnTo>
                  <a:lnTo>
                    <a:pt x="8409" y="1500"/>
                  </a:lnTo>
                  <a:lnTo>
                    <a:pt x="8380" y="1507"/>
                  </a:lnTo>
                  <a:lnTo>
                    <a:pt x="8349" y="1513"/>
                  </a:lnTo>
                  <a:lnTo>
                    <a:pt x="8318" y="1517"/>
                  </a:lnTo>
                  <a:lnTo>
                    <a:pt x="8285" y="1520"/>
                  </a:lnTo>
                  <a:lnTo>
                    <a:pt x="8252" y="1522"/>
                  </a:lnTo>
                  <a:lnTo>
                    <a:pt x="8217" y="1523"/>
                  </a:lnTo>
                  <a:lnTo>
                    <a:pt x="8182" y="1522"/>
                  </a:lnTo>
                  <a:lnTo>
                    <a:pt x="8148" y="1520"/>
                  </a:lnTo>
                  <a:lnTo>
                    <a:pt x="8115" y="1517"/>
                  </a:lnTo>
                  <a:lnTo>
                    <a:pt x="8084" y="1513"/>
                  </a:lnTo>
                  <a:lnTo>
                    <a:pt x="8053" y="1507"/>
                  </a:lnTo>
                  <a:lnTo>
                    <a:pt x="8024" y="1500"/>
                  </a:lnTo>
                  <a:lnTo>
                    <a:pt x="7995" y="1492"/>
                  </a:lnTo>
                  <a:lnTo>
                    <a:pt x="7968" y="1483"/>
                  </a:lnTo>
                  <a:lnTo>
                    <a:pt x="7942" y="1472"/>
                  </a:lnTo>
                  <a:lnTo>
                    <a:pt x="7917" y="1460"/>
                  </a:lnTo>
                  <a:lnTo>
                    <a:pt x="7893" y="1447"/>
                  </a:lnTo>
                  <a:lnTo>
                    <a:pt x="7870" y="1434"/>
                  </a:lnTo>
                  <a:lnTo>
                    <a:pt x="7848" y="1418"/>
                  </a:lnTo>
                  <a:lnTo>
                    <a:pt x="7828" y="1402"/>
                  </a:lnTo>
                  <a:lnTo>
                    <a:pt x="7807" y="1385"/>
                  </a:lnTo>
                  <a:lnTo>
                    <a:pt x="7789" y="1366"/>
                  </a:lnTo>
                  <a:lnTo>
                    <a:pt x="7772" y="1346"/>
                  </a:lnTo>
                  <a:lnTo>
                    <a:pt x="7755" y="1326"/>
                  </a:lnTo>
                  <a:lnTo>
                    <a:pt x="7740" y="1305"/>
                  </a:lnTo>
                  <a:lnTo>
                    <a:pt x="7726" y="1281"/>
                  </a:lnTo>
                  <a:lnTo>
                    <a:pt x="7713" y="1258"/>
                  </a:lnTo>
                  <a:lnTo>
                    <a:pt x="7700" y="1233"/>
                  </a:lnTo>
                  <a:lnTo>
                    <a:pt x="7690" y="1207"/>
                  </a:lnTo>
                  <a:lnTo>
                    <a:pt x="7680" y="1181"/>
                  </a:lnTo>
                  <a:lnTo>
                    <a:pt x="7672" y="1153"/>
                  </a:lnTo>
                  <a:lnTo>
                    <a:pt x="7664" y="1125"/>
                  </a:lnTo>
                  <a:lnTo>
                    <a:pt x="7658" y="1095"/>
                  </a:lnTo>
                  <a:lnTo>
                    <a:pt x="7653" y="1065"/>
                  </a:lnTo>
                  <a:lnTo>
                    <a:pt x="7649" y="1033"/>
                  </a:lnTo>
                  <a:lnTo>
                    <a:pt x="7645" y="1001"/>
                  </a:lnTo>
                  <a:lnTo>
                    <a:pt x="7644" y="968"/>
                  </a:lnTo>
                  <a:lnTo>
                    <a:pt x="7643" y="933"/>
                  </a:lnTo>
                  <a:close/>
                  <a:moveTo>
                    <a:pt x="11327" y="477"/>
                  </a:moveTo>
                  <a:lnTo>
                    <a:pt x="11310" y="447"/>
                  </a:lnTo>
                  <a:lnTo>
                    <a:pt x="11291" y="420"/>
                  </a:lnTo>
                  <a:lnTo>
                    <a:pt x="11272" y="392"/>
                  </a:lnTo>
                  <a:lnTo>
                    <a:pt x="11253" y="366"/>
                  </a:lnTo>
                  <a:lnTo>
                    <a:pt x="11232" y="341"/>
                  </a:lnTo>
                  <a:lnTo>
                    <a:pt x="11211" y="316"/>
                  </a:lnTo>
                  <a:lnTo>
                    <a:pt x="11190" y="293"/>
                  </a:lnTo>
                  <a:lnTo>
                    <a:pt x="11167" y="270"/>
                  </a:lnTo>
                  <a:lnTo>
                    <a:pt x="11144" y="248"/>
                  </a:lnTo>
                  <a:lnTo>
                    <a:pt x="11121" y="228"/>
                  </a:lnTo>
                  <a:lnTo>
                    <a:pt x="11096" y="207"/>
                  </a:lnTo>
                  <a:lnTo>
                    <a:pt x="11071" y="188"/>
                  </a:lnTo>
                  <a:lnTo>
                    <a:pt x="11045" y="171"/>
                  </a:lnTo>
                  <a:lnTo>
                    <a:pt x="11018" y="154"/>
                  </a:lnTo>
                  <a:lnTo>
                    <a:pt x="10991" y="136"/>
                  </a:lnTo>
                  <a:lnTo>
                    <a:pt x="10963" y="121"/>
                  </a:lnTo>
                  <a:lnTo>
                    <a:pt x="10934" y="107"/>
                  </a:lnTo>
                  <a:lnTo>
                    <a:pt x="10905" y="93"/>
                  </a:lnTo>
                  <a:lnTo>
                    <a:pt x="10875" y="80"/>
                  </a:lnTo>
                  <a:lnTo>
                    <a:pt x="10845" y="68"/>
                  </a:lnTo>
                  <a:lnTo>
                    <a:pt x="10813" y="58"/>
                  </a:lnTo>
                  <a:lnTo>
                    <a:pt x="10782" y="48"/>
                  </a:lnTo>
                  <a:lnTo>
                    <a:pt x="10749" y="39"/>
                  </a:lnTo>
                  <a:lnTo>
                    <a:pt x="10716" y="30"/>
                  </a:lnTo>
                  <a:lnTo>
                    <a:pt x="10682" y="23"/>
                  </a:lnTo>
                  <a:lnTo>
                    <a:pt x="10648" y="17"/>
                  </a:lnTo>
                  <a:lnTo>
                    <a:pt x="10612" y="12"/>
                  </a:lnTo>
                  <a:lnTo>
                    <a:pt x="10576" y="8"/>
                  </a:lnTo>
                  <a:lnTo>
                    <a:pt x="10540" y="4"/>
                  </a:lnTo>
                  <a:lnTo>
                    <a:pt x="10502" y="2"/>
                  </a:lnTo>
                  <a:lnTo>
                    <a:pt x="10465" y="1"/>
                  </a:lnTo>
                  <a:lnTo>
                    <a:pt x="10426" y="0"/>
                  </a:lnTo>
                  <a:lnTo>
                    <a:pt x="10373" y="1"/>
                  </a:lnTo>
                  <a:lnTo>
                    <a:pt x="10322" y="4"/>
                  </a:lnTo>
                  <a:lnTo>
                    <a:pt x="10271" y="9"/>
                  </a:lnTo>
                  <a:lnTo>
                    <a:pt x="10222" y="16"/>
                  </a:lnTo>
                  <a:lnTo>
                    <a:pt x="10174" y="25"/>
                  </a:lnTo>
                  <a:lnTo>
                    <a:pt x="10126" y="37"/>
                  </a:lnTo>
                  <a:lnTo>
                    <a:pt x="10079" y="50"/>
                  </a:lnTo>
                  <a:lnTo>
                    <a:pt x="10033" y="65"/>
                  </a:lnTo>
                  <a:lnTo>
                    <a:pt x="9990" y="81"/>
                  </a:lnTo>
                  <a:lnTo>
                    <a:pt x="9947" y="101"/>
                  </a:lnTo>
                  <a:lnTo>
                    <a:pt x="9905" y="121"/>
                  </a:lnTo>
                  <a:lnTo>
                    <a:pt x="9865" y="143"/>
                  </a:lnTo>
                  <a:lnTo>
                    <a:pt x="9826" y="168"/>
                  </a:lnTo>
                  <a:lnTo>
                    <a:pt x="9788" y="194"/>
                  </a:lnTo>
                  <a:lnTo>
                    <a:pt x="9753" y="222"/>
                  </a:lnTo>
                  <a:lnTo>
                    <a:pt x="9718" y="251"/>
                  </a:lnTo>
                  <a:lnTo>
                    <a:pt x="9686" y="282"/>
                  </a:lnTo>
                  <a:lnTo>
                    <a:pt x="9654" y="314"/>
                  </a:lnTo>
                  <a:lnTo>
                    <a:pt x="9626" y="349"/>
                  </a:lnTo>
                  <a:lnTo>
                    <a:pt x="9598" y="385"/>
                  </a:lnTo>
                  <a:lnTo>
                    <a:pt x="9572" y="423"/>
                  </a:lnTo>
                  <a:lnTo>
                    <a:pt x="9548" y="462"/>
                  </a:lnTo>
                  <a:lnTo>
                    <a:pt x="9527" y="502"/>
                  </a:lnTo>
                  <a:lnTo>
                    <a:pt x="9508" y="545"/>
                  </a:lnTo>
                  <a:lnTo>
                    <a:pt x="9489" y="589"/>
                  </a:lnTo>
                  <a:lnTo>
                    <a:pt x="9474" y="633"/>
                  </a:lnTo>
                  <a:lnTo>
                    <a:pt x="9461" y="680"/>
                  </a:lnTo>
                  <a:lnTo>
                    <a:pt x="9451" y="728"/>
                  </a:lnTo>
                  <a:lnTo>
                    <a:pt x="9441" y="778"/>
                  </a:lnTo>
                  <a:lnTo>
                    <a:pt x="9435" y="829"/>
                  </a:lnTo>
                  <a:lnTo>
                    <a:pt x="9432" y="881"/>
                  </a:lnTo>
                  <a:lnTo>
                    <a:pt x="9430" y="933"/>
                  </a:lnTo>
                  <a:lnTo>
                    <a:pt x="9431" y="987"/>
                  </a:lnTo>
                  <a:lnTo>
                    <a:pt x="9435" y="1039"/>
                  </a:lnTo>
                  <a:lnTo>
                    <a:pt x="9441" y="1090"/>
                  </a:lnTo>
                  <a:lnTo>
                    <a:pt x="9450" y="1139"/>
                  </a:lnTo>
                  <a:lnTo>
                    <a:pt x="9461" y="1188"/>
                  </a:lnTo>
                  <a:lnTo>
                    <a:pt x="9474" y="1234"/>
                  </a:lnTo>
                  <a:lnTo>
                    <a:pt x="9488" y="1279"/>
                  </a:lnTo>
                  <a:lnTo>
                    <a:pt x="9506" y="1323"/>
                  </a:lnTo>
                  <a:lnTo>
                    <a:pt x="9525" y="1365"/>
                  </a:lnTo>
                  <a:lnTo>
                    <a:pt x="9546" y="1405"/>
                  </a:lnTo>
                  <a:lnTo>
                    <a:pt x="9570" y="1445"/>
                  </a:lnTo>
                  <a:lnTo>
                    <a:pt x="9595" y="1483"/>
                  </a:lnTo>
                  <a:lnTo>
                    <a:pt x="9623" y="1518"/>
                  </a:lnTo>
                  <a:lnTo>
                    <a:pt x="9651" y="1553"/>
                  </a:lnTo>
                  <a:lnTo>
                    <a:pt x="9681" y="1585"/>
                  </a:lnTo>
                  <a:lnTo>
                    <a:pt x="9714" y="1617"/>
                  </a:lnTo>
                  <a:lnTo>
                    <a:pt x="9749" y="1646"/>
                  </a:lnTo>
                  <a:lnTo>
                    <a:pt x="9784" y="1674"/>
                  </a:lnTo>
                  <a:lnTo>
                    <a:pt x="9822" y="1700"/>
                  </a:lnTo>
                  <a:lnTo>
                    <a:pt x="9860" y="1724"/>
                  </a:lnTo>
                  <a:lnTo>
                    <a:pt x="9900" y="1746"/>
                  </a:lnTo>
                  <a:lnTo>
                    <a:pt x="9942" y="1767"/>
                  </a:lnTo>
                  <a:lnTo>
                    <a:pt x="9986" y="1786"/>
                  </a:lnTo>
                  <a:lnTo>
                    <a:pt x="10029" y="1803"/>
                  </a:lnTo>
                  <a:lnTo>
                    <a:pt x="10075" y="1818"/>
                  </a:lnTo>
                  <a:lnTo>
                    <a:pt x="10122" y="1830"/>
                  </a:lnTo>
                  <a:lnTo>
                    <a:pt x="10170" y="1841"/>
                  </a:lnTo>
                  <a:lnTo>
                    <a:pt x="10219" y="1851"/>
                  </a:lnTo>
                  <a:lnTo>
                    <a:pt x="10269" y="1858"/>
                  </a:lnTo>
                  <a:lnTo>
                    <a:pt x="10320" y="1863"/>
                  </a:lnTo>
                  <a:lnTo>
                    <a:pt x="10372" y="1867"/>
                  </a:lnTo>
                  <a:lnTo>
                    <a:pt x="10426" y="1868"/>
                  </a:lnTo>
                  <a:lnTo>
                    <a:pt x="10465" y="1867"/>
                  </a:lnTo>
                  <a:lnTo>
                    <a:pt x="10502" y="1866"/>
                  </a:lnTo>
                  <a:lnTo>
                    <a:pt x="10540" y="1863"/>
                  </a:lnTo>
                  <a:lnTo>
                    <a:pt x="10576" y="1860"/>
                  </a:lnTo>
                  <a:lnTo>
                    <a:pt x="10612" y="1856"/>
                  </a:lnTo>
                  <a:lnTo>
                    <a:pt x="10648" y="1851"/>
                  </a:lnTo>
                  <a:lnTo>
                    <a:pt x="10682" y="1845"/>
                  </a:lnTo>
                  <a:lnTo>
                    <a:pt x="10716" y="1837"/>
                  </a:lnTo>
                  <a:lnTo>
                    <a:pt x="10749" y="1829"/>
                  </a:lnTo>
                  <a:lnTo>
                    <a:pt x="10782" y="1820"/>
                  </a:lnTo>
                  <a:lnTo>
                    <a:pt x="10813" y="1810"/>
                  </a:lnTo>
                  <a:lnTo>
                    <a:pt x="10845" y="1799"/>
                  </a:lnTo>
                  <a:lnTo>
                    <a:pt x="10875" y="1788"/>
                  </a:lnTo>
                  <a:lnTo>
                    <a:pt x="10905" y="1774"/>
                  </a:lnTo>
                  <a:lnTo>
                    <a:pt x="10934" y="1761"/>
                  </a:lnTo>
                  <a:lnTo>
                    <a:pt x="10963" y="1746"/>
                  </a:lnTo>
                  <a:lnTo>
                    <a:pt x="10991" y="1731"/>
                  </a:lnTo>
                  <a:lnTo>
                    <a:pt x="11018" y="1714"/>
                  </a:lnTo>
                  <a:lnTo>
                    <a:pt x="11045" y="1697"/>
                  </a:lnTo>
                  <a:lnTo>
                    <a:pt x="11071" y="1679"/>
                  </a:lnTo>
                  <a:lnTo>
                    <a:pt x="11096" y="1659"/>
                  </a:lnTo>
                  <a:lnTo>
                    <a:pt x="11121" y="1640"/>
                  </a:lnTo>
                  <a:lnTo>
                    <a:pt x="11144" y="1619"/>
                  </a:lnTo>
                  <a:lnTo>
                    <a:pt x="11167" y="1597"/>
                  </a:lnTo>
                  <a:lnTo>
                    <a:pt x="11190" y="1574"/>
                  </a:lnTo>
                  <a:lnTo>
                    <a:pt x="11211" y="1551"/>
                  </a:lnTo>
                  <a:lnTo>
                    <a:pt x="11232" y="1526"/>
                  </a:lnTo>
                  <a:lnTo>
                    <a:pt x="11253" y="1501"/>
                  </a:lnTo>
                  <a:lnTo>
                    <a:pt x="11272" y="1474"/>
                  </a:lnTo>
                  <a:lnTo>
                    <a:pt x="11291" y="1448"/>
                  </a:lnTo>
                  <a:lnTo>
                    <a:pt x="11310" y="1419"/>
                  </a:lnTo>
                  <a:lnTo>
                    <a:pt x="11327" y="1391"/>
                  </a:lnTo>
                  <a:lnTo>
                    <a:pt x="11015" y="1211"/>
                  </a:lnTo>
                  <a:lnTo>
                    <a:pt x="11002" y="1228"/>
                  </a:lnTo>
                  <a:lnTo>
                    <a:pt x="10988" y="1246"/>
                  </a:lnTo>
                  <a:lnTo>
                    <a:pt x="10975" y="1263"/>
                  </a:lnTo>
                  <a:lnTo>
                    <a:pt x="10962" y="1279"/>
                  </a:lnTo>
                  <a:lnTo>
                    <a:pt x="10948" y="1294"/>
                  </a:lnTo>
                  <a:lnTo>
                    <a:pt x="10933" y="1310"/>
                  </a:lnTo>
                  <a:lnTo>
                    <a:pt x="10919" y="1325"/>
                  </a:lnTo>
                  <a:lnTo>
                    <a:pt x="10904" y="1339"/>
                  </a:lnTo>
                  <a:lnTo>
                    <a:pt x="10890" y="1352"/>
                  </a:lnTo>
                  <a:lnTo>
                    <a:pt x="10873" y="1366"/>
                  </a:lnTo>
                  <a:lnTo>
                    <a:pt x="10858" y="1378"/>
                  </a:lnTo>
                  <a:lnTo>
                    <a:pt x="10842" y="1390"/>
                  </a:lnTo>
                  <a:lnTo>
                    <a:pt x="10825" y="1402"/>
                  </a:lnTo>
                  <a:lnTo>
                    <a:pt x="10807" y="1412"/>
                  </a:lnTo>
                  <a:lnTo>
                    <a:pt x="10790" y="1423"/>
                  </a:lnTo>
                  <a:lnTo>
                    <a:pt x="10773" y="1433"/>
                  </a:lnTo>
                  <a:lnTo>
                    <a:pt x="10754" y="1442"/>
                  </a:lnTo>
                  <a:lnTo>
                    <a:pt x="10735" y="1451"/>
                  </a:lnTo>
                  <a:lnTo>
                    <a:pt x="10716" y="1459"/>
                  </a:lnTo>
                  <a:lnTo>
                    <a:pt x="10696" y="1466"/>
                  </a:lnTo>
                  <a:lnTo>
                    <a:pt x="10676" y="1473"/>
                  </a:lnTo>
                  <a:lnTo>
                    <a:pt x="10656" y="1479"/>
                  </a:lnTo>
                  <a:lnTo>
                    <a:pt x="10634" y="1486"/>
                  </a:lnTo>
                  <a:lnTo>
                    <a:pt x="10613" y="1491"/>
                  </a:lnTo>
                  <a:lnTo>
                    <a:pt x="10591" y="1495"/>
                  </a:lnTo>
                  <a:lnTo>
                    <a:pt x="10567" y="1499"/>
                  </a:lnTo>
                  <a:lnTo>
                    <a:pt x="10544" y="1502"/>
                  </a:lnTo>
                  <a:lnTo>
                    <a:pt x="10521" y="1505"/>
                  </a:lnTo>
                  <a:lnTo>
                    <a:pt x="10496" y="1507"/>
                  </a:lnTo>
                  <a:lnTo>
                    <a:pt x="10471" y="1509"/>
                  </a:lnTo>
                  <a:lnTo>
                    <a:pt x="10445" y="1510"/>
                  </a:lnTo>
                  <a:lnTo>
                    <a:pt x="10419" y="1510"/>
                  </a:lnTo>
                  <a:lnTo>
                    <a:pt x="10386" y="1509"/>
                  </a:lnTo>
                  <a:lnTo>
                    <a:pt x="10355" y="1507"/>
                  </a:lnTo>
                  <a:lnTo>
                    <a:pt x="10324" y="1504"/>
                  </a:lnTo>
                  <a:lnTo>
                    <a:pt x="10294" y="1500"/>
                  </a:lnTo>
                  <a:lnTo>
                    <a:pt x="10264" y="1494"/>
                  </a:lnTo>
                  <a:lnTo>
                    <a:pt x="10236" y="1487"/>
                  </a:lnTo>
                  <a:lnTo>
                    <a:pt x="10207" y="1478"/>
                  </a:lnTo>
                  <a:lnTo>
                    <a:pt x="10180" y="1468"/>
                  </a:lnTo>
                  <a:lnTo>
                    <a:pt x="10153" y="1458"/>
                  </a:lnTo>
                  <a:lnTo>
                    <a:pt x="10128" y="1446"/>
                  </a:lnTo>
                  <a:lnTo>
                    <a:pt x="10104" y="1433"/>
                  </a:lnTo>
                  <a:lnTo>
                    <a:pt x="10080" y="1418"/>
                  </a:lnTo>
                  <a:lnTo>
                    <a:pt x="10057" y="1403"/>
                  </a:lnTo>
                  <a:lnTo>
                    <a:pt x="10035" y="1387"/>
                  </a:lnTo>
                  <a:lnTo>
                    <a:pt x="10014" y="1370"/>
                  </a:lnTo>
                  <a:lnTo>
                    <a:pt x="9994" y="1351"/>
                  </a:lnTo>
                  <a:lnTo>
                    <a:pt x="9975" y="1332"/>
                  </a:lnTo>
                  <a:lnTo>
                    <a:pt x="9957" y="1312"/>
                  </a:lnTo>
                  <a:lnTo>
                    <a:pt x="9941" y="1289"/>
                  </a:lnTo>
                  <a:lnTo>
                    <a:pt x="9925" y="1268"/>
                  </a:lnTo>
                  <a:lnTo>
                    <a:pt x="9910" y="1245"/>
                  </a:lnTo>
                  <a:lnTo>
                    <a:pt x="9896" y="1220"/>
                  </a:lnTo>
                  <a:lnTo>
                    <a:pt x="9884" y="1195"/>
                  </a:lnTo>
                  <a:lnTo>
                    <a:pt x="9873" y="1169"/>
                  </a:lnTo>
                  <a:lnTo>
                    <a:pt x="9864" y="1143"/>
                  </a:lnTo>
                  <a:lnTo>
                    <a:pt x="9854" y="1114"/>
                  </a:lnTo>
                  <a:lnTo>
                    <a:pt x="9847" y="1087"/>
                  </a:lnTo>
                  <a:lnTo>
                    <a:pt x="9841" y="1057"/>
                  </a:lnTo>
                  <a:lnTo>
                    <a:pt x="9836" y="1028"/>
                  </a:lnTo>
                  <a:lnTo>
                    <a:pt x="9833" y="998"/>
                  </a:lnTo>
                  <a:lnTo>
                    <a:pt x="9831" y="966"/>
                  </a:lnTo>
                  <a:lnTo>
                    <a:pt x="9830" y="933"/>
                  </a:lnTo>
                  <a:lnTo>
                    <a:pt x="9831" y="901"/>
                  </a:lnTo>
                  <a:lnTo>
                    <a:pt x="9833" y="869"/>
                  </a:lnTo>
                  <a:lnTo>
                    <a:pt x="9836" y="839"/>
                  </a:lnTo>
                  <a:lnTo>
                    <a:pt x="9840" y="808"/>
                  </a:lnTo>
                  <a:lnTo>
                    <a:pt x="9846" y="779"/>
                  </a:lnTo>
                  <a:lnTo>
                    <a:pt x="9853" y="750"/>
                  </a:lnTo>
                  <a:lnTo>
                    <a:pt x="9863" y="723"/>
                  </a:lnTo>
                  <a:lnTo>
                    <a:pt x="9872" y="696"/>
                  </a:lnTo>
                  <a:lnTo>
                    <a:pt x="9883" y="670"/>
                  </a:lnTo>
                  <a:lnTo>
                    <a:pt x="9894" y="645"/>
                  </a:lnTo>
                  <a:lnTo>
                    <a:pt x="9907" y="620"/>
                  </a:lnTo>
                  <a:lnTo>
                    <a:pt x="9923" y="597"/>
                  </a:lnTo>
                  <a:lnTo>
                    <a:pt x="9938" y="575"/>
                  </a:lnTo>
                  <a:lnTo>
                    <a:pt x="9954" y="553"/>
                  </a:lnTo>
                  <a:lnTo>
                    <a:pt x="9971" y="533"/>
                  </a:lnTo>
                  <a:lnTo>
                    <a:pt x="9991" y="513"/>
                  </a:lnTo>
                  <a:lnTo>
                    <a:pt x="10010" y="496"/>
                  </a:lnTo>
                  <a:lnTo>
                    <a:pt x="10031" y="479"/>
                  </a:lnTo>
                  <a:lnTo>
                    <a:pt x="10053" y="463"/>
                  </a:lnTo>
                  <a:lnTo>
                    <a:pt x="10075" y="447"/>
                  </a:lnTo>
                  <a:lnTo>
                    <a:pt x="10099" y="433"/>
                  </a:lnTo>
                  <a:lnTo>
                    <a:pt x="10124" y="420"/>
                  </a:lnTo>
                  <a:lnTo>
                    <a:pt x="10149" y="409"/>
                  </a:lnTo>
                  <a:lnTo>
                    <a:pt x="10176" y="399"/>
                  </a:lnTo>
                  <a:lnTo>
                    <a:pt x="10203" y="388"/>
                  </a:lnTo>
                  <a:lnTo>
                    <a:pt x="10232" y="380"/>
                  </a:lnTo>
                  <a:lnTo>
                    <a:pt x="10261" y="373"/>
                  </a:lnTo>
                  <a:lnTo>
                    <a:pt x="10291" y="368"/>
                  </a:lnTo>
                  <a:lnTo>
                    <a:pt x="10322" y="363"/>
                  </a:lnTo>
                  <a:lnTo>
                    <a:pt x="10354" y="360"/>
                  </a:lnTo>
                  <a:lnTo>
                    <a:pt x="10386" y="358"/>
                  </a:lnTo>
                  <a:lnTo>
                    <a:pt x="10419" y="358"/>
                  </a:lnTo>
                  <a:lnTo>
                    <a:pt x="10445" y="358"/>
                  </a:lnTo>
                  <a:lnTo>
                    <a:pt x="10471" y="359"/>
                  </a:lnTo>
                  <a:lnTo>
                    <a:pt x="10496" y="360"/>
                  </a:lnTo>
                  <a:lnTo>
                    <a:pt x="10521" y="362"/>
                  </a:lnTo>
                  <a:lnTo>
                    <a:pt x="10544" y="365"/>
                  </a:lnTo>
                  <a:lnTo>
                    <a:pt x="10567" y="368"/>
                  </a:lnTo>
                  <a:lnTo>
                    <a:pt x="10591" y="372"/>
                  </a:lnTo>
                  <a:lnTo>
                    <a:pt x="10613" y="377"/>
                  </a:lnTo>
                  <a:lnTo>
                    <a:pt x="10634" y="382"/>
                  </a:lnTo>
                  <a:lnTo>
                    <a:pt x="10656" y="388"/>
                  </a:lnTo>
                  <a:lnTo>
                    <a:pt x="10676" y="395"/>
                  </a:lnTo>
                  <a:lnTo>
                    <a:pt x="10696" y="402"/>
                  </a:lnTo>
                  <a:lnTo>
                    <a:pt x="10716" y="409"/>
                  </a:lnTo>
                  <a:lnTo>
                    <a:pt x="10735" y="417"/>
                  </a:lnTo>
                  <a:lnTo>
                    <a:pt x="10754" y="425"/>
                  </a:lnTo>
                  <a:lnTo>
                    <a:pt x="10773" y="435"/>
                  </a:lnTo>
                  <a:lnTo>
                    <a:pt x="10790" y="444"/>
                  </a:lnTo>
                  <a:lnTo>
                    <a:pt x="10807" y="455"/>
                  </a:lnTo>
                  <a:lnTo>
                    <a:pt x="10825" y="466"/>
                  </a:lnTo>
                  <a:lnTo>
                    <a:pt x="10842" y="477"/>
                  </a:lnTo>
                  <a:lnTo>
                    <a:pt x="10858" y="489"/>
                  </a:lnTo>
                  <a:lnTo>
                    <a:pt x="10873" y="502"/>
                  </a:lnTo>
                  <a:lnTo>
                    <a:pt x="10890" y="515"/>
                  </a:lnTo>
                  <a:lnTo>
                    <a:pt x="10904" y="529"/>
                  </a:lnTo>
                  <a:lnTo>
                    <a:pt x="10919" y="543"/>
                  </a:lnTo>
                  <a:lnTo>
                    <a:pt x="10933" y="557"/>
                  </a:lnTo>
                  <a:lnTo>
                    <a:pt x="10948" y="572"/>
                  </a:lnTo>
                  <a:lnTo>
                    <a:pt x="10962" y="589"/>
                  </a:lnTo>
                  <a:lnTo>
                    <a:pt x="10975" y="605"/>
                  </a:lnTo>
                  <a:lnTo>
                    <a:pt x="10988" y="621"/>
                  </a:lnTo>
                  <a:lnTo>
                    <a:pt x="11002" y="639"/>
                  </a:lnTo>
                  <a:lnTo>
                    <a:pt x="11015" y="657"/>
                  </a:lnTo>
                  <a:lnTo>
                    <a:pt x="11327" y="4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2" name="Freeform 6"/>
            <p:cNvSpPr>
              <a:spLocks noEditPoints="1"/>
            </p:cNvSpPr>
            <p:nvPr userDrawn="1"/>
          </p:nvSpPr>
          <p:spPr bwMode="auto">
            <a:xfrm>
              <a:off x="490538" y="487363"/>
              <a:ext cx="466725" cy="455612"/>
            </a:xfrm>
            <a:custGeom>
              <a:avLst/>
              <a:gdLst>
                <a:gd name="T0" fmla="*/ 1853 w 3532"/>
                <a:gd name="T1" fmla="*/ 1336 h 3444"/>
                <a:gd name="T2" fmla="*/ 1828 w 3532"/>
                <a:gd name="T3" fmla="*/ 1351 h 3444"/>
                <a:gd name="T4" fmla="*/ 1795 w 3532"/>
                <a:gd name="T5" fmla="*/ 1349 h 3444"/>
                <a:gd name="T6" fmla="*/ 1104 w 3532"/>
                <a:gd name="T7" fmla="*/ 1069 h 3444"/>
                <a:gd name="T8" fmla="*/ 1071 w 3532"/>
                <a:gd name="T9" fmla="*/ 1010 h 3444"/>
                <a:gd name="T10" fmla="*/ 1204 w 3532"/>
                <a:gd name="T11" fmla="*/ 141 h 3444"/>
                <a:gd name="T12" fmla="*/ 1231 w 3532"/>
                <a:gd name="T13" fmla="*/ 77 h 3444"/>
                <a:gd name="T14" fmla="*/ 1287 w 3532"/>
                <a:gd name="T15" fmla="*/ 37 h 3444"/>
                <a:gd name="T16" fmla="*/ 2026 w 3532"/>
                <a:gd name="T17" fmla="*/ 0 h 3444"/>
                <a:gd name="T18" fmla="*/ 2055 w 3532"/>
                <a:gd name="T19" fmla="*/ 11 h 3444"/>
                <a:gd name="T20" fmla="*/ 2072 w 3532"/>
                <a:gd name="T21" fmla="*/ 37 h 3444"/>
                <a:gd name="T22" fmla="*/ 1399 w 3532"/>
                <a:gd name="T23" fmla="*/ 1554 h 3444"/>
                <a:gd name="T24" fmla="*/ 1417 w 3532"/>
                <a:gd name="T25" fmla="*/ 1578 h 3444"/>
                <a:gd name="T26" fmla="*/ 1414 w 3532"/>
                <a:gd name="T27" fmla="*/ 1610 h 3444"/>
                <a:gd name="T28" fmla="*/ 958 w 3532"/>
                <a:gd name="T29" fmla="*/ 2172 h 3444"/>
                <a:gd name="T30" fmla="*/ 893 w 3532"/>
                <a:gd name="T31" fmla="*/ 2208 h 3444"/>
                <a:gd name="T32" fmla="*/ 826 w 3532"/>
                <a:gd name="T33" fmla="*/ 2201 h 3444"/>
                <a:gd name="T34" fmla="*/ 45 w 3532"/>
                <a:gd name="T35" fmla="*/ 1796 h 3444"/>
                <a:gd name="T36" fmla="*/ 6 w 3532"/>
                <a:gd name="T37" fmla="*/ 1741 h 3444"/>
                <a:gd name="T38" fmla="*/ 4 w 3532"/>
                <a:gd name="T39" fmla="*/ 1664 h 3444"/>
                <a:gd name="T40" fmla="*/ 200 w 3532"/>
                <a:gd name="T41" fmla="*/ 976 h 3444"/>
                <a:gd name="T42" fmla="*/ 226 w 3532"/>
                <a:gd name="T43" fmla="*/ 959 h 3444"/>
                <a:gd name="T44" fmla="*/ 255 w 3532"/>
                <a:gd name="T45" fmla="*/ 963 h 3444"/>
                <a:gd name="T46" fmla="*/ 1491 w 3532"/>
                <a:gd name="T47" fmla="*/ 2055 h 3444"/>
                <a:gd name="T48" fmla="*/ 1521 w 3532"/>
                <a:gd name="T49" fmla="*/ 2057 h 3444"/>
                <a:gd name="T50" fmla="*/ 1546 w 3532"/>
                <a:gd name="T51" fmla="*/ 2077 h 3444"/>
                <a:gd name="T52" fmla="*/ 1940 w 3532"/>
                <a:gd name="T53" fmla="*/ 2711 h 3444"/>
                <a:gd name="T54" fmla="*/ 1933 w 3532"/>
                <a:gd name="T55" fmla="*/ 2779 h 3444"/>
                <a:gd name="T56" fmla="*/ 1315 w 3532"/>
                <a:gd name="T57" fmla="*/ 3402 h 3444"/>
                <a:gd name="T58" fmla="*/ 1256 w 3532"/>
                <a:gd name="T59" fmla="*/ 3439 h 3444"/>
                <a:gd name="T60" fmla="*/ 1187 w 3532"/>
                <a:gd name="T61" fmla="*/ 3439 h 3444"/>
                <a:gd name="T62" fmla="*/ 567 w 3532"/>
                <a:gd name="T63" fmla="*/ 3035 h 3444"/>
                <a:gd name="T64" fmla="*/ 549 w 3532"/>
                <a:gd name="T65" fmla="*/ 3009 h 3444"/>
                <a:gd name="T66" fmla="*/ 551 w 3532"/>
                <a:gd name="T67" fmla="*/ 2978 h 3444"/>
                <a:gd name="T68" fmla="*/ 1987 w 3532"/>
                <a:gd name="T69" fmla="*/ 2144 h 3444"/>
                <a:gd name="T70" fmla="*/ 1988 w 3532"/>
                <a:gd name="T71" fmla="*/ 2114 h 3444"/>
                <a:gd name="T72" fmla="*/ 2009 w 3532"/>
                <a:gd name="T73" fmla="*/ 2091 h 3444"/>
                <a:gd name="T74" fmla="*/ 2707 w 3532"/>
                <a:gd name="T75" fmla="*/ 1899 h 3444"/>
                <a:gd name="T76" fmla="*/ 2780 w 3532"/>
                <a:gd name="T77" fmla="*/ 1910 h 3444"/>
                <a:gd name="T78" fmla="*/ 2832 w 3532"/>
                <a:gd name="T79" fmla="*/ 1953 h 3444"/>
                <a:gd name="T80" fmla="*/ 3229 w 3532"/>
                <a:gd name="T81" fmla="*/ 2739 h 3444"/>
                <a:gd name="T82" fmla="*/ 3227 w 3532"/>
                <a:gd name="T83" fmla="*/ 2806 h 3444"/>
                <a:gd name="T84" fmla="*/ 3184 w 3532"/>
                <a:gd name="T85" fmla="*/ 2871 h 3444"/>
                <a:gd name="T86" fmla="*/ 2624 w 3532"/>
                <a:gd name="T87" fmla="*/ 3314 h 3444"/>
                <a:gd name="T88" fmla="*/ 2593 w 3532"/>
                <a:gd name="T89" fmla="*/ 3313 h 3444"/>
                <a:gd name="T90" fmla="*/ 2570 w 3532"/>
                <a:gd name="T91" fmla="*/ 3292 h 3444"/>
                <a:gd name="T92" fmla="*/ 2206 w 3532"/>
                <a:gd name="T93" fmla="*/ 1686 h 3444"/>
                <a:gd name="T94" fmla="*/ 2183 w 3532"/>
                <a:gd name="T95" fmla="*/ 1667 h 3444"/>
                <a:gd name="T96" fmla="*/ 2176 w 3532"/>
                <a:gd name="T97" fmla="*/ 1635 h 3444"/>
                <a:gd name="T98" fmla="*/ 2229 w 3532"/>
                <a:gd name="T99" fmla="*/ 892 h 3444"/>
                <a:gd name="T100" fmla="*/ 2275 w 3532"/>
                <a:gd name="T101" fmla="*/ 841 h 3444"/>
                <a:gd name="T102" fmla="*/ 3142 w 3532"/>
                <a:gd name="T103" fmla="*/ 700 h 3444"/>
                <a:gd name="T104" fmla="*/ 3211 w 3532"/>
                <a:gd name="T105" fmla="*/ 706 h 3444"/>
                <a:gd name="T106" fmla="*/ 3268 w 3532"/>
                <a:gd name="T107" fmla="*/ 746 h 3444"/>
                <a:gd name="T108" fmla="*/ 3530 w 3532"/>
                <a:gd name="T109" fmla="*/ 1438 h 3444"/>
                <a:gd name="T110" fmla="*/ 3529 w 3532"/>
                <a:gd name="T111" fmla="*/ 1469 h 3444"/>
                <a:gd name="T112" fmla="*/ 3510 w 3532"/>
                <a:gd name="T113" fmla="*/ 1493 h 3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32" h="3444">
                  <a:moveTo>
                    <a:pt x="2072" y="52"/>
                  </a:moveTo>
                  <a:lnTo>
                    <a:pt x="1861" y="1317"/>
                  </a:lnTo>
                  <a:lnTo>
                    <a:pt x="1860" y="1322"/>
                  </a:lnTo>
                  <a:lnTo>
                    <a:pt x="1858" y="1327"/>
                  </a:lnTo>
                  <a:lnTo>
                    <a:pt x="1856" y="1332"/>
                  </a:lnTo>
                  <a:lnTo>
                    <a:pt x="1853" y="1336"/>
                  </a:lnTo>
                  <a:lnTo>
                    <a:pt x="1849" y="1340"/>
                  </a:lnTo>
                  <a:lnTo>
                    <a:pt x="1846" y="1343"/>
                  </a:lnTo>
                  <a:lnTo>
                    <a:pt x="1842" y="1346"/>
                  </a:lnTo>
                  <a:lnTo>
                    <a:pt x="1837" y="1348"/>
                  </a:lnTo>
                  <a:lnTo>
                    <a:pt x="1833" y="1350"/>
                  </a:lnTo>
                  <a:lnTo>
                    <a:pt x="1828" y="1351"/>
                  </a:lnTo>
                  <a:lnTo>
                    <a:pt x="1822" y="1352"/>
                  </a:lnTo>
                  <a:lnTo>
                    <a:pt x="1817" y="1353"/>
                  </a:lnTo>
                  <a:lnTo>
                    <a:pt x="1811" y="1352"/>
                  </a:lnTo>
                  <a:lnTo>
                    <a:pt x="1806" y="1352"/>
                  </a:lnTo>
                  <a:lnTo>
                    <a:pt x="1801" y="1351"/>
                  </a:lnTo>
                  <a:lnTo>
                    <a:pt x="1795" y="1349"/>
                  </a:lnTo>
                  <a:lnTo>
                    <a:pt x="1163" y="1105"/>
                  </a:lnTo>
                  <a:lnTo>
                    <a:pt x="1149" y="1099"/>
                  </a:lnTo>
                  <a:lnTo>
                    <a:pt x="1136" y="1092"/>
                  </a:lnTo>
                  <a:lnTo>
                    <a:pt x="1125" y="1085"/>
                  </a:lnTo>
                  <a:lnTo>
                    <a:pt x="1114" y="1077"/>
                  </a:lnTo>
                  <a:lnTo>
                    <a:pt x="1104" y="1069"/>
                  </a:lnTo>
                  <a:lnTo>
                    <a:pt x="1096" y="1060"/>
                  </a:lnTo>
                  <a:lnTo>
                    <a:pt x="1089" y="1050"/>
                  </a:lnTo>
                  <a:lnTo>
                    <a:pt x="1083" y="1041"/>
                  </a:lnTo>
                  <a:lnTo>
                    <a:pt x="1078" y="1031"/>
                  </a:lnTo>
                  <a:lnTo>
                    <a:pt x="1074" y="1020"/>
                  </a:lnTo>
                  <a:lnTo>
                    <a:pt x="1071" y="1010"/>
                  </a:lnTo>
                  <a:lnTo>
                    <a:pt x="1068" y="999"/>
                  </a:lnTo>
                  <a:lnTo>
                    <a:pt x="1067" y="986"/>
                  </a:lnTo>
                  <a:lnTo>
                    <a:pt x="1067" y="975"/>
                  </a:lnTo>
                  <a:lnTo>
                    <a:pt x="1068" y="963"/>
                  </a:lnTo>
                  <a:lnTo>
                    <a:pt x="1069" y="951"/>
                  </a:lnTo>
                  <a:lnTo>
                    <a:pt x="1204" y="141"/>
                  </a:lnTo>
                  <a:lnTo>
                    <a:pt x="1206" y="130"/>
                  </a:lnTo>
                  <a:lnTo>
                    <a:pt x="1209" y="118"/>
                  </a:lnTo>
                  <a:lnTo>
                    <a:pt x="1213" y="107"/>
                  </a:lnTo>
                  <a:lnTo>
                    <a:pt x="1218" y="97"/>
                  </a:lnTo>
                  <a:lnTo>
                    <a:pt x="1224" y="86"/>
                  </a:lnTo>
                  <a:lnTo>
                    <a:pt x="1231" y="77"/>
                  </a:lnTo>
                  <a:lnTo>
                    <a:pt x="1238" y="69"/>
                  </a:lnTo>
                  <a:lnTo>
                    <a:pt x="1246" y="61"/>
                  </a:lnTo>
                  <a:lnTo>
                    <a:pt x="1255" y="54"/>
                  </a:lnTo>
                  <a:lnTo>
                    <a:pt x="1265" y="47"/>
                  </a:lnTo>
                  <a:lnTo>
                    <a:pt x="1275" y="42"/>
                  </a:lnTo>
                  <a:lnTo>
                    <a:pt x="1287" y="37"/>
                  </a:lnTo>
                  <a:lnTo>
                    <a:pt x="1300" y="33"/>
                  </a:lnTo>
                  <a:lnTo>
                    <a:pt x="1313" y="29"/>
                  </a:lnTo>
                  <a:lnTo>
                    <a:pt x="1327" y="27"/>
                  </a:lnTo>
                  <a:lnTo>
                    <a:pt x="1342" y="26"/>
                  </a:lnTo>
                  <a:lnTo>
                    <a:pt x="2020" y="0"/>
                  </a:lnTo>
                  <a:lnTo>
                    <a:pt x="2026" y="0"/>
                  </a:lnTo>
                  <a:lnTo>
                    <a:pt x="2031" y="1"/>
                  </a:lnTo>
                  <a:lnTo>
                    <a:pt x="2036" y="2"/>
                  </a:lnTo>
                  <a:lnTo>
                    <a:pt x="2042" y="3"/>
                  </a:lnTo>
                  <a:lnTo>
                    <a:pt x="2046" y="5"/>
                  </a:lnTo>
                  <a:lnTo>
                    <a:pt x="2051" y="8"/>
                  </a:lnTo>
                  <a:lnTo>
                    <a:pt x="2055" y="11"/>
                  </a:lnTo>
                  <a:lnTo>
                    <a:pt x="2059" y="14"/>
                  </a:lnTo>
                  <a:lnTo>
                    <a:pt x="2062" y="18"/>
                  </a:lnTo>
                  <a:lnTo>
                    <a:pt x="2066" y="22"/>
                  </a:lnTo>
                  <a:lnTo>
                    <a:pt x="2068" y="26"/>
                  </a:lnTo>
                  <a:lnTo>
                    <a:pt x="2070" y="32"/>
                  </a:lnTo>
                  <a:lnTo>
                    <a:pt x="2072" y="37"/>
                  </a:lnTo>
                  <a:lnTo>
                    <a:pt x="2072" y="42"/>
                  </a:lnTo>
                  <a:lnTo>
                    <a:pt x="2073" y="47"/>
                  </a:lnTo>
                  <a:lnTo>
                    <a:pt x="2072" y="52"/>
                  </a:lnTo>
                  <a:close/>
                  <a:moveTo>
                    <a:pt x="255" y="963"/>
                  </a:moveTo>
                  <a:lnTo>
                    <a:pt x="1394" y="1551"/>
                  </a:lnTo>
                  <a:lnTo>
                    <a:pt x="1399" y="1554"/>
                  </a:lnTo>
                  <a:lnTo>
                    <a:pt x="1403" y="1557"/>
                  </a:lnTo>
                  <a:lnTo>
                    <a:pt x="1408" y="1561"/>
                  </a:lnTo>
                  <a:lnTo>
                    <a:pt x="1411" y="1565"/>
                  </a:lnTo>
                  <a:lnTo>
                    <a:pt x="1413" y="1569"/>
                  </a:lnTo>
                  <a:lnTo>
                    <a:pt x="1415" y="1574"/>
                  </a:lnTo>
                  <a:lnTo>
                    <a:pt x="1417" y="1578"/>
                  </a:lnTo>
                  <a:lnTo>
                    <a:pt x="1418" y="1583"/>
                  </a:lnTo>
                  <a:lnTo>
                    <a:pt x="1418" y="1588"/>
                  </a:lnTo>
                  <a:lnTo>
                    <a:pt x="1418" y="1593"/>
                  </a:lnTo>
                  <a:lnTo>
                    <a:pt x="1417" y="1599"/>
                  </a:lnTo>
                  <a:lnTo>
                    <a:pt x="1416" y="1605"/>
                  </a:lnTo>
                  <a:lnTo>
                    <a:pt x="1414" y="1610"/>
                  </a:lnTo>
                  <a:lnTo>
                    <a:pt x="1412" y="1614"/>
                  </a:lnTo>
                  <a:lnTo>
                    <a:pt x="1409" y="1619"/>
                  </a:lnTo>
                  <a:lnTo>
                    <a:pt x="1405" y="1624"/>
                  </a:lnTo>
                  <a:lnTo>
                    <a:pt x="978" y="2151"/>
                  </a:lnTo>
                  <a:lnTo>
                    <a:pt x="969" y="2162"/>
                  </a:lnTo>
                  <a:lnTo>
                    <a:pt x="958" y="2172"/>
                  </a:lnTo>
                  <a:lnTo>
                    <a:pt x="948" y="2181"/>
                  </a:lnTo>
                  <a:lnTo>
                    <a:pt x="938" y="2188"/>
                  </a:lnTo>
                  <a:lnTo>
                    <a:pt x="926" y="2195"/>
                  </a:lnTo>
                  <a:lnTo>
                    <a:pt x="915" y="2200"/>
                  </a:lnTo>
                  <a:lnTo>
                    <a:pt x="904" y="2204"/>
                  </a:lnTo>
                  <a:lnTo>
                    <a:pt x="893" y="2208"/>
                  </a:lnTo>
                  <a:lnTo>
                    <a:pt x="882" y="2209"/>
                  </a:lnTo>
                  <a:lnTo>
                    <a:pt x="871" y="2210"/>
                  </a:lnTo>
                  <a:lnTo>
                    <a:pt x="859" y="2209"/>
                  </a:lnTo>
                  <a:lnTo>
                    <a:pt x="848" y="2208"/>
                  </a:lnTo>
                  <a:lnTo>
                    <a:pt x="837" y="2206"/>
                  </a:lnTo>
                  <a:lnTo>
                    <a:pt x="826" y="2201"/>
                  </a:lnTo>
                  <a:lnTo>
                    <a:pt x="815" y="2197"/>
                  </a:lnTo>
                  <a:lnTo>
                    <a:pt x="803" y="2192"/>
                  </a:lnTo>
                  <a:lnTo>
                    <a:pt x="74" y="1816"/>
                  </a:lnTo>
                  <a:lnTo>
                    <a:pt x="64" y="1810"/>
                  </a:lnTo>
                  <a:lnTo>
                    <a:pt x="54" y="1803"/>
                  </a:lnTo>
                  <a:lnTo>
                    <a:pt x="45" y="1796"/>
                  </a:lnTo>
                  <a:lnTo>
                    <a:pt x="37" y="1789"/>
                  </a:lnTo>
                  <a:lnTo>
                    <a:pt x="28" y="1779"/>
                  </a:lnTo>
                  <a:lnTo>
                    <a:pt x="21" y="1771"/>
                  </a:lnTo>
                  <a:lnTo>
                    <a:pt x="15" y="1761"/>
                  </a:lnTo>
                  <a:lnTo>
                    <a:pt x="10" y="1751"/>
                  </a:lnTo>
                  <a:lnTo>
                    <a:pt x="6" y="1741"/>
                  </a:lnTo>
                  <a:lnTo>
                    <a:pt x="3" y="1729"/>
                  </a:lnTo>
                  <a:lnTo>
                    <a:pt x="1" y="1717"/>
                  </a:lnTo>
                  <a:lnTo>
                    <a:pt x="0" y="1704"/>
                  </a:lnTo>
                  <a:lnTo>
                    <a:pt x="0" y="1691"/>
                  </a:lnTo>
                  <a:lnTo>
                    <a:pt x="1" y="1678"/>
                  </a:lnTo>
                  <a:lnTo>
                    <a:pt x="4" y="1664"/>
                  </a:lnTo>
                  <a:lnTo>
                    <a:pt x="7" y="1648"/>
                  </a:lnTo>
                  <a:lnTo>
                    <a:pt x="190" y="995"/>
                  </a:lnTo>
                  <a:lnTo>
                    <a:pt x="192" y="990"/>
                  </a:lnTo>
                  <a:lnTo>
                    <a:pt x="194" y="985"/>
                  </a:lnTo>
                  <a:lnTo>
                    <a:pt x="197" y="980"/>
                  </a:lnTo>
                  <a:lnTo>
                    <a:pt x="200" y="976"/>
                  </a:lnTo>
                  <a:lnTo>
                    <a:pt x="203" y="972"/>
                  </a:lnTo>
                  <a:lnTo>
                    <a:pt x="207" y="969"/>
                  </a:lnTo>
                  <a:lnTo>
                    <a:pt x="212" y="965"/>
                  </a:lnTo>
                  <a:lnTo>
                    <a:pt x="216" y="963"/>
                  </a:lnTo>
                  <a:lnTo>
                    <a:pt x="221" y="961"/>
                  </a:lnTo>
                  <a:lnTo>
                    <a:pt x="226" y="959"/>
                  </a:lnTo>
                  <a:lnTo>
                    <a:pt x="230" y="958"/>
                  </a:lnTo>
                  <a:lnTo>
                    <a:pt x="235" y="958"/>
                  </a:lnTo>
                  <a:lnTo>
                    <a:pt x="240" y="958"/>
                  </a:lnTo>
                  <a:lnTo>
                    <a:pt x="245" y="959"/>
                  </a:lnTo>
                  <a:lnTo>
                    <a:pt x="250" y="960"/>
                  </a:lnTo>
                  <a:lnTo>
                    <a:pt x="255" y="963"/>
                  </a:lnTo>
                  <a:close/>
                  <a:moveTo>
                    <a:pt x="560" y="2966"/>
                  </a:moveTo>
                  <a:lnTo>
                    <a:pt x="1474" y="2066"/>
                  </a:lnTo>
                  <a:lnTo>
                    <a:pt x="1478" y="2062"/>
                  </a:lnTo>
                  <a:lnTo>
                    <a:pt x="1482" y="2059"/>
                  </a:lnTo>
                  <a:lnTo>
                    <a:pt x="1487" y="2057"/>
                  </a:lnTo>
                  <a:lnTo>
                    <a:pt x="1491" y="2055"/>
                  </a:lnTo>
                  <a:lnTo>
                    <a:pt x="1496" y="2054"/>
                  </a:lnTo>
                  <a:lnTo>
                    <a:pt x="1501" y="2053"/>
                  </a:lnTo>
                  <a:lnTo>
                    <a:pt x="1506" y="2054"/>
                  </a:lnTo>
                  <a:lnTo>
                    <a:pt x="1511" y="2054"/>
                  </a:lnTo>
                  <a:lnTo>
                    <a:pt x="1516" y="2055"/>
                  </a:lnTo>
                  <a:lnTo>
                    <a:pt x="1521" y="2057"/>
                  </a:lnTo>
                  <a:lnTo>
                    <a:pt x="1526" y="2059"/>
                  </a:lnTo>
                  <a:lnTo>
                    <a:pt x="1531" y="2062"/>
                  </a:lnTo>
                  <a:lnTo>
                    <a:pt x="1535" y="2065"/>
                  </a:lnTo>
                  <a:lnTo>
                    <a:pt x="1539" y="2069"/>
                  </a:lnTo>
                  <a:lnTo>
                    <a:pt x="1543" y="2073"/>
                  </a:lnTo>
                  <a:lnTo>
                    <a:pt x="1546" y="2077"/>
                  </a:lnTo>
                  <a:lnTo>
                    <a:pt x="1914" y="2647"/>
                  </a:lnTo>
                  <a:lnTo>
                    <a:pt x="1922" y="2660"/>
                  </a:lnTo>
                  <a:lnTo>
                    <a:pt x="1928" y="2673"/>
                  </a:lnTo>
                  <a:lnTo>
                    <a:pt x="1933" y="2685"/>
                  </a:lnTo>
                  <a:lnTo>
                    <a:pt x="1937" y="2699"/>
                  </a:lnTo>
                  <a:lnTo>
                    <a:pt x="1940" y="2711"/>
                  </a:lnTo>
                  <a:lnTo>
                    <a:pt x="1941" y="2723"/>
                  </a:lnTo>
                  <a:lnTo>
                    <a:pt x="1942" y="2734"/>
                  </a:lnTo>
                  <a:lnTo>
                    <a:pt x="1941" y="2745"/>
                  </a:lnTo>
                  <a:lnTo>
                    <a:pt x="1939" y="2758"/>
                  </a:lnTo>
                  <a:lnTo>
                    <a:pt x="1936" y="2768"/>
                  </a:lnTo>
                  <a:lnTo>
                    <a:pt x="1933" y="2779"/>
                  </a:lnTo>
                  <a:lnTo>
                    <a:pt x="1928" y="2789"/>
                  </a:lnTo>
                  <a:lnTo>
                    <a:pt x="1922" y="2799"/>
                  </a:lnTo>
                  <a:lnTo>
                    <a:pt x="1915" y="2808"/>
                  </a:lnTo>
                  <a:lnTo>
                    <a:pt x="1908" y="2818"/>
                  </a:lnTo>
                  <a:lnTo>
                    <a:pt x="1900" y="2827"/>
                  </a:lnTo>
                  <a:lnTo>
                    <a:pt x="1315" y="3402"/>
                  </a:lnTo>
                  <a:lnTo>
                    <a:pt x="1307" y="3410"/>
                  </a:lnTo>
                  <a:lnTo>
                    <a:pt x="1297" y="3419"/>
                  </a:lnTo>
                  <a:lnTo>
                    <a:pt x="1288" y="3425"/>
                  </a:lnTo>
                  <a:lnTo>
                    <a:pt x="1277" y="3431"/>
                  </a:lnTo>
                  <a:lnTo>
                    <a:pt x="1267" y="3435"/>
                  </a:lnTo>
                  <a:lnTo>
                    <a:pt x="1256" y="3439"/>
                  </a:lnTo>
                  <a:lnTo>
                    <a:pt x="1245" y="3442"/>
                  </a:lnTo>
                  <a:lnTo>
                    <a:pt x="1234" y="3443"/>
                  </a:lnTo>
                  <a:lnTo>
                    <a:pt x="1222" y="3444"/>
                  </a:lnTo>
                  <a:lnTo>
                    <a:pt x="1211" y="3443"/>
                  </a:lnTo>
                  <a:lnTo>
                    <a:pt x="1199" y="3442"/>
                  </a:lnTo>
                  <a:lnTo>
                    <a:pt x="1187" y="3439"/>
                  </a:lnTo>
                  <a:lnTo>
                    <a:pt x="1174" y="3435"/>
                  </a:lnTo>
                  <a:lnTo>
                    <a:pt x="1161" y="3430"/>
                  </a:lnTo>
                  <a:lnTo>
                    <a:pt x="1148" y="3423"/>
                  </a:lnTo>
                  <a:lnTo>
                    <a:pt x="1136" y="3415"/>
                  </a:lnTo>
                  <a:lnTo>
                    <a:pt x="572" y="3038"/>
                  </a:lnTo>
                  <a:lnTo>
                    <a:pt x="567" y="3035"/>
                  </a:lnTo>
                  <a:lnTo>
                    <a:pt x="563" y="3031"/>
                  </a:lnTo>
                  <a:lnTo>
                    <a:pt x="559" y="3027"/>
                  </a:lnTo>
                  <a:lnTo>
                    <a:pt x="556" y="3023"/>
                  </a:lnTo>
                  <a:lnTo>
                    <a:pt x="553" y="3018"/>
                  </a:lnTo>
                  <a:lnTo>
                    <a:pt x="551" y="3014"/>
                  </a:lnTo>
                  <a:lnTo>
                    <a:pt x="549" y="3009"/>
                  </a:lnTo>
                  <a:lnTo>
                    <a:pt x="548" y="3004"/>
                  </a:lnTo>
                  <a:lnTo>
                    <a:pt x="548" y="2999"/>
                  </a:lnTo>
                  <a:lnTo>
                    <a:pt x="548" y="2994"/>
                  </a:lnTo>
                  <a:lnTo>
                    <a:pt x="548" y="2988"/>
                  </a:lnTo>
                  <a:lnTo>
                    <a:pt x="549" y="2983"/>
                  </a:lnTo>
                  <a:lnTo>
                    <a:pt x="551" y="2978"/>
                  </a:lnTo>
                  <a:lnTo>
                    <a:pt x="553" y="2974"/>
                  </a:lnTo>
                  <a:lnTo>
                    <a:pt x="556" y="2970"/>
                  </a:lnTo>
                  <a:lnTo>
                    <a:pt x="560" y="2966"/>
                  </a:lnTo>
                  <a:close/>
                  <a:moveTo>
                    <a:pt x="2570" y="3292"/>
                  </a:moveTo>
                  <a:lnTo>
                    <a:pt x="1990" y="2150"/>
                  </a:lnTo>
                  <a:lnTo>
                    <a:pt x="1987" y="2144"/>
                  </a:lnTo>
                  <a:lnTo>
                    <a:pt x="1986" y="2139"/>
                  </a:lnTo>
                  <a:lnTo>
                    <a:pt x="1985" y="2134"/>
                  </a:lnTo>
                  <a:lnTo>
                    <a:pt x="1985" y="2128"/>
                  </a:lnTo>
                  <a:lnTo>
                    <a:pt x="1986" y="2124"/>
                  </a:lnTo>
                  <a:lnTo>
                    <a:pt x="1987" y="2119"/>
                  </a:lnTo>
                  <a:lnTo>
                    <a:pt x="1988" y="2114"/>
                  </a:lnTo>
                  <a:lnTo>
                    <a:pt x="1990" y="2110"/>
                  </a:lnTo>
                  <a:lnTo>
                    <a:pt x="1993" y="2105"/>
                  </a:lnTo>
                  <a:lnTo>
                    <a:pt x="1996" y="2101"/>
                  </a:lnTo>
                  <a:lnTo>
                    <a:pt x="2000" y="2098"/>
                  </a:lnTo>
                  <a:lnTo>
                    <a:pt x="2003" y="2094"/>
                  </a:lnTo>
                  <a:lnTo>
                    <a:pt x="2009" y="2091"/>
                  </a:lnTo>
                  <a:lnTo>
                    <a:pt x="2013" y="2088"/>
                  </a:lnTo>
                  <a:lnTo>
                    <a:pt x="2018" y="2086"/>
                  </a:lnTo>
                  <a:lnTo>
                    <a:pt x="2024" y="2084"/>
                  </a:lnTo>
                  <a:lnTo>
                    <a:pt x="2678" y="1906"/>
                  </a:lnTo>
                  <a:lnTo>
                    <a:pt x="2693" y="1902"/>
                  </a:lnTo>
                  <a:lnTo>
                    <a:pt x="2707" y="1899"/>
                  </a:lnTo>
                  <a:lnTo>
                    <a:pt x="2720" y="1898"/>
                  </a:lnTo>
                  <a:lnTo>
                    <a:pt x="2734" y="1898"/>
                  </a:lnTo>
                  <a:lnTo>
                    <a:pt x="2746" y="1900"/>
                  </a:lnTo>
                  <a:lnTo>
                    <a:pt x="2758" y="1902"/>
                  </a:lnTo>
                  <a:lnTo>
                    <a:pt x="2769" y="1906"/>
                  </a:lnTo>
                  <a:lnTo>
                    <a:pt x="2780" y="1910"/>
                  </a:lnTo>
                  <a:lnTo>
                    <a:pt x="2791" y="1915"/>
                  </a:lnTo>
                  <a:lnTo>
                    <a:pt x="2800" y="1921"/>
                  </a:lnTo>
                  <a:lnTo>
                    <a:pt x="2809" y="1928"/>
                  </a:lnTo>
                  <a:lnTo>
                    <a:pt x="2817" y="1936"/>
                  </a:lnTo>
                  <a:lnTo>
                    <a:pt x="2825" y="1944"/>
                  </a:lnTo>
                  <a:lnTo>
                    <a:pt x="2832" y="1953"/>
                  </a:lnTo>
                  <a:lnTo>
                    <a:pt x="2838" y="1963"/>
                  </a:lnTo>
                  <a:lnTo>
                    <a:pt x="2845" y="1974"/>
                  </a:lnTo>
                  <a:lnTo>
                    <a:pt x="3216" y="2706"/>
                  </a:lnTo>
                  <a:lnTo>
                    <a:pt x="3221" y="2717"/>
                  </a:lnTo>
                  <a:lnTo>
                    <a:pt x="3225" y="2727"/>
                  </a:lnTo>
                  <a:lnTo>
                    <a:pt x="3229" y="2739"/>
                  </a:lnTo>
                  <a:lnTo>
                    <a:pt x="3231" y="2751"/>
                  </a:lnTo>
                  <a:lnTo>
                    <a:pt x="3232" y="2762"/>
                  </a:lnTo>
                  <a:lnTo>
                    <a:pt x="3233" y="2773"/>
                  </a:lnTo>
                  <a:lnTo>
                    <a:pt x="3232" y="2784"/>
                  </a:lnTo>
                  <a:lnTo>
                    <a:pt x="3230" y="2795"/>
                  </a:lnTo>
                  <a:lnTo>
                    <a:pt x="3227" y="2806"/>
                  </a:lnTo>
                  <a:lnTo>
                    <a:pt x="3223" y="2818"/>
                  </a:lnTo>
                  <a:lnTo>
                    <a:pt x="3218" y="2829"/>
                  </a:lnTo>
                  <a:lnTo>
                    <a:pt x="3212" y="2839"/>
                  </a:lnTo>
                  <a:lnTo>
                    <a:pt x="3204" y="2850"/>
                  </a:lnTo>
                  <a:lnTo>
                    <a:pt x="3194" y="2860"/>
                  </a:lnTo>
                  <a:lnTo>
                    <a:pt x="3184" y="2871"/>
                  </a:lnTo>
                  <a:lnTo>
                    <a:pt x="3173" y="2881"/>
                  </a:lnTo>
                  <a:lnTo>
                    <a:pt x="2643" y="3304"/>
                  </a:lnTo>
                  <a:lnTo>
                    <a:pt x="2638" y="3307"/>
                  </a:lnTo>
                  <a:lnTo>
                    <a:pt x="2633" y="3310"/>
                  </a:lnTo>
                  <a:lnTo>
                    <a:pt x="2629" y="3312"/>
                  </a:lnTo>
                  <a:lnTo>
                    <a:pt x="2624" y="3314"/>
                  </a:lnTo>
                  <a:lnTo>
                    <a:pt x="2619" y="3315"/>
                  </a:lnTo>
                  <a:lnTo>
                    <a:pt x="2613" y="3316"/>
                  </a:lnTo>
                  <a:lnTo>
                    <a:pt x="2608" y="3316"/>
                  </a:lnTo>
                  <a:lnTo>
                    <a:pt x="2603" y="3315"/>
                  </a:lnTo>
                  <a:lnTo>
                    <a:pt x="2598" y="3314"/>
                  </a:lnTo>
                  <a:lnTo>
                    <a:pt x="2593" y="3313"/>
                  </a:lnTo>
                  <a:lnTo>
                    <a:pt x="2588" y="3311"/>
                  </a:lnTo>
                  <a:lnTo>
                    <a:pt x="2584" y="3308"/>
                  </a:lnTo>
                  <a:lnTo>
                    <a:pt x="2580" y="3305"/>
                  </a:lnTo>
                  <a:lnTo>
                    <a:pt x="2576" y="3302"/>
                  </a:lnTo>
                  <a:lnTo>
                    <a:pt x="2573" y="3297"/>
                  </a:lnTo>
                  <a:lnTo>
                    <a:pt x="2570" y="3292"/>
                  </a:lnTo>
                  <a:close/>
                  <a:moveTo>
                    <a:pt x="3494" y="1498"/>
                  </a:moveTo>
                  <a:lnTo>
                    <a:pt x="2227" y="1688"/>
                  </a:lnTo>
                  <a:lnTo>
                    <a:pt x="2222" y="1688"/>
                  </a:lnTo>
                  <a:lnTo>
                    <a:pt x="2216" y="1688"/>
                  </a:lnTo>
                  <a:lnTo>
                    <a:pt x="2211" y="1687"/>
                  </a:lnTo>
                  <a:lnTo>
                    <a:pt x="2206" y="1686"/>
                  </a:lnTo>
                  <a:lnTo>
                    <a:pt x="2202" y="1684"/>
                  </a:lnTo>
                  <a:lnTo>
                    <a:pt x="2198" y="1681"/>
                  </a:lnTo>
                  <a:lnTo>
                    <a:pt x="2194" y="1678"/>
                  </a:lnTo>
                  <a:lnTo>
                    <a:pt x="2190" y="1675"/>
                  </a:lnTo>
                  <a:lnTo>
                    <a:pt x="2187" y="1671"/>
                  </a:lnTo>
                  <a:lnTo>
                    <a:pt x="2183" y="1667"/>
                  </a:lnTo>
                  <a:lnTo>
                    <a:pt x="2181" y="1661"/>
                  </a:lnTo>
                  <a:lnTo>
                    <a:pt x="2179" y="1657"/>
                  </a:lnTo>
                  <a:lnTo>
                    <a:pt x="2177" y="1652"/>
                  </a:lnTo>
                  <a:lnTo>
                    <a:pt x="2176" y="1646"/>
                  </a:lnTo>
                  <a:lnTo>
                    <a:pt x="2176" y="1641"/>
                  </a:lnTo>
                  <a:lnTo>
                    <a:pt x="2176" y="1635"/>
                  </a:lnTo>
                  <a:lnTo>
                    <a:pt x="2213" y="959"/>
                  </a:lnTo>
                  <a:lnTo>
                    <a:pt x="2214" y="944"/>
                  </a:lnTo>
                  <a:lnTo>
                    <a:pt x="2217" y="929"/>
                  </a:lnTo>
                  <a:lnTo>
                    <a:pt x="2220" y="915"/>
                  </a:lnTo>
                  <a:lnTo>
                    <a:pt x="2224" y="903"/>
                  </a:lnTo>
                  <a:lnTo>
                    <a:pt x="2229" y="892"/>
                  </a:lnTo>
                  <a:lnTo>
                    <a:pt x="2235" y="881"/>
                  </a:lnTo>
                  <a:lnTo>
                    <a:pt x="2241" y="871"/>
                  </a:lnTo>
                  <a:lnTo>
                    <a:pt x="2250" y="862"/>
                  </a:lnTo>
                  <a:lnTo>
                    <a:pt x="2257" y="854"/>
                  </a:lnTo>
                  <a:lnTo>
                    <a:pt x="2266" y="847"/>
                  </a:lnTo>
                  <a:lnTo>
                    <a:pt x="2275" y="841"/>
                  </a:lnTo>
                  <a:lnTo>
                    <a:pt x="2285" y="836"/>
                  </a:lnTo>
                  <a:lnTo>
                    <a:pt x="2296" y="831"/>
                  </a:lnTo>
                  <a:lnTo>
                    <a:pt x="2307" y="827"/>
                  </a:lnTo>
                  <a:lnTo>
                    <a:pt x="2319" y="824"/>
                  </a:lnTo>
                  <a:lnTo>
                    <a:pt x="2331" y="822"/>
                  </a:lnTo>
                  <a:lnTo>
                    <a:pt x="3142" y="700"/>
                  </a:lnTo>
                  <a:lnTo>
                    <a:pt x="3154" y="699"/>
                  </a:lnTo>
                  <a:lnTo>
                    <a:pt x="3166" y="699"/>
                  </a:lnTo>
                  <a:lnTo>
                    <a:pt x="3177" y="699"/>
                  </a:lnTo>
                  <a:lnTo>
                    <a:pt x="3189" y="700"/>
                  </a:lnTo>
                  <a:lnTo>
                    <a:pt x="3200" y="702"/>
                  </a:lnTo>
                  <a:lnTo>
                    <a:pt x="3211" y="706"/>
                  </a:lnTo>
                  <a:lnTo>
                    <a:pt x="3222" y="710"/>
                  </a:lnTo>
                  <a:lnTo>
                    <a:pt x="3232" y="715"/>
                  </a:lnTo>
                  <a:lnTo>
                    <a:pt x="3241" y="721"/>
                  </a:lnTo>
                  <a:lnTo>
                    <a:pt x="3250" y="728"/>
                  </a:lnTo>
                  <a:lnTo>
                    <a:pt x="3259" y="737"/>
                  </a:lnTo>
                  <a:lnTo>
                    <a:pt x="3268" y="746"/>
                  </a:lnTo>
                  <a:lnTo>
                    <a:pt x="3275" y="758"/>
                  </a:lnTo>
                  <a:lnTo>
                    <a:pt x="3282" y="769"/>
                  </a:lnTo>
                  <a:lnTo>
                    <a:pt x="3289" y="782"/>
                  </a:lnTo>
                  <a:lnTo>
                    <a:pt x="3294" y="796"/>
                  </a:lnTo>
                  <a:lnTo>
                    <a:pt x="3529" y="1433"/>
                  </a:lnTo>
                  <a:lnTo>
                    <a:pt x="3530" y="1438"/>
                  </a:lnTo>
                  <a:lnTo>
                    <a:pt x="3531" y="1443"/>
                  </a:lnTo>
                  <a:lnTo>
                    <a:pt x="3532" y="1449"/>
                  </a:lnTo>
                  <a:lnTo>
                    <a:pt x="3532" y="1454"/>
                  </a:lnTo>
                  <a:lnTo>
                    <a:pt x="3531" y="1459"/>
                  </a:lnTo>
                  <a:lnTo>
                    <a:pt x="3530" y="1464"/>
                  </a:lnTo>
                  <a:lnTo>
                    <a:pt x="3529" y="1469"/>
                  </a:lnTo>
                  <a:lnTo>
                    <a:pt x="3527" y="1474"/>
                  </a:lnTo>
                  <a:lnTo>
                    <a:pt x="3525" y="1478"/>
                  </a:lnTo>
                  <a:lnTo>
                    <a:pt x="3522" y="1483"/>
                  </a:lnTo>
                  <a:lnTo>
                    <a:pt x="3518" y="1487"/>
                  </a:lnTo>
                  <a:lnTo>
                    <a:pt x="3515" y="1490"/>
                  </a:lnTo>
                  <a:lnTo>
                    <a:pt x="3510" y="1493"/>
                  </a:lnTo>
                  <a:lnTo>
                    <a:pt x="3506" y="1495"/>
                  </a:lnTo>
                  <a:lnTo>
                    <a:pt x="3501" y="1497"/>
                  </a:lnTo>
                  <a:lnTo>
                    <a:pt x="3494" y="1498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63668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Вертикальный заголовок и текст"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4715" y="2028092"/>
            <a:ext cx="7401315" cy="4829908"/>
          </a:xfrm>
          <a:prstGeom prst="rect">
            <a:avLst/>
          </a:prstGeom>
        </p:spPr>
      </p:pic>
      <p:grpSp>
        <p:nvGrpSpPr>
          <p:cNvPr id="7" name="Группа 6"/>
          <p:cNvGrpSpPr/>
          <p:nvPr userDrawn="1"/>
        </p:nvGrpSpPr>
        <p:grpSpPr>
          <a:xfrm>
            <a:off x="531416" y="487363"/>
            <a:ext cx="2332038" cy="455612"/>
            <a:chOff x="490538" y="487363"/>
            <a:chExt cx="2152650" cy="455612"/>
          </a:xfrm>
        </p:grpSpPr>
        <p:sp>
          <p:nvSpPr>
            <p:cNvPr id="8" name="Freeform 5"/>
            <p:cNvSpPr>
              <a:spLocks noEditPoints="1"/>
            </p:cNvSpPr>
            <p:nvPr userDrawn="1"/>
          </p:nvSpPr>
          <p:spPr bwMode="auto">
            <a:xfrm>
              <a:off x="1144588" y="590550"/>
              <a:ext cx="1498600" cy="247650"/>
            </a:xfrm>
            <a:custGeom>
              <a:avLst/>
              <a:gdLst>
                <a:gd name="T0" fmla="*/ 2465 w 11327"/>
                <a:gd name="T1" fmla="*/ 803 h 1868"/>
                <a:gd name="T2" fmla="*/ 2667 w 11327"/>
                <a:gd name="T3" fmla="*/ 466 h 1868"/>
                <a:gd name="T4" fmla="*/ 3049 w 11327"/>
                <a:gd name="T5" fmla="*/ 345 h 1868"/>
                <a:gd name="T6" fmla="*/ 3430 w 11327"/>
                <a:gd name="T7" fmla="*/ 466 h 1868"/>
                <a:gd name="T8" fmla="*/ 3632 w 11327"/>
                <a:gd name="T9" fmla="*/ 803 h 1868"/>
                <a:gd name="T10" fmla="*/ 3574 w 11327"/>
                <a:gd name="T11" fmla="*/ 1233 h 1868"/>
                <a:gd name="T12" fmla="*/ 3284 w 11327"/>
                <a:gd name="T13" fmla="*/ 1483 h 1868"/>
                <a:gd name="T14" fmla="*/ 2870 w 11327"/>
                <a:gd name="T15" fmla="*/ 1500 h 1868"/>
                <a:gd name="T16" fmla="*/ 2553 w 11327"/>
                <a:gd name="T17" fmla="*/ 1281 h 1868"/>
                <a:gd name="T18" fmla="*/ 4046 w 11327"/>
                <a:gd name="T19" fmla="*/ 882 h 1868"/>
                <a:gd name="T20" fmla="*/ 3784 w 11327"/>
                <a:gd name="T21" fmla="*/ 289 h 1868"/>
                <a:gd name="T22" fmla="*/ 3199 w 11327"/>
                <a:gd name="T23" fmla="*/ 10 h 1868"/>
                <a:gd name="T24" fmla="*/ 2536 w 11327"/>
                <a:gd name="T25" fmla="*/ 125 h 1868"/>
                <a:gd name="T26" fmla="*/ 2113 w 11327"/>
                <a:gd name="T27" fmla="*/ 595 h 1868"/>
                <a:gd name="T28" fmla="*/ 2113 w 11327"/>
                <a:gd name="T29" fmla="*/ 1273 h 1868"/>
                <a:gd name="T30" fmla="*/ 2536 w 11327"/>
                <a:gd name="T31" fmla="*/ 1743 h 1868"/>
                <a:gd name="T32" fmla="*/ 3199 w 11327"/>
                <a:gd name="T33" fmla="*/ 1858 h 1868"/>
                <a:gd name="T34" fmla="*/ 3784 w 11327"/>
                <a:gd name="T35" fmla="*/ 1579 h 1868"/>
                <a:gd name="T36" fmla="*/ 4046 w 11327"/>
                <a:gd name="T37" fmla="*/ 985 h 1868"/>
                <a:gd name="T38" fmla="*/ 4444 w 11327"/>
                <a:gd name="T39" fmla="*/ 1443 h 1868"/>
                <a:gd name="T40" fmla="*/ 4540 w 11327"/>
                <a:gd name="T41" fmla="*/ 1808 h 1868"/>
                <a:gd name="T42" fmla="*/ 4811 w 11327"/>
                <a:gd name="T43" fmla="*/ 1650 h 1868"/>
                <a:gd name="T44" fmla="*/ 5796 w 11327"/>
                <a:gd name="T45" fmla="*/ 403 h 1868"/>
                <a:gd name="T46" fmla="*/ 7304 w 11327"/>
                <a:gd name="T47" fmla="*/ 1292 h 1868"/>
                <a:gd name="T48" fmla="*/ 7673 w 11327"/>
                <a:gd name="T49" fmla="*/ 1730 h 1868"/>
                <a:gd name="T50" fmla="*/ 8267 w 11327"/>
                <a:gd name="T51" fmla="*/ 1867 h 1868"/>
                <a:gd name="T52" fmla="*/ 8871 w 11327"/>
                <a:gd name="T53" fmla="*/ 1653 h 1868"/>
                <a:gd name="T54" fmla="*/ 9178 w 11327"/>
                <a:gd name="T55" fmla="*/ 1094 h 1868"/>
                <a:gd name="T56" fmla="*/ 9049 w 11327"/>
                <a:gd name="T57" fmla="*/ 414 h 1868"/>
                <a:gd name="T58" fmla="*/ 8552 w 11327"/>
                <a:gd name="T59" fmla="*/ 48 h 1868"/>
                <a:gd name="T60" fmla="*/ 7924 w 11327"/>
                <a:gd name="T61" fmla="*/ 36 h 1868"/>
                <a:gd name="T62" fmla="*/ 7459 w 11327"/>
                <a:gd name="T63" fmla="*/ 313 h 1868"/>
                <a:gd name="T64" fmla="*/ 6585 w 11327"/>
                <a:gd name="T65" fmla="*/ 42 h 1868"/>
                <a:gd name="T66" fmla="*/ 7740 w 11327"/>
                <a:gd name="T67" fmla="*/ 563 h 1868"/>
                <a:gd name="T68" fmla="*/ 8053 w 11327"/>
                <a:gd name="T69" fmla="*/ 361 h 1868"/>
                <a:gd name="T70" fmla="*/ 8492 w 11327"/>
                <a:gd name="T71" fmla="*/ 396 h 1868"/>
                <a:gd name="T72" fmla="*/ 8744 w 11327"/>
                <a:gd name="T73" fmla="*/ 660 h 1868"/>
                <a:gd name="T74" fmla="*/ 8775 w 11327"/>
                <a:gd name="T75" fmla="*/ 1095 h 1868"/>
                <a:gd name="T76" fmla="*/ 8585 w 11327"/>
                <a:gd name="T77" fmla="*/ 1418 h 1868"/>
                <a:gd name="T78" fmla="*/ 8182 w 11327"/>
                <a:gd name="T79" fmla="*/ 1522 h 1868"/>
                <a:gd name="T80" fmla="*/ 7807 w 11327"/>
                <a:gd name="T81" fmla="*/ 1385 h 1868"/>
                <a:gd name="T82" fmla="*/ 7649 w 11327"/>
                <a:gd name="T83" fmla="*/ 1033 h 1868"/>
                <a:gd name="T84" fmla="*/ 11121 w 11327"/>
                <a:gd name="T85" fmla="*/ 228 h 1868"/>
                <a:gd name="T86" fmla="*/ 10716 w 11327"/>
                <a:gd name="T87" fmla="*/ 30 h 1868"/>
                <a:gd name="T88" fmla="*/ 10126 w 11327"/>
                <a:gd name="T89" fmla="*/ 37 h 1868"/>
                <a:gd name="T90" fmla="*/ 9598 w 11327"/>
                <a:gd name="T91" fmla="*/ 385 h 1868"/>
                <a:gd name="T92" fmla="*/ 9435 w 11327"/>
                <a:gd name="T93" fmla="*/ 1039 h 1868"/>
                <a:gd name="T94" fmla="*/ 9714 w 11327"/>
                <a:gd name="T95" fmla="*/ 1617 h 1868"/>
                <a:gd name="T96" fmla="*/ 10320 w 11327"/>
                <a:gd name="T97" fmla="*/ 1863 h 1868"/>
                <a:gd name="T98" fmla="*/ 10845 w 11327"/>
                <a:gd name="T99" fmla="*/ 1799 h 1868"/>
                <a:gd name="T100" fmla="*/ 11211 w 11327"/>
                <a:gd name="T101" fmla="*/ 1551 h 1868"/>
                <a:gd name="T102" fmla="*/ 10919 w 11327"/>
                <a:gd name="T103" fmla="*/ 1325 h 1868"/>
                <a:gd name="T104" fmla="*/ 10676 w 11327"/>
                <a:gd name="T105" fmla="*/ 1473 h 1868"/>
                <a:gd name="T106" fmla="*/ 10324 w 11327"/>
                <a:gd name="T107" fmla="*/ 1504 h 1868"/>
                <a:gd name="T108" fmla="*/ 9975 w 11327"/>
                <a:gd name="T109" fmla="*/ 1332 h 1868"/>
                <a:gd name="T110" fmla="*/ 9831 w 11327"/>
                <a:gd name="T111" fmla="*/ 966 h 1868"/>
                <a:gd name="T112" fmla="*/ 9938 w 11327"/>
                <a:gd name="T113" fmla="*/ 575 h 1868"/>
                <a:gd name="T114" fmla="*/ 10261 w 11327"/>
                <a:gd name="T115" fmla="*/ 373 h 1868"/>
                <a:gd name="T116" fmla="*/ 10634 w 11327"/>
                <a:gd name="T117" fmla="*/ 382 h 1868"/>
                <a:gd name="T118" fmla="*/ 10890 w 11327"/>
                <a:gd name="T119" fmla="*/ 515 h 1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27" h="1868">
                  <a:moveTo>
                    <a:pt x="0" y="42"/>
                  </a:moveTo>
                  <a:lnTo>
                    <a:pt x="0" y="1822"/>
                  </a:lnTo>
                  <a:lnTo>
                    <a:pt x="399" y="1822"/>
                  </a:lnTo>
                  <a:lnTo>
                    <a:pt x="399" y="400"/>
                  </a:lnTo>
                  <a:lnTo>
                    <a:pt x="1352" y="400"/>
                  </a:lnTo>
                  <a:lnTo>
                    <a:pt x="1352" y="1822"/>
                  </a:lnTo>
                  <a:lnTo>
                    <a:pt x="1755" y="1822"/>
                  </a:lnTo>
                  <a:lnTo>
                    <a:pt x="1755" y="42"/>
                  </a:lnTo>
                  <a:lnTo>
                    <a:pt x="0" y="42"/>
                  </a:lnTo>
                  <a:close/>
                  <a:moveTo>
                    <a:pt x="2454" y="933"/>
                  </a:moveTo>
                  <a:lnTo>
                    <a:pt x="2454" y="900"/>
                  </a:lnTo>
                  <a:lnTo>
                    <a:pt x="2457" y="866"/>
                  </a:lnTo>
                  <a:lnTo>
                    <a:pt x="2460" y="835"/>
                  </a:lnTo>
                  <a:lnTo>
                    <a:pt x="2465" y="803"/>
                  </a:lnTo>
                  <a:lnTo>
                    <a:pt x="2472" y="773"/>
                  </a:lnTo>
                  <a:lnTo>
                    <a:pt x="2480" y="743"/>
                  </a:lnTo>
                  <a:lnTo>
                    <a:pt x="2489" y="715"/>
                  </a:lnTo>
                  <a:lnTo>
                    <a:pt x="2499" y="686"/>
                  </a:lnTo>
                  <a:lnTo>
                    <a:pt x="2511" y="660"/>
                  </a:lnTo>
                  <a:lnTo>
                    <a:pt x="2524" y="634"/>
                  </a:lnTo>
                  <a:lnTo>
                    <a:pt x="2538" y="610"/>
                  </a:lnTo>
                  <a:lnTo>
                    <a:pt x="2553" y="586"/>
                  </a:lnTo>
                  <a:lnTo>
                    <a:pt x="2570" y="563"/>
                  </a:lnTo>
                  <a:lnTo>
                    <a:pt x="2588" y="542"/>
                  </a:lnTo>
                  <a:lnTo>
                    <a:pt x="2606" y="521"/>
                  </a:lnTo>
                  <a:lnTo>
                    <a:pt x="2626" y="501"/>
                  </a:lnTo>
                  <a:lnTo>
                    <a:pt x="2646" y="483"/>
                  </a:lnTo>
                  <a:lnTo>
                    <a:pt x="2667" y="466"/>
                  </a:lnTo>
                  <a:lnTo>
                    <a:pt x="2691" y="449"/>
                  </a:lnTo>
                  <a:lnTo>
                    <a:pt x="2713" y="434"/>
                  </a:lnTo>
                  <a:lnTo>
                    <a:pt x="2737" y="420"/>
                  </a:lnTo>
                  <a:lnTo>
                    <a:pt x="2763" y="408"/>
                  </a:lnTo>
                  <a:lnTo>
                    <a:pt x="2788" y="396"/>
                  </a:lnTo>
                  <a:lnTo>
                    <a:pt x="2815" y="385"/>
                  </a:lnTo>
                  <a:lnTo>
                    <a:pt x="2842" y="375"/>
                  </a:lnTo>
                  <a:lnTo>
                    <a:pt x="2870" y="367"/>
                  </a:lnTo>
                  <a:lnTo>
                    <a:pt x="2898" y="361"/>
                  </a:lnTo>
                  <a:lnTo>
                    <a:pt x="2928" y="355"/>
                  </a:lnTo>
                  <a:lnTo>
                    <a:pt x="2957" y="351"/>
                  </a:lnTo>
                  <a:lnTo>
                    <a:pt x="2988" y="347"/>
                  </a:lnTo>
                  <a:lnTo>
                    <a:pt x="3018" y="345"/>
                  </a:lnTo>
                  <a:lnTo>
                    <a:pt x="3049" y="345"/>
                  </a:lnTo>
                  <a:lnTo>
                    <a:pt x="3080" y="345"/>
                  </a:lnTo>
                  <a:lnTo>
                    <a:pt x="3111" y="347"/>
                  </a:lnTo>
                  <a:lnTo>
                    <a:pt x="3141" y="351"/>
                  </a:lnTo>
                  <a:lnTo>
                    <a:pt x="3171" y="355"/>
                  </a:lnTo>
                  <a:lnTo>
                    <a:pt x="3200" y="361"/>
                  </a:lnTo>
                  <a:lnTo>
                    <a:pt x="3229" y="367"/>
                  </a:lnTo>
                  <a:lnTo>
                    <a:pt x="3256" y="375"/>
                  </a:lnTo>
                  <a:lnTo>
                    <a:pt x="3284" y="385"/>
                  </a:lnTo>
                  <a:lnTo>
                    <a:pt x="3310" y="396"/>
                  </a:lnTo>
                  <a:lnTo>
                    <a:pt x="3335" y="408"/>
                  </a:lnTo>
                  <a:lnTo>
                    <a:pt x="3361" y="420"/>
                  </a:lnTo>
                  <a:lnTo>
                    <a:pt x="3384" y="434"/>
                  </a:lnTo>
                  <a:lnTo>
                    <a:pt x="3408" y="449"/>
                  </a:lnTo>
                  <a:lnTo>
                    <a:pt x="3430" y="466"/>
                  </a:lnTo>
                  <a:lnTo>
                    <a:pt x="3452" y="483"/>
                  </a:lnTo>
                  <a:lnTo>
                    <a:pt x="3473" y="501"/>
                  </a:lnTo>
                  <a:lnTo>
                    <a:pt x="3492" y="521"/>
                  </a:lnTo>
                  <a:lnTo>
                    <a:pt x="3510" y="542"/>
                  </a:lnTo>
                  <a:lnTo>
                    <a:pt x="3528" y="563"/>
                  </a:lnTo>
                  <a:lnTo>
                    <a:pt x="3545" y="586"/>
                  </a:lnTo>
                  <a:lnTo>
                    <a:pt x="3560" y="610"/>
                  </a:lnTo>
                  <a:lnTo>
                    <a:pt x="3574" y="634"/>
                  </a:lnTo>
                  <a:lnTo>
                    <a:pt x="3587" y="660"/>
                  </a:lnTo>
                  <a:lnTo>
                    <a:pt x="3599" y="686"/>
                  </a:lnTo>
                  <a:lnTo>
                    <a:pt x="3609" y="715"/>
                  </a:lnTo>
                  <a:lnTo>
                    <a:pt x="3618" y="743"/>
                  </a:lnTo>
                  <a:lnTo>
                    <a:pt x="3626" y="773"/>
                  </a:lnTo>
                  <a:lnTo>
                    <a:pt x="3632" y="803"/>
                  </a:lnTo>
                  <a:lnTo>
                    <a:pt x="3637" y="835"/>
                  </a:lnTo>
                  <a:lnTo>
                    <a:pt x="3642" y="866"/>
                  </a:lnTo>
                  <a:lnTo>
                    <a:pt x="3644" y="900"/>
                  </a:lnTo>
                  <a:lnTo>
                    <a:pt x="3645" y="933"/>
                  </a:lnTo>
                  <a:lnTo>
                    <a:pt x="3644" y="968"/>
                  </a:lnTo>
                  <a:lnTo>
                    <a:pt x="3642" y="1001"/>
                  </a:lnTo>
                  <a:lnTo>
                    <a:pt x="3637" y="1033"/>
                  </a:lnTo>
                  <a:lnTo>
                    <a:pt x="3632" y="1065"/>
                  </a:lnTo>
                  <a:lnTo>
                    <a:pt x="3626" y="1095"/>
                  </a:lnTo>
                  <a:lnTo>
                    <a:pt x="3618" y="1125"/>
                  </a:lnTo>
                  <a:lnTo>
                    <a:pt x="3609" y="1153"/>
                  </a:lnTo>
                  <a:lnTo>
                    <a:pt x="3599" y="1181"/>
                  </a:lnTo>
                  <a:lnTo>
                    <a:pt x="3587" y="1207"/>
                  </a:lnTo>
                  <a:lnTo>
                    <a:pt x="3574" y="1233"/>
                  </a:lnTo>
                  <a:lnTo>
                    <a:pt x="3560" y="1258"/>
                  </a:lnTo>
                  <a:lnTo>
                    <a:pt x="3545" y="1281"/>
                  </a:lnTo>
                  <a:lnTo>
                    <a:pt x="3528" y="1305"/>
                  </a:lnTo>
                  <a:lnTo>
                    <a:pt x="3510" y="1326"/>
                  </a:lnTo>
                  <a:lnTo>
                    <a:pt x="3492" y="1346"/>
                  </a:lnTo>
                  <a:lnTo>
                    <a:pt x="3473" y="1366"/>
                  </a:lnTo>
                  <a:lnTo>
                    <a:pt x="3452" y="1385"/>
                  </a:lnTo>
                  <a:lnTo>
                    <a:pt x="3430" y="1402"/>
                  </a:lnTo>
                  <a:lnTo>
                    <a:pt x="3408" y="1418"/>
                  </a:lnTo>
                  <a:lnTo>
                    <a:pt x="3384" y="1434"/>
                  </a:lnTo>
                  <a:lnTo>
                    <a:pt x="3361" y="1447"/>
                  </a:lnTo>
                  <a:lnTo>
                    <a:pt x="3335" y="1460"/>
                  </a:lnTo>
                  <a:lnTo>
                    <a:pt x="3310" y="1472"/>
                  </a:lnTo>
                  <a:lnTo>
                    <a:pt x="3284" y="1483"/>
                  </a:lnTo>
                  <a:lnTo>
                    <a:pt x="3256" y="1492"/>
                  </a:lnTo>
                  <a:lnTo>
                    <a:pt x="3229" y="1500"/>
                  </a:lnTo>
                  <a:lnTo>
                    <a:pt x="3200" y="1507"/>
                  </a:lnTo>
                  <a:lnTo>
                    <a:pt x="3171" y="1513"/>
                  </a:lnTo>
                  <a:lnTo>
                    <a:pt x="3141" y="1517"/>
                  </a:lnTo>
                  <a:lnTo>
                    <a:pt x="3111" y="1520"/>
                  </a:lnTo>
                  <a:lnTo>
                    <a:pt x="3080" y="1522"/>
                  </a:lnTo>
                  <a:lnTo>
                    <a:pt x="3049" y="1523"/>
                  </a:lnTo>
                  <a:lnTo>
                    <a:pt x="3018" y="1522"/>
                  </a:lnTo>
                  <a:lnTo>
                    <a:pt x="2988" y="1520"/>
                  </a:lnTo>
                  <a:lnTo>
                    <a:pt x="2957" y="1517"/>
                  </a:lnTo>
                  <a:lnTo>
                    <a:pt x="2928" y="1513"/>
                  </a:lnTo>
                  <a:lnTo>
                    <a:pt x="2898" y="1507"/>
                  </a:lnTo>
                  <a:lnTo>
                    <a:pt x="2870" y="1500"/>
                  </a:lnTo>
                  <a:lnTo>
                    <a:pt x="2842" y="1492"/>
                  </a:lnTo>
                  <a:lnTo>
                    <a:pt x="2815" y="1483"/>
                  </a:lnTo>
                  <a:lnTo>
                    <a:pt x="2788" y="1472"/>
                  </a:lnTo>
                  <a:lnTo>
                    <a:pt x="2763" y="1460"/>
                  </a:lnTo>
                  <a:lnTo>
                    <a:pt x="2737" y="1447"/>
                  </a:lnTo>
                  <a:lnTo>
                    <a:pt x="2713" y="1434"/>
                  </a:lnTo>
                  <a:lnTo>
                    <a:pt x="2691" y="1418"/>
                  </a:lnTo>
                  <a:lnTo>
                    <a:pt x="2667" y="1402"/>
                  </a:lnTo>
                  <a:lnTo>
                    <a:pt x="2646" y="1385"/>
                  </a:lnTo>
                  <a:lnTo>
                    <a:pt x="2626" y="1366"/>
                  </a:lnTo>
                  <a:lnTo>
                    <a:pt x="2606" y="1346"/>
                  </a:lnTo>
                  <a:lnTo>
                    <a:pt x="2588" y="1326"/>
                  </a:lnTo>
                  <a:lnTo>
                    <a:pt x="2570" y="1305"/>
                  </a:lnTo>
                  <a:lnTo>
                    <a:pt x="2553" y="1281"/>
                  </a:lnTo>
                  <a:lnTo>
                    <a:pt x="2538" y="1258"/>
                  </a:lnTo>
                  <a:lnTo>
                    <a:pt x="2524" y="1233"/>
                  </a:lnTo>
                  <a:lnTo>
                    <a:pt x="2511" y="1207"/>
                  </a:lnTo>
                  <a:lnTo>
                    <a:pt x="2499" y="1181"/>
                  </a:lnTo>
                  <a:lnTo>
                    <a:pt x="2489" y="1153"/>
                  </a:lnTo>
                  <a:lnTo>
                    <a:pt x="2480" y="1125"/>
                  </a:lnTo>
                  <a:lnTo>
                    <a:pt x="2472" y="1095"/>
                  </a:lnTo>
                  <a:lnTo>
                    <a:pt x="2465" y="1065"/>
                  </a:lnTo>
                  <a:lnTo>
                    <a:pt x="2460" y="1033"/>
                  </a:lnTo>
                  <a:lnTo>
                    <a:pt x="2457" y="1001"/>
                  </a:lnTo>
                  <a:lnTo>
                    <a:pt x="2454" y="968"/>
                  </a:lnTo>
                  <a:lnTo>
                    <a:pt x="2454" y="933"/>
                  </a:lnTo>
                  <a:close/>
                  <a:moveTo>
                    <a:pt x="4047" y="933"/>
                  </a:moveTo>
                  <a:lnTo>
                    <a:pt x="4046" y="882"/>
                  </a:lnTo>
                  <a:lnTo>
                    <a:pt x="4042" y="831"/>
                  </a:lnTo>
                  <a:lnTo>
                    <a:pt x="4035" y="781"/>
                  </a:lnTo>
                  <a:lnTo>
                    <a:pt x="4026" y="733"/>
                  </a:lnTo>
                  <a:lnTo>
                    <a:pt x="4015" y="685"/>
                  </a:lnTo>
                  <a:lnTo>
                    <a:pt x="4002" y="640"/>
                  </a:lnTo>
                  <a:lnTo>
                    <a:pt x="3985" y="595"/>
                  </a:lnTo>
                  <a:lnTo>
                    <a:pt x="3967" y="551"/>
                  </a:lnTo>
                  <a:lnTo>
                    <a:pt x="3947" y="509"/>
                  </a:lnTo>
                  <a:lnTo>
                    <a:pt x="3924" y="469"/>
                  </a:lnTo>
                  <a:lnTo>
                    <a:pt x="3900" y="430"/>
                  </a:lnTo>
                  <a:lnTo>
                    <a:pt x="3874" y="392"/>
                  </a:lnTo>
                  <a:lnTo>
                    <a:pt x="3846" y="356"/>
                  </a:lnTo>
                  <a:lnTo>
                    <a:pt x="3815" y="321"/>
                  </a:lnTo>
                  <a:lnTo>
                    <a:pt x="3784" y="289"/>
                  </a:lnTo>
                  <a:lnTo>
                    <a:pt x="3751" y="257"/>
                  </a:lnTo>
                  <a:lnTo>
                    <a:pt x="3716" y="227"/>
                  </a:lnTo>
                  <a:lnTo>
                    <a:pt x="3679" y="199"/>
                  </a:lnTo>
                  <a:lnTo>
                    <a:pt x="3642" y="173"/>
                  </a:lnTo>
                  <a:lnTo>
                    <a:pt x="3603" y="147"/>
                  </a:lnTo>
                  <a:lnTo>
                    <a:pt x="3562" y="125"/>
                  </a:lnTo>
                  <a:lnTo>
                    <a:pt x="3521" y="104"/>
                  </a:lnTo>
                  <a:lnTo>
                    <a:pt x="3477" y="84"/>
                  </a:lnTo>
                  <a:lnTo>
                    <a:pt x="3433" y="67"/>
                  </a:lnTo>
                  <a:lnTo>
                    <a:pt x="3388" y="52"/>
                  </a:lnTo>
                  <a:lnTo>
                    <a:pt x="3342" y="39"/>
                  </a:lnTo>
                  <a:lnTo>
                    <a:pt x="3295" y="26"/>
                  </a:lnTo>
                  <a:lnTo>
                    <a:pt x="3247" y="17"/>
                  </a:lnTo>
                  <a:lnTo>
                    <a:pt x="3199" y="10"/>
                  </a:lnTo>
                  <a:lnTo>
                    <a:pt x="3149" y="4"/>
                  </a:lnTo>
                  <a:lnTo>
                    <a:pt x="3099" y="1"/>
                  </a:lnTo>
                  <a:lnTo>
                    <a:pt x="3049" y="0"/>
                  </a:lnTo>
                  <a:lnTo>
                    <a:pt x="2999" y="1"/>
                  </a:lnTo>
                  <a:lnTo>
                    <a:pt x="2949" y="4"/>
                  </a:lnTo>
                  <a:lnTo>
                    <a:pt x="2899" y="10"/>
                  </a:lnTo>
                  <a:lnTo>
                    <a:pt x="2851" y="17"/>
                  </a:lnTo>
                  <a:lnTo>
                    <a:pt x="2804" y="26"/>
                  </a:lnTo>
                  <a:lnTo>
                    <a:pt x="2756" y="39"/>
                  </a:lnTo>
                  <a:lnTo>
                    <a:pt x="2710" y="52"/>
                  </a:lnTo>
                  <a:lnTo>
                    <a:pt x="2665" y="67"/>
                  </a:lnTo>
                  <a:lnTo>
                    <a:pt x="2620" y="84"/>
                  </a:lnTo>
                  <a:lnTo>
                    <a:pt x="2578" y="104"/>
                  </a:lnTo>
                  <a:lnTo>
                    <a:pt x="2536" y="125"/>
                  </a:lnTo>
                  <a:lnTo>
                    <a:pt x="2495" y="147"/>
                  </a:lnTo>
                  <a:lnTo>
                    <a:pt x="2457" y="173"/>
                  </a:lnTo>
                  <a:lnTo>
                    <a:pt x="2418" y="199"/>
                  </a:lnTo>
                  <a:lnTo>
                    <a:pt x="2382" y="227"/>
                  </a:lnTo>
                  <a:lnTo>
                    <a:pt x="2347" y="257"/>
                  </a:lnTo>
                  <a:lnTo>
                    <a:pt x="2313" y="289"/>
                  </a:lnTo>
                  <a:lnTo>
                    <a:pt x="2282" y="321"/>
                  </a:lnTo>
                  <a:lnTo>
                    <a:pt x="2252" y="356"/>
                  </a:lnTo>
                  <a:lnTo>
                    <a:pt x="2224" y="392"/>
                  </a:lnTo>
                  <a:lnTo>
                    <a:pt x="2197" y="430"/>
                  </a:lnTo>
                  <a:lnTo>
                    <a:pt x="2173" y="469"/>
                  </a:lnTo>
                  <a:lnTo>
                    <a:pt x="2152" y="509"/>
                  </a:lnTo>
                  <a:lnTo>
                    <a:pt x="2131" y="551"/>
                  </a:lnTo>
                  <a:lnTo>
                    <a:pt x="2113" y="595"/>
                  </a:lnTo>
                  <a:lnTo>
                    <a:pt x="2097" y="640"/>
                  </a:lnTo>
                  <a:lnTo>
                    <a:pt x="2083" y="685"/>
                  </a:lnTo>
                  <a:lnTo>
                    <a:pt x="2071" y="733"/>
                  </a:lnTo>
                  <a:lnTo>
                    <a:pt x="2063" y="781"/>
                  </a:lnTo>
                  <a:lnTo>
                    <a:pt x="2056" y="831"/>
                  </a:lnTo>
                  <a:lnTo>
                    <a:pt x="2052" y="882"/>
                  </a:lnTo>
                  <a:lnTo>
                    <a:pt x="2051" y="933"/>
                  </a:lnTo>
                  <a:lnTo>
                    <a:pt x="2052" y="985"/>
                  </a:lnTo>
                  <a:lnTo>
                    <a:pt x="2056" y="1036"/>
                  </a:lnTo>
                  <a:lnTo>
                    <a:pt x="2063" y="1086"/>
                  </a:lnTo>
                  <a:lnTo>
                    <a:pt x="2071" y="1135"/>
                  </a:lnTo>
                  <a:lnTo>
                    <a:pt x="2083" y="1182"/>
                  </a:lnTo>
                  <a:lnTo>
                    <a:pt x="2097" y="1228"/>
                  </a:lnTo>
                  <a:lnTo>
                    <a:pt x="2113" y="1273"/>
                  </a:lnTo>
                  <a:lnTo>
                    <a:pt x="2131" y="1316"/>
                  </a:lnTo>
                  <a:lnTo>
                    <a:pt x="2152" y="1357"/>
                  </a:lnTo>
                  <a:lnTo>
                    <a:pt x="2173" y="1398"/>
                  </a:lnTo>
                  <a:lnTo>
                    <a:pt x="2197" y="1438"/>
                  </a:lnTo>
                  <a:lnTo>
                    <a:pt x="2224" y="1475"/>
                  </a:lnTo>
                  <a:lnTo>
                    <a:pt x="2252" y="1512"/>
                  </a:lnTo>
                  <a:lnTo>
                    <a:pt x="2282" y="1547"/>
                  </a:lnTo>
                  <a:lnTo>
                    <a:pt x="2313" y="1579"/>
                  </a:lnTo>
                  <a:lnTo>
                    <a:pt x="2347" y="1611"/>
                  </a:lnTo>
                  <a:lnTo>
                    <a:pt x="2382" y="1640"/>
                  </a:lnTo>
                  <a:lnTo>
                    <a:pt x="2418" y="1669"/>
                  </a:lnTo>
                  <a:lnTo>
                    <a:pt x="2457" y="1695"/>
                  </a:lnTo>
                  <a:lnTo>
                    <a:pt x="2495" y="1719"/>
                  </a:lnTo>
                  <a:lnTo>
                    <a:pt x="2536" y="1743"/>
                  </a:lnTo>
                  <a:lnTo>
                    <a:pt x="2578" y="1764"/>
                  </a:lnTo>
                  <a:lnTo>
                    <a:pt x="2620" y="1782"/>
                  </a:lnTo>
                  <a:lnTo>
                    <a:pt x="2665" y="1801"/>
                  </a:lnTo>
                  <a:lnTo>
                    <a:pt x="2710" y="1816"/>
                  </a:lnTo>
                  <a:lnTo>
                    <a:pt x="2756" y="1829"/>
                  </a:lnTo>
                  <a:lnTo>
                    <a:pt x="2804" y="1840"/>
                  </a:lnTo>
                  <a:lnTo>
                    <a:pt x="2851" y="1851"/>
                  </a:lnTo>
                  <a:lnTo>
                    <a:pt x="2899" y="1858"/>
                  </a:lnTo>
                  <a:lnTo>
                    <a:pt x="2949" y="1863"/>
                  </a:lnTo>
                  <a:lnTo>
                    <a:pt x="2999" y="1866"/>
                  </a:lnTo>
                  <a:lnTo>
                    <a:pt x="3049" y="1868"/>
                  </a:lnTo>
                  <a:lnTo>
                    <a:pt x="3099" y="1866"/>
                  </a:lnTo>
                  <a:lnTo>
                    <a:pt x="3149" y="1863"/>
                  </a:lnTo>
                  <a:lnTo>
                    <a:pt x="3199" y="1858"/>
                  </a:lnTo>
                  <a:lnTo>
                    <a:pt x="3247" y="1851"/>
                  </a:lnTo>
                  <a:lnTo>
                    <a:pt x="3295" y="1840"/>
                  </a:lnTo>
                  <a:lnTo>
                    <a:pt x="3342" y="1829"/>
                  </a:lnTo>
                  <a:lnTo>
                    <a:pt x="3388" y="1816"/>
                  </a:lnTo>
                  <a:lnTo>
                    <a:pt x="3433" y="1801"/>
                  </a:lnTo>
                  <a:lnTo>
                    <a:pt x="3477" y="1782"/>
                  </a:lnTo>
                  <a:lnTo>
                    <a:pt x="3521" y="1764"/>
                  </a:lnTo>
                  <a:lnTo>
                    <a:pt x="3562" y="1743"/>
                  </a:lnTo>
                  <a:lnTo>
                    <a:pt x="3603" y="1719"/>
                  </a:lnTo>
                  <a:lnTo>
                    <a:pt x="3642" y="1695"/>
                  </a:lnTo>
                  <a:lnTo>
                    <a:pt x="3679" y="1669"/>
                  </a:lnTo>
                  <a:lnTo>
                    <a:pt x="3716" y="1640"/>
                  </a:lnTo>
                  <a:lnTo>
                    <a:pt x="3751" y="1611"/>
                  </a:lnTo>
                  <a:lnTo>
                    <a:pt x="3784" y="1579"/>
                  </a:lnTo>
                  <a:lnTo>
                    <a:pt x="3815" y="1547"/>
                  </a:lnTo>
                  <a:lnTo>
                    <a:pt x="3846" y="1512"/>
                  </a:lnTo>
                  <a:lnTo>
                    <a:pt x="3874" y="1475"/>
                  </a:lnTo>
                  <a:lnTo>
                    <a:pt x="3900" y="1438"/>
                  </a:lnTo>
                  <a:lnTo>
                    <a:pt x="3924" y="1398"/>
                  </a:lnTo>
                  <a:lnTo>
                    <a:pt x="3947" y="1357"/>
                  </a:lnTo>
                  <a:lnTo>
                    <a:pt x="3967" y="1316"/>
                  </a:lnTo>
                  <a:lnTo>
                    <a:pt x="3985" y="1273"/>
                  </a:lnTo>
                  <a:lnTo>
                    <a:pt x="4002" y="1228"/>
                  </a:lnTo>
                  <a:lnTo>
                    <a:pt x="4015" y="1182"/>
                  </a:lnTo>
                  <a:lnTo>
                    <a:pt x="4026" y="1135"/>
                  </a:lnTo>
                  <a:lnTo>
                    <a:pt x="4035" y="1086"/>
                  </a:lnTo>
                  <a:lnTo>
                    <a:pt x="4042" y="1036"/>
                  </a:lnTo>
                  <a:lnTo>
                    <a:pt x="4046" y="985"/>
                  </a:lnTo>
                  <a:lnTo>
                    <a:pt x="4047" y="933"/>
                  </a:lnTo>
                  <a:close/>
                  <a:moveTo>
                    <a:pt x="4779" y="42"/>
                  </a:moveTo>
                  <a:lnTo>
                    <a:pt x="4540" y="1317"/>
                  </a:lnTo>
                  <a:lnTo>
                    <a:pt x="4535" y="1334"/>
                  </a:lnTo>
                  <a:lnTo>
                    <a:pt x="4530" y="1350"/>
                  </a:lnTo>
                  <a:lnTo>
                    <a:pt x="4524" y="1366"/>
                  </a:lnTo>
                  <a:lnTo>
                    <a:pt x="4517" y="1379"/>
                  </a:lnTo>
                  <a:lnTo>
                    <a:pt x="4510" y="1392"/>
                  </a:lnTo>
                  <a:lnTo>
                    <a:pt x="4501" y="1403"/>
                  </a:lnTo>
                  <a:lnTo>
                    <a:pt x="4491" y="1413"/>
                  </a:lnTo>
                  <a:lnTo>
                    <a:pt x="4481" y="1423"/>
                  </a:lnTo>
                  <a:lnTo>
                    <a:pt x="4469" y="1431"/>
                  </a:lnTo>
                  <a:lnTo>
                    <a:pt x="4457" y="1437"/>
                  </a:lnTo>
                  <a:lnTo>
                    <a:pt x="4444" y="1443"/>
                  </a:lnTo>
                  <a:lnTo>
                    <a:pt x="4430" y="1447"/>
                  </a:lnTo>
                  <a:lnTo>
                    <a:pt x="4415" y="1451"/>
                  </a:lnTo>
                  <a:lnTo>
                    <a:pt x="4399" y="1453"/>
                  </a:lnTo>
                  <a:lnTo>
                    <a:pt x="4383" y="1455"/>
                  </a:lnTo>
                  <a:lnTo>
                    <a:pt x="4366" y="1455"/>
                  </a:lnTo>
                  <a:lnTo>
                    <a:pt x="4172" y="1455"/>
                  </a:lnTo>
                  <a:lnTo>
                    <a:pt x="4172" y="1822"/>
                  </a:lnTo>
                  <a:lnTo>
                    <a:pt x="4385" y="1822"/>
                  </a:lnTo>
                  <a:lnTo>
                    <a:pt x="4412" y="1822"/>
                  </a:lnTo>
                  <a:lnTo>
                    <a:pt x="4439" y="1821"/>
                  </a:lnTo>
                  <a:lnTo>
                    <a:pt x="4465" y="1819"/>
                  </a:lnTo>
                  <a:lnTo>
                    <a:pt x="4491" y="1816"/>
                  </a:lnTo>
                  <a:lnTo>
                    <a:pt x="4515" y="1812"/>
                  </a:lnTo>
                  <a:lnTo>
                    <a:pt x="4540" y="1808"/>
                  </a:lnTo>
                  <a:lnTo>
                    <a:pt x="4563" y="1802"/>
                  </a:lnTo>
                  <a:lnTo>
                    <a:pt x="4586" y="1796"/>
                  </a:lnTo>
                  <a:lnTo>
                    <a:pt x="4609" y="1789"/>
                  </a:lnTo>
                  <a:lnTo>
                    <a:pt x="4630" y="1780"/>
                  </a:lnTo>
                  <a:lnTo>
                    <a:pt x="4651" y="1771"/>
                  </a:lnTo>
                  <a:lnTo>
                    <a:pt x="4672" y="1762"/>
                  </a:lnTo>
                  <a:lnTo>
                    <a:pt x="4692" y="1751"/>
                  </a:lnTo>
                  <a:lnTo>
                    <a:pt x="4710" y="1740"/>
                  </a:lnTo>
                  <a:lnTo>
                    <a:pt x="4730" y="1728"/>
                  </a:lnTo>
                  <a:lnTo>
                    <a:pt x="4747" y="1713"/>
                  </a:lnTo>
                  <a:lnTo>
                    <a:pt x="4764" y="1699"/>
                  </a:lnTo>
                  <a:lnTo>
                    <a:pt x="4781" y="1684"/>
                  </a:lnTo>
                  <a:lnTo>
                    <a:pt x="4796" y="1668"/>
                  </a:lnTo>
                  <a:lnTo>
                    <a:pt x="4811" y="1650"/>
                  </a:lnTo>
                  <a:lnTo>
                    <a:pt x="4825" y="1633"/>
                  </a:lnTo>
                  <a:lnTo>
                    <a:pt x="4839" y="1614"/>
                  </a:lnTo>
                  <a:lnTo>
                    <a:pt x="4852" y="1593"/>
                  </a:lnTo>
                  <a:lnTo>
                    <a:pt x="4864" y="1572"/>
                  </a:lnTo>
                  <a:lnTo>
                    <a:pt x="4875" y="1551"/>
                  </a:lnTo>
                  <a:lnTo>
                    <a:pt x="4885" y="1527"/>
                  </a:lnTo>
                  <a:lnTo>
                    <a:pt x="4895" y="1504"/>
                  </a:lnTo>
                  <a:lnTo>
                    <a:pt x="4905" y="1478"/>
                  </a:lnTo>
                  <a:lnTo>
                    <a:pt x="4913" y="1452"/>
                  </a:lnTo>
                  <a:lnTo>
                    <a:pt x="4920" y="1426"/>
                  </a:lnTo>
                  <a:lnTo>
                    <a:pt x="4927" y="1397"/>
                  </a:lnTo>
                  <a:lnTo>
                    <a:pt x="4932" y="1369"/>
                  </a:lnTo>
                  <a:lnTo>
                    <a:pt x="5113" y="403"/>
                  </a:lnTo>
                  <a:lnTo>
                    <a:pt x="5796" y="403"/>
                  </a:lnTo>
                  <a:lnTo>
                    <a:pt x="5796" y="1822"/>
                  </a:lnTo>
                  <a:lnTo>
                    <a:pt x="6198" y="1822"/>
                  </a:lnTo>
                  <a:lnTo>
                    <a:pt x="6198" y="42"/>
                  </a:lnTo>
                  <a:lnTo>
                    <a:pt x="4779" y="42"/>
                  </a:lnTo>
                  <a:close/>
                  <a:moveTo>
                    <a:pt x="6585" y="42"/>
                  </a:moveTo>
                  <a:lnTo>
                    <a:pt x="6585" y="1822"/>
                  </a:lnTo>
                  <a:lnTo>
                    <a:pt x="6980" y="1822"/>
                  </a:lnTo>
                  <a:lnTo>
                    <a:pt x="6980" y="1069"/>
                  </a:lnTo>
                  <a:lnTo>
                    <a:pt x="7251" y="1069"/>
                  </a:lnTo>
                  <a:lnTo>
                    <a:pt x="7258" y="1116"/>
                  </a:lnTo>
                  <a:lnTo>
                    <a:pt x="7266" y="1162"/>
                  </a:lnTo>
                  <a:lnTo>
                    <a:pt x="7277" y="1207"/>
                  </a:lnTo>
                  <a:lnTo>
                    <a:pt x="7290" y="1251"/>
                  </a:lnTo>
                  <a:lnTo>
                    <a:pt x="7304" y="1292"/>
                  </a:lnTo>
                  <a:lnTo>
                    <a:pt x="7320" y="1333"/>
                  </a:lnTo>
                  <a:lnTo>
                    <a:pt x="7338" y="1372"/>
                  </a:lnTo>
                  <a:lnTo>
                    <a:pt x="7358" y="1409"/>
                  </a:lnTo>
                  <a:lnTo>
                    <a:pt x="7379" y="1446"/>
                  </a:lnTo>
                  <a:lnTo>
                    <a:pt x="7402" y="1482"/>
                  </a:lnTo>
                  <a:lnTo>
                    <a:pt x="7427" y="1514"/>
                  </a:lnTo>
                  <a:lnTo>
                    <a:pt x="7452" y="1547"/>
                  </a:lnTo>
                  <a:lnTo>
                    <a:pt x="7480" y="1577"/>
                  </a:lnTo>
                  <a:lnTo>
                    <a:pt x="7509" y="1607"/>
                  </a:lnTo>
                  <a:lnTo>
                    <a:pt x="7540" y="1634"/>
                  </a:lnTo>
                  <a:lnTo>
                    <a:pt x="7571" y="1660"/>
                  </a:lnTo>
                  <a:lnTo>
                    <a:pt x="7604" y="1685"/>
                  </a:lnTo>
                  <a:lnTo>
                    <a:pt x="7637" y="1708"/>
                  </a:lnTo>
                  <a:lnTo>
                    <a:pt x="7673" y="1730"/>
                  </a:lnTo>
                  <a:lnTo>
                    <a:pt x="7710" y="1750"/>
                  </a:lnTo>
                  <a:lnTo>
                    <a:pt x="7747" y="1768"/>
                  </a:lnTo>
                  <a:lnTo>
                    <a:pt x="7786" y="1786"/>
                  </a:lnTo>
                  <a:lnTo>
                    <a:pt x="7824" y="1801"/>
                  </a:lnTo>
                  <a:lnTo>
                    <a:pt x="7865" y="1815"/>
                  </a:lnTo>
                  <a:lnTo>
                    <a:pt x="7907" y="1827"/>
                  </a:lnTo>
                  <a:lnTo>
                    <a:pt x="7949" y="1837"/>
                  </a:lnTo>
                  <a:lnTo>
                    <a:pt x="7991" y="1847"/>
                  </a:lnTo>
                  <a:lnTo>
                    <a:pt x="8035" y="1854"/>
                  </a:lnTo>
                  <a:lnTo>
                    <a:pt x="8080" y="1860"/>
                  </a:lnTo>
                  <a:lnTo>
                    <a:pt x="8124" y="1864"/>
                  </a:lnTo>
                  <a:lnTo>
                    <a:pt x="8170" y="1867"/>
                  </a:lnTo>
                  <a:lnTo>
                    <a:pt x="8217" y="1868"/>
                  </a:lnTo>
                  <a:lnTo>
                    <a:pt x="8267" y="1867"/>
                  </a:lnTo>
                  <a:lnTo>
                    <a:pt x="8317" y="1864"/>
                  </a:lnTo>
                  <a:lnTo>
                    <a:pt x="8364" y="1859"/>
                  </a:lnTo>
                  <a:lnTo>
                    <a:pt x="8413" y="1852"/>
                  </a:lnTo>
                  <a:lnTo>
                    <a:pt x="8460" y="1842"/>
                  </a:lnTo>
                  <a:lnTo>
                    <a:pt x="8506" y="1832"/>
                  </a:lnTo>
                  <a:lnTo>
                    <a:pt x="8552" y="1820"/>
                  </a:lnTo>
                  <a:lnTo>
                    <a:pt x="8595" y="1805"/>
                  </a:lnTo>
                  <a:lnTo>
                    <a:pt x="8639" y="1789"/>
                  </a:lnTo>
                  <a:lnTo>
                    <a:pt x="8681" y="1771"/>
                  </a:lnTo>
                  <a:lnTo>
                    <a:pt x="8721" y="1751"/>
                  </a:lnTo>
                  <a:lnTo>
                    <a:pt x="8761" y="1729"/>
                  </a:lnTo>
                  <a:lnTo>
                    <a:pt x="8799" y="1705"/>
                  </a:lnTo>
                  <a:lnTo>
                    <a:pt x="8835" y="1680"/>
                  </a:lnTo>
                  <a:lnTo>
                    <a:pt x="8871" y="1653"/>
                  </a:lnTo>
                  <a:lnTo>
                    <a:pt x="8905" y="1624"/>
                  </a:lnTo>
                  <a:lnTo>
                    <a:pt x="8937" y="1593"/>
                  </a:lnTo>
                  <a:lnTo>
                    <a:pt x="8968" y="1561"/>
                  </a:lnTo>
                  <a:lnTo>
                    <a:pt x="8996" y="1526"/>
                  </a:lnTo>
                  <a:lnTo>
                    <a:pt x="9023" y="1491"/>
                  </a:lnTo>
                  <a:lnTo>
                    <a:pt x="9049" y="1453"/>
                  </a:lnTo>
                  <a:lnTo>
                    <a:pt x="9072" y="1414"/>
                  </a:lnTo>
                  <a:lnTo>
                    <a:pt x="9094" y="1374"/>
                  </a:lnTo>
                  <a:lnTo>
                    <a:pt x="9113" y="1331"/>
                  </a:lnTo>
                  <a:lnTo>
                    <a:pt x="9130" y="1287"/>
                  </a:lnTo>
                  <a:lnTo>
                    <a:pt x="9146" y="1242"/>
                  </a:lnTo>
                  <a:lnTo>
                    <a:pt x="9159" y="1194"/>
                  </a:lnTo>
                  <a:lnTo>
                    <a:pt x="9169" y="1145"/>
                  </a:lnTo>
                  <a:lnTo>
                    <a:pt x="9178" y="1094"/>
                  </a:lnTo>
                  <a:lnTo>
                    <a:pt x="9184" y="1042"/>
                  </a:lnTo>
                  <a:lnTo>
                    <a:pt x="9188" y="988"/>
                  </a:lnTo>
                  <a:lnTo>
                    <a:pt x="9189" y="933"/>
                  </a:lnTo>
                  <a:lnTo>
                    <a:pt x="9188" y="879"/>
                  </a:lnTo>
                  <a:lnTo>
                    <a:pt x="9184" y="825"/>
                  </a:lnTo>
                  <a:lnTo>
                    <a:pt x="9178" y="773"/>
                  </a:lnTo>
                  <a:lnTo>
                    <a:pt x="9169" y="723"/>
                  </a:lnTo>
                  <a:lnTo>
                    <a:pt x="9159" y="674"/>
                  </a:lnTo>
                  <a:lnTo>
                    <a:pt x="9146" y="626"/>
                  </a:lnTo>
                  <a:lnTo>
                    <a:pt x="9130" y="581"/>
                  </a:lnTo>
                  <a:lnTo>
                    <a:pt x="9113" y="537"/>
                  </a:lnTo>
                  <a:lnTo>
                    <a:pt x="9094" y="494"/>
                  </a:lnTo>
                  <a:lnTo>
                    <a:pt x="9072" y="453"/>
                  </a:lnTo>
                  <a:lnTo>
                    <a:pt x="9049" y="414"/>
                  </a:lnTo>
                  <a:lnTo>
                    <a:pt x="9023" y="376"/>
                  </a:lnTo>
                  <a:lnTo>
                    <a:pt x="8996" y="341"/>
                  </a:lnTo>
                  <a:lnTo>
                    <a:pt x="8968" y="307"/>
                  </a:lnTo>
                  <a:lnTo>
                    <a:pt x="8937" y="275"/>
                  </a:lnTo>
                  <a:lnTo>
                    <a:pt x="8905" y="244"/>
                  </a:lnTo>
                  <a:lnTo>
                    <a:pt x="8871" y="215"/>
                  </a:lnTo>
                  <a:lnTo>
                    <a:pt x="8835" y="187"/>
                  </a:lnTo>
                  <a:lnTo>
                    <a:pt x="8799" y="162"/>
                  </a:lnTo>
                  <a:lnTo>
                    <a:pt x="8761" y="138"/>
                  </a:lnTo>
                  <a:lnTo>
                    <a:pt x="8721" y="117"/>
                  </a:lnTo>
                  <a:lnTo>
                    <a:pt x="8681" y="97"/>
                  </a:lnTo>
                  <a:lnTo>
                    <a:pt x="8639" y="78"/>
                  </a:lnTo>
                  <a:lnTo>
                    <a:pt x="8595" y="62"/>
                  </a:lnTo>
                  <a:lnTo>
                    <a:pt x="8552" y="48"/>
                  </a:lnTo>
                  <a:lnTo>
                    <a:pt x="8506" y="36"/>
                  </a:lnTo>
                  <a:lnTo>
                    <a:pt x="8460" y="24"/>
                  </a:lnTo>
                  <a:lnTo>
                    <a:pt x="8413" y="16"/>
                  </a:lnTo>
                  <a:lnTo>
                    <a:pt x="8364" y="9"/>
                  </a:lnTo>
                  <a:lnTo>
                    <a:pt x="8317" y="4"/>
                  </a:lnTo>
                  <a:lnTo>
                    <a:pt x="8267" y="1"/>
                  </a:lnTo>
                  <a:lnTo>
                    <a:pt x="8217" y="0"/>
                  </a:lnTo>
                  <a:lnTo>
                    <a:pt x="8173" y="1"/>
                  </a:lnTo>
                  <a:lnTo>
                    <a:pt x="8131" y="3"/>
                  </a:lnTo>
                  <a:lnTo>
                    <a:pt x="8088" y="7"/>
                  </a:lnTo>
                  <a:lnTo>
                    <a:pt x="8046" y="12"/>
                  </a:lnTo>
                  <a:lnTo>
                    <a:pt x="8004" y="18"/>
                  </a:lnTo>
                  <a:lnTo>
                    <a:pt x="7964" y="26"/>
                  </a:lnTo>
                  <a:lnTo>
                    <a:pt x="7924" y="36"/>
                  </a:lnTo>
                  <a:lnTo>
                    <a:pt x="7884" y="47"/>
                  </a:lnTo>
                  <a:lnTo>
                    <a:pt x="7846" y="59"/>
                  </a:lnTo>
                  <a:lnTo>
                    <a:pt x="7808" y="73"/>
                  </a:lnTo>
                  <a:lnTo>
                    <a:pt x="7772" y="88"/>
                  </a:lnTo>
                  <a:lnTo>
                    <a:pt x="7736" y="105"/>
                  </a:lnTo>
                  <a:lnTo>
                    <a:pt x="7700" y="122"/>
                  </a:lnTo>
                  <a:lnTo>
                    <a:pt x="7667" y="141"/>
                  </a:lnTo>
                  <a:lnTo>
                    <a:pt x="7633" y="162"/>
                  </a:lnTo>
                  <a:lnTo>
                    <a:pt x="7602" y="184"/>
                  </a:lnTo>
                  <a:lnTo>
                    <a:pt x="7571" y="207"/>
                  </a:lnTo>
                  <a:lnTo>
                    <a:pt x="7542" y="232"/>
                  </a:lnTo>
                  <a:lnTo>
                    <a:pt x="7512" y="257"/>
                  </a:lnTo>
                  <a:lnTo>
                    <a:pt x="7486" y="285"/>
                  </a:lnTo>
                  <a:lnTo>
                    <a:pt x="7459" y="313"/>
                  </a:lnTo>
                  <a:lnTo>
                    <a:pt x="7435" y="343"/>
                  </a:lnTo>
                  <a:lnTo>
                    <a:pt x="7412" y="374"/>
                  </a:lnTo>
                  <a:lnTo>
                    <a:pt x="7389" y="406"/>
                  </a:lnTo>
                  <a:lnTo>
                    <a:pt x="7369" y="439"/>
                  </a:lnTo>
                  <a:lnTo>
                    <a:pt x="7350" y="475"/>
                  </a:lnTo>
                  <a:lnTo>
                    <a:pt x="7331" y="510"/>
                  </a:lnTo>
                  <a:lnTo>
                    <a:pt x="7315" y="548"/>
                  </a:lnTo>
                  <a:lnTo>
                    <a:pt x="7301" y="586"/>
                  </a:lnTo>
                  <a:lnTo>
                    <a:pt x="7287" y="625"/>
                  </a:lnTo>
                  <a:lnTo>
                    <a:pt x="7276" y="666"/>
                  </a:lnTo>
                  <a:lnTo>
                    <a:pt x="7267" y="709"/>
                  </a:lnTo>
                  <a:lnTo>
                    <a:pt x="6980" y="709"/>
                  </a:lnTo>
                  <a:lnTo>
                    <a:pt x="6980" y="42"/>
                  </a:lnTo>
                  <a:lnTo>
                    <a:pt x="6585" y="42"/>
                  </a:lnTo>
                  <a:close/>
                  <a:moveTo>
                    <a:pt x="7643" y="933"/>
                  </a:moveTo>
                  <a:lnTo>
                    <a:pt x="7644" y="900"/>
                  </a:lnTo>
                  <a:lnTo>
                    <a:pt x="7645" y="866"/>
                  </a:lnTo>
                  <a:lnTo>
                    <a:pt x="7649" y="835"/>
                  </a:lnTo>
                  <a:lnTo>
                    <a:pt x="7653" y="803"/>
                  </a:lnTo>
                  <a:lnTo>
                    <a:pt x="7658" y="773"/>
                  </a:lnTo>
                  <a:lnTo>
                    <a:pt x="7664" y="743"/>
                  </a:lnTo>
                  <a:lnTo>
                    <a:pt x="7672" y="715"/>
                  </a:lnTo>
                  <a:lnTo>
                    <a:pt x="7680" y="686"/>
                  </a:lnTo>
                  <a:lnTo>
                    <a:pt x="7690" y="660"/>
                  </a:lnTo>
                  <a:lnTo>
                    <a:pt x="7700" y="634"/>
                  </a:lnTo>
                  <a:lnTo>
                    <a:pt x="7713" y="610"/>
                  </a:lnTo>
                  <a:lnTo>
                    <a:pt x="7726" y="586"/>
                  </a:lnTo>
                  <a:lnTo>
                    <a:pt x="7740" y="563"/>
                  </a:lnTo>
                  <a:lnTo>
                    <a:pt x="7755" y="542"/>
                  </a:lnTo>
                  <a:lnTo>
                    <a:pt x="7772" y="521"/>
                  </a:lnTo>
                  <a:lnTo>
                    <a:pt x="7789" y="501"/>
                  </a:lnTo>
                  <a:lnTo>
                    <a:pt x="7807" y="483"/>
                  </a:lnTo>
                  <a:lnTo>
                    <a:pt x="7828" y="466"/>
                  </a:lnTo>
                  <a:lnTo>
                    <a:pt x="7848" y="449"/>
                  </a:lnTo>
                  <a:lnTo>
                    <a:pt x="7870" y="434"/>
                  </a:lnTo>
                  <a:lnTo>
                    <a:pt x="7893" y="420"/>
                  </a:lnTo>
                  <a:lnTo>
                    <a:pt x="7917" y="408"/>
                  </a:lnTo>
                  <a:lnTo>
                    <a:pt x="7942" y="396"/>
                  </a:lnTo>
                  <a:lnTo>
                    <a:pt x="7968" y="385"/>
                  </a:lnTo>
                  <a:lnTo>
                    <a:pt x="7995" y="375"/>
                  </a:lnTo>
                  <a:lnTo>
                    <a:pt x="8024" y="367"/>
                  </a:lnTo>
                  <a:lnTo>
                    <a:pt x="8053" y="361"/>
                  </a:lnTo>
                  <a:lnTo>
                    <a:pt x="8084" y="355"/>
                  </a:lnTo>
                  <a:lnTo>
                    <a:pt x="8115" y="351"/>
                  </a:lnTo>
                  <a:lnTo>
                    <a:pt x="8148" y="347"/>
                  </a:lnTo>
                  <a:lnTo>
                    <a:pt x="8182" y="345"/>
                  </a:lnTo>
                  <a:lnTo>
                    <a:pt x="8217" y="345"/>
                  </a:lnTo>
                  <a:lnTo>
                    <a:pt x="8252" y="345"/>
                  </a:lnTo>
                  <a:lnTo>
                    <a:pt x="8285" y="347"/>
                  </a:lnTo>
                  <a:lnTo>
                    <a:pt x="8318" y="351"/>
                  </a:lnTo>
                  <a:lnTo>
                    <a:pt x="8349" y="355"/>
                  </a:lnTo>
                  <a:lnTo>
                    <a:pt x="8380" y="361"/>
                  </a:lnTo>
                  <a:lnTo>
                    <a:pt x="8409" y="367"/>
                  </a:lnTo>
                  <a:lnTo>
                    <a:pt x="8438" y="375"/>
                  </a:lnTo>
                  <a:lnTo>
                    <a:pt x="8465" y="385"/>
                  </a:lnTo>
                  <a:lnTo>
                    <a:pt x="8492" y="396"/>
                  </a:lnTo>
                  <a:lnTo>
                    <a:pt x="8517" y="408"/>
                  </a:lnTo>
                  <a:lnTo>
                    <a:pt x="8540" y="420"/>
                  </a:lnTo>
                  <a:lnTo>
                    <a:pt x="8564" y="434"/>
                  </a:lnTo>
                  <a:lnTo>
                    <a:pt x="8585" y="449"/>
                  </a:lnTo>
                  <a:lnTo>
                    <a:pt x="8607" y="466"/>
                  </a:lnTo>
                  <a:lnTo>
                    <a:pt x="8626" y="483"/>
                  </a:lnTo>
                  <a:lnTo>
                    <a:pt x="8644" y="501"/>
                  </a:lnTo>
                  <a:lnTo>
                    <a:pt x="8662" y="521"/>
                  </a:lnTo>
                  <a:lnTo>
                    <a:pt x="8679" y="542"/>
                  </a:lnTo>
                  <a:lnTo>
                    <a:pt x="8694" y="563"/>
                  </a:lnTo>
                  <a:lnTo>
                    <a:pt x="8708" y="586"/>
                  </a:lnTo>
                  <a:lnTo>
                    <a:pt x="8720" y="610"/>
                  </a:lnTo>
                  <a:lnTo>
                    <a:pt x="8733" y="634"/>
                  </a:lnTo>
                  <a:lnTo>
                    <a:pt x="8744" y="660"/>
                  </a:lnTo>
                  <a:lnTo>
                    <a:pt x="8753" y="686"/>
                  </a:lnTo>
                  <a:lnTo>
                    <a:pt x="8762" y="715"/>
                  </a:lnTo>
                  <a:lnTo>
                    <a:pt x="8769" y="743"/>
                  </a:lnTo>
                  <a:lnTo>
                    <a:pt x="8775" y="773"/>
                  </a:lnTo>
                  <a:lnTo>
                    <a:pt x="8780" y="803"/>
                  </a:lnTo>
                  <a:lnTo>
                    <a:pt x="8785" y="835"/>
                  </a:lnTo>
                  <a:lnTo>
                    <a:pt x="8788" y="866"/>
                  </a:lnTo>
                  <a:lnTo>
                    <a:pt x="8790" y="900"/>
                  </a:lnTo>
                  <a:lnTo>
                    <a:pt x="8790" y="933"/>
                  </a:lnTo>
                  <a:lnTo>
                    <a:pt x="8790" y="968"/>
                  </a:lnTo>
                  <a:lnTo>
                    <a:pt x="8788" y="1001"/>
                  </a:lnTo>
                  <a:lnTo>
                    <a:pt x="8785" y="1033"/>
                  </a:lnTo>
                  <a:lnTo>
                    <a:pt x="8780" y="1065"/>
                  </a:lnTo>
                  <a:lnTo>
                    <a:pt x="8775" y="1095"/>
                  </a:lnTo>
                  <a:lnTo>
                    <a:pt x="8769" y="1125"/>
                  </a:lnTo>
                  <a:lnTo>
                    <a:pt x="8762" y="1153"/>
                  </a:lnTo>
                  <a:lnTo>
                    <a:pt x="8753" y="1181"/>
                  </a:lnTo>
                  <a:lnTo>
                    <a:pt x="8744" y="1207"/>
                  </a:lnTo>
                  <a:lnTo>
                    <a:pt x="8733" y="1233"/>
                  </a:lnTo>
                  <a:lnTo>
                    <a:pt x="8720" y="1258"/>
                  </a:lnTo>
                  <a:lnTo>
                    <a:pt x="8708" y="1281"/>
                  </a:lnTo>
                  <a:lnTo>
                    <a:pt x="8694" y="1305"/>
                  </a:lnTo>
                  <a:lnTo>
                    <a:pt x="8679" y="1326"/>
                  </a:lnTo>
                  <a:lnTo>
                    <a:pt x="8662" y="1346"/>
                  </a:lnTo>
                  <a:lnTo>
                    <a:pt x="8644" y="1366"/>
                  </a:lnTo>
                  <a:lnTo>
                    <a:pt x="8626" y="1385"/>
                  </a:lnTo>
                  <a:lnTo>
                    <a:pt x="8607" y="1402"/>
                  </a:lnTo>
                  <a:lnTo>
                    <a:pt x="8585" y="1418"/>
                  </a:lnTo>
                  <a:lnTo>
                    <a:pt x="8564" y="1434"/>
                  </a:lnTo>
                  <a:lnTo>
                    <a:pt x="8540" y="1447"/>
                  </a:lnTo>
                  <a:lnTo>
                    <a:pt x="8517" y="1460"/>
                  </a:lnTo>
                  <a:lnTo>
                    <a:pt x="8492" y="1472"/>
                  </a:lnTo>
                  <a:lnTo>
                    <a:pt x="8465" y="1483"/>
                  </a:lnTo>
                  <a:lnTo>
                    <a:pt x="8438" y="1492"/>
                  </a:lnTo>
                  <a:lnTo>
                    <a:pt x="8409" y="1500"/>
                  </a:lnTo>
                  <a:lnTo>
                    <a:pt x="8380" y="1507"/>
                  </a:lnTo>
                  <a:lnTo>
                    <a:pt x="8349" y="1513"/>
                  </a:lnTo>
                  <a:lnTo>
                    <a:pt x="8318" y="1517"/>
                  </a:lnTo>
                  <a:lnTo>
                    <a:pt x="8285" y="1520"/>
                  </a:lnTo>
                  <a:lnTo>
                    <a:pt x="8252" y="1522"/>
                  </a:lnTo>
                  <a:lnTo>
                    <a:pt x="8217" y="1523"/>
                  </a:lnTo>
                  <a:lnTo>
                    <a:pt x="8182" y="1522"/>
                  </a:lnTo>
                  <a:lnTo>
                    <a:pt x="8148" y="1520"/>
                  </a:lnTo>
                  <a:lnTo>
                    <a:pt x="8115" y="1517"/>
                  </a:lnTo>
                  <a:lnTo>
                    <a:pt x="8084" y="1513"/>
                  </a:lnTo>
                  <a:lnTo>
                    <a:pt x="8053" y="1507"/>
                  </a:lnTo>
                  <a:lnTo>
                    <a:pt x="8024" y="1500"/>
                  </a:lnTo>
                  <a:lnTo>
                    <a:pt x="7995" y="1492"/>
                  </a:lnTo>
                  <a:lnTo>
                    <a:pt x="7968" y="1483"/>
                  </a:lnTo>
                  <a:lnTo>
                    <a:pt x="7942" y="1472"/>
                  </a:lnTo>
                  <a:lnTo>
                    <a:pt x="7917" y="1460"/>
                  </a:lnTo>
                  <a:lnTo>
                    <a:pt x="7893" y="1447"/>
                  </a:lnTo>
                  <a:lnTo>
                    <a:pt x="7870" y="1434"/>
                  </a:lnTo>
                  <a:lnTo>
                    <a:pt x="7848" y="1418"/>
                  </a:lnTo>
                  <a:lnTo>
                    <a:pt x="7828" y="1402"/>
                  </a:lnTo>
                  <a:lnTo>
                    <a:pt x="7807" y="1385"/>
                  </a:lnTo>
                  <a:lnTo>
                    <a:pt x="7789" y="1366"/>
                  </a:lnTo>
                  <a:lnTo>
                    <a:pt x="7772" y="1346"/>
                  </a:lnTo>
                  <a:lnTo>
                    <a:pt x="7755" y="1326"/>
                  </a:lnTo>
                  <a:lnTo>
                    <a:pt x="7740" y="1305"/>
                  </a:lnTo>
                  <a:lnTo>
                    <a:pt x="7726" y="1281"/>
                  </a:lnTo>
                  <a:lnTo>
                    <a:pt x="7713" y="1258"/>
                  </a:lnTo>
                  <a:lnTo>
                    <a:pt x="7700" y="1233"/>
                  </a:lnTo>
                  <a:lnTo>
                    <a:pt x="7690" y="1207"/>
                  </a:lnTo>
                  <a:lnTo>
                    <a:pt x="7680" y="1181"/>
                  </a:lnTo>
                  <a:lnTo>
                    <a:pt x="7672" y="1153"/>
                  </a:lnTo>
                  <a:lnTo>
                    <a:pt x="7664" y="1125"/>
                  </a:lnTo>
                  <a:lnTo>
                    <a:pt x="7658" y="1095"/>
                  </a:lnTo>
                  <a:lnTo>
                    <a:pt x="7653" y="1065"/>
                  </a:lnTo>
                  <a:lnTo>
                    <a:pt x="7649" y="1033"/>
                  </a:lnTo>
                  <a:lnTo>
                    <a:pt x="7645" y="1001"/>
                  </a:lnTo>
                  <a:lnTo>
                    <a:pt x="7644" y="968"/>
                  </a:lnTo>
                  <a:lnTo>
                    <a:pt x="7643" y="933"/>
                  </a:lnTo>
                  <a:close/>
                  <a:moveTo>
                    <a:pt x="11327" y="477"/>
                  </a:moveTo>
                  <a:lnTo>
                    <a:pt x="11310" y="447"/>
                  </a:lnTo>
                  <a:lnTo>
                    <a:pt x="11291" y="420"/>
                  </a:lnTo>
                  <a:lnTo>
                    <a:pt x="11272" y="392"/>
                  </a:lnTo>
                  <a:lnTo>
                    <a:pt x="11253" y="366"/>
                  </a:lnTo>
                  <a:lnTo>
                    <a:pt x="11232" y="341"/>
                  </a:lnTo>
                  <a:lnTo>
                    <a:pt x="11211" y="316"/>
                  </a:lnTo>
                  <a:lnTo>
                    <a:pt x="11190" y="293"/>
                  </a:lnTo>
                  <a:lnTo>
                    <a:pt x="11167" y="270"/>
                  </a:lnTo>
                  <a:lnTo>
                    <a:pt x="11144" y="248"/>
                  </a:lnTo>
                  <a:lnTo>
                    <a:pt x="11121" y="228"/>
                  </a:lnTo>
                  <a:lnTo>
                    <a:pt x="11096" y="207"/>
                  </a:lnTo>
                  <a:lnTo>
                    <a:pt x="11071" y="188"/>
                  </a:lnTo>
                  <a:lnTo>
                    <a:pt x="11045" y="171"/>
                  </a:lnTo>
                  <a:lnTo>
                    <a:pt x="11018" y="154"/>
                  </a:lnTo>
                  <a:lnTo>
                    <a:pt x="10991" y="136"/>
                  </a:lnTo>
                  <a:lnTo>
                    <a:pt x="10963" y="121"/>
                  </a:lnTo>
                  <a:lnTo>
                    <a:pt x="10934" y="107"/>
                  </a:lnTo>
                  <a:lnTo>
                    <a:pt x="10905" y="93"/>
                  </a:lnTo>
                  <a:lnTo>
                    <a:pt x="10875" y="80"/>
                  </a:lnTo>
                  <a:lnTo>
                    <a:pt x="10845" y="68"/>
                  </a:lnTo>
                  <a:lnTo>
                    <a:pt x="10813" y="58"/>
                  </a:lnTo>
                  <a:lnTo>
                    <a:pt x="10782" y="48"/>
                  </a:lnTo>
                  <a:lnTo>
                    <a:pt x="10749" y="39"/>
                  </a:lnTo>
                  <a:lnTo>
                    <a:pt x="10716" y="30"/>
                  </a:lnTo>
                  <a:lnTo>
                    <a:pt x="10682" y="23"/>
                  </a:lnTo>
                  <a:lnTo>
                    <a:pt x="10648" y="17"/>
                  </a:lnTo>
                  <a:lnTo>
                    <a:pt x="10612" y="12"/>
                  </a:lnTo>
                  <a:lnTo>
                    <a:pt x="10576" y="8"/>
                  </a:lnTo>
                  <a:lnTo>
                    <a:pt x="10540" y="4"/>
                  </a:lnTo>
                  <a:lnTo>
                    <a:pt x="10502" y="2"/>
                  </a:lnTo>
                  <a:lnTo>
                    <a:pt x="10465" y="1"/>
                  </a:lnTo>
                  <a:lnTo>
                    <a:pt x="10426" y="0"/>
                  </a:lnTo>
                  <a:lnTo>
                    <a:pt x="10373" y="1"/>
                  </a:lnTo>
                  <a:lnTo>
                    <a:pt x="10322" y="4"/>
                  </a:lnTo>
                  <a:lnTo>
                    <a:pt x="10271" y="9"/>
                  </a:lnTo>
                  <a:lnTo>
                    <a:pt x="10222" y="16"/>
                  </a:lnTo>
                  <a:lnTo>
                    <a:pt x="10174" y="25"/>
                  </a:lnTo>
                  <a:lnTo>
                    <a:pt x="10126" y="37"/>
                  </a:lnTo>
                  <a:lnTo>
                    <a:pt x="10079" y="50"/>
                  </a:lnTo>
                  <a:lnTo>
                    <a:pt x="10033" y="65"/>
                  </a:lnTo>
                  <a:lnTo>
                    <a:pt x="9990" y="81"/>
                  </a:lnTo>
                  <a:lnTo>
                    <a:pt x="9947" y="101"/>
                  </a:lnTo>
                  <a:lnTo>
                    <a:pt x="9905" y="121"/>
                  </a:lnTo>
                  <a:lnTo>
                    <a:pt x="9865" y="143"/>
                  </a:lnTo>
                  <a:lnTo>
                    <a:pt x="9826" y="168"/>
                  </a:lnTo>
                  <a:lnTo>
                    <a:pt x="9788" y="194"/>
                  </a:lnTo>
                  <a:lnTo>
                    <a:pt x="9753" y="222"/>
                  </a:lnTo>
                  <a:lnTo>
                    <a:pt x="9718" y="251"/>
                  </a:lnTo>
                  <a:lnTo>
                    <a:pt x="9686" y="282"/>
                  </a:lnTo>
                  <a:lnTo>
                    <a:pt x="9654" y="314"/>
                  </a:lnTo>
                  <a:lnTo>
                    <a:pt x="9626" y="349"/>
                  </a:lnTo>
                  <a:lnTo>
                    <a:pt x="9598" y="385"/>
                  </a:lnTo>
                  <a:lnTo>
                    <a:pt x="9572" y="423"/>
                  </a:lnTo>
                  <a:lnTo>
                    <a:pt x="9548" y="462"/>
                  </a:lnTo>
                  <a:lnTo>
                    <a:pt x="9527" y="502"/>
                  </a:lnTo>
                  <a:lnTo>
                    <a:pt x="9508" y="545"/>
                  </a:lnTo>
                  <a:lnTo>
                    <a:pt x="9489" y="589"/>
                  </a:lnTo>
                  <a:lnTo>
                    <a:pt x="9474" y="633"/>
                  </a:lnTo>
                  <a:lnTo>
                    <a:pt x="9461" y="680"/>
                  </a:lnTo>
                  <a:lnTo>
                    <a:pt x="9451" y="728"/>
                  </a:lnTo>
                  <a:lnTo>
                    <a:pt x="9441" y="778"/>
                  </a:lnTo>
                  <a:lnTo>
                    <a:pt x="9435" y="829"/>
                  </a:lnTo>
                  <a:lnTo>
                    <a:pt x="9432" y="881"/>
                  </a:lnTo>
                  <a:lnTo>
                    <a:pt x="9430" y="933"/>
                  </a:lnTo>
                  <a:lnTo>
                    <a:pt x="9431" y="987"/>
                  </a:lnTo>
                  <a:lnTo>
                    <a:pt x="9435" y="1039"/>
                  </a:lnTo>
                  <a:lnTo>
                    <a:pt x="9441" y="1090"/>
                  </a:lnTo>
                  <a:lnTo>
                    <a:pt x="9450" y="1139"/>
                  </a:lnTo>
                  <a:lnTo>
                    <a:pt x="9461" y="1188"/>
                  </a:lnTo>
                  <a:lnTo>
                    <a:pt x="9474" y="1234"/>
                  </a:lnTo>
                  <a:lnTo>
                    <a:pt x="9488" y="1279"/>
                  </a:lnTo>
                  <a:lnTo>
                    <a:pt x="9506" y="1323"/>
                  </a:lnTo>
                  <a:lnTo>
                    <a:pt x="9525" y="1365"/>
                  </a:lnTo>
                  <a:lnTo>
                    <a:pt x="9546" y="1405"/>
                  </a:lnTo>
                  <a:lnTo>
                    <a:pt x="9570" y="1445"/>
                  </a:lnTo>
                  <a:lnTo>
                    <a:pt x="9595" y="1483"/>
                  </a:lnTo>
                  <a:lnTo>
                    <a:pt x="9623" y="1518"/>
                  </a:lnTo>
                  <a:lnTo>
                    <a:pt x="9651" y="1553"/>
                  </a:lnTo>
                  <a:lnTo>
                    <a:pt x="9681" y="1585"/>
                  </a:lnTo>
                  <a:lnTo>
                    <a:pt x="9714" y="1617"/>
                  </a:lnTo>
                  <a:lnTo>
                    <a:pt x="9749" y="1646"/>
                  </a:lnTo>
                  <a:lnTo>
                    <a:pt x="9784" y="1674"/>
                  </a:lnTo>
                  <a:lnTo>
                    <a:pt x="9822" y="1700"/>
                  </a:lnTo>
                  <a:lnTo>
                    <a:pt x="9860" y="1724"/>
                  </a:lnTo>
                  <a:lnTo>
                    <a:pt x="9900" y="1746"/>
                  </a:lnTo>
                  <a:lnTo>
                    <a:pt x="9942" y="1767"/>
                  </a:lnTo>
                  <a:lnTo>
                    <a:pt x="9986" y="1786"/>
                  </a:lnTo>
                  <a:lnTo>
                    <a:pt x="10029" y="1803"/>
                  </a:lnTo>
                  <a:lnTo>
                    <a:pt x="10075" y="1818"/>
                  </a:lnTo>
                  <a:lnTo>
                    <a:pt x="10122" y="1830"/>
                  </a:lnTo>
                  <a:lnTo>
                    <a:pt x="10170" y="1841"/>
                  </a:lnTo>
                  <a:lnTo>
                    <a:pt x="10219" y="1851"/>
                  </a:lnTo>
                  <a:lnTo>
                    <a:pt x="10269" y="1858"/>
                  </a:lnTo>
                  <a:lnTo>
                    <a:pt x="10320" y="1863"/>
                  </a:lnTo>
                  <a:lnTo>
                    <a:pt x="10372" y="1867"/>
                  </a:lnTo>
                  <a:lnTo>
                    <a:pt x="10426" y="1868"/>
                  </a:lnTo>
                  <a:lnTo>
                    <a:pt x="10465" y="1867"/>
                  </a:lnTo>
                  <a:lnTo>
                    <a:pt x="10502" y="1866"/>
                  </a:lnTo>
                  <a:lnTo>
                    <a:pt x="10540" y="1863"/>
                  </a:lnTo>
                  <a:lnTo>
                    <a:pt x="10576" y="1860"/>
                  </a:lnTo>
                  <a:lnTo>
                    <a:pt x="10612" y="1856"/>
                  </a:lnTo>
                  <a:lnTo>
                    <a:pt x="10648" y="1851"/>
                  </a:lnTo>
                  <a:lnTo>
                    <a:pt x="10682" y="1845"/>
                  </a:lnTo>
                  <a:lnTo>
                    <a:pt x="10716" y="1837"/>
                  </a:lnTo>
                  <a:lnTo>
                    <a:pt x="10749" y="1829"/>
                  </a:lnTo>
                  <a:lnTo>
                    <a:pt x="10782" y="1820"/>
                  </a:lnTo>
                  <a:lnTo>
                    <a:pt x="10813" y="1810"/>
                  </a:lnTo>
                  <a:lnTo>
                    <a:pt x="10845" y="1799"/>
                  </a:lnTo>
                  <a:lnTo>
                    <a:pt x="10875" y="1788"/>
                  </a:lnTo>
                  <a:lnTo>
                    <a:pt x="10905" y="1774"/>
                  </a:lnTo>
                  <a:lnTo>
                    <a:pt x="10934" y="1761"/>
                  </a:lnTo>
                  <a:lnTo>
                    <a:pt x="10963" y="1746"/>
                  </a:lnTo>
                  <a:lnTo>
                    <a:pt x="10991" y="1731"/>
                  </a:lnTo>
                  <a:lnTo>
                    <a:pt x="11018" y="1714"/>
                  </a:lnTo>
                  <a:lnTo>
                    <a:pt x="11045" y="1697"/>
                  </a:lnTo>
                  <a:lnTo>
                    <a:pt x="11071" y="1679"/>
                  </a:lnTo>
                  <a:lnTo>
                    <a:pt x="11096" y="1659"/>
                  </a:lnTo>
                  <a:lnTo>
                    <a:pt x="11121" y="1640"/>
                  </a:lnTo>
                  <a:lnTo>
                    <a:pt x="11144" y="1619"/>
                  </a:lnTo>
                  <a:lnTo>
                    <a:pt x="11167" y="1597"/>
                  </a:lnTo>
                  <a:lnTo>
                    <a:pt x="11190" y="1574"/>
                  </a:lnTo>
                  <a:lnTo>
                    <a:pt x="11211" y="1551"/>
                  </a:lnTo>
                  <a:lnTo>
                    <a:pt x="11232" y="1526"/>
                  </a:lnTo>
                  <a:lnTo>
                    <a:pt x="11253" y="1501"/>
                  </a:lnTo>
                  <a:lnTo>
                    <a:pt x="11272" y="1474"/>
                  </a:lnTo>
                  <a:lnTo>
                    <a:pt x="11291" y="1448"/>
                  </a:lnTo>
                  <a:lnTo>
                    <a:pt x="11310" y="1419"/>
                  </a:lnTo>
                  <a:lnTo>
                    <a:pt x="11327" y="1391"/>
                  </a:lnTo>
                  <a:lnTo>
                    <a:pt x="11015" y="1211"/>
                  </a:lnTo>
                  <a:lnTo>
                    <a:pt x="11002" y="1228"/>
                  </a:lnTo>
                  <a:lnTo>
                    <a:pt x="10988" y="1246"/>
                  </a:lnTo>
                  <a:lnTo>
                    <a:pt x="10975" y="1263"/>
                  </a:lnTo>
                  <a:lnTo>
                    <a:pt x="10962" y="1279"/>
                  </a:lnTo>
                  <a:lnTo>
                    <a:pt x="10948" y="1294"/>
                  </a:lnTo>
                  <a:lnTo>
                    <a:pt x="10933" y="1310"/>
                  </a:lnTo>
                  <a:lnTo>
                    <a:pt x="10919" y="1325"/>
                  </a:lnTo>
                  <a:lnTo>
                    <a:pt x="10904" y="1339"/>
                  </a:lnTo>
                  <a:lnTo>
                    <a:pt x="10890" y="1352"/>
                  </a:lnTo>
                  <a:lnTo>
                    <a:pt x="10873" y="1366"/>
                  </a:lnTo>
                  <a:lnTo>
                    <a:pt x="10858" y="1378"/>
                  </a:lnTo>
                  <a:lnTo>
                    <a:pt x="10842" y="1390"/>
                  </a:lnTo>
                  <a:lnTo>
                    <a:pt x="10825" y="1402"/>
                  </a:lnTo>
                  <a:lnTo>
                    <a:pt x="10807" y="1412"/>
                  </a:lnTo>
                  <a:lnTo>
                    <a:pt x="10790" y="1423"/>
                  </a:lnTo>
                  <a:lnTo>
                    <a:pt x="10773" y="1433"/>
                  </a:lnTo>
                  <a:lnTo>
                    <a:pt x="10754" y="1442"/>
                  </a:lnTo>
                  <a:lnTo>
                    <a:pt x="10735" y="1451"/>
                  </a:lnTo>
                  <a:lnTo>
                    <a:pt x="10716" y="1459"/>
                  </a:lnTo>
                  <a:lnTo>
                    <a:pt x="10696" y="1466"/>
                  </a:lnTo>
                  <a:lnTo>
                    <a:pt x="10676" y="1473"/>
                  </a:lnTo>
                  <a:lnTo>
                    <a:pt x="10656" y="1479"/>
                  </a:lnTo>
                  <a:lnTo>
                    <a:pt x="10634" y="1486"/>
                  </a:lnTo>
                  <a:lnTo>
                    <a:pt x="10613" y="1491"/>
                  </a:lnTo>
                  <a:lnTo>
                    <a:pt x="10591" y="1495"/>
                  </a:lnTo>
                  <a:lnTo>
                    <a:pt x="10567" y="1499"/>
                  </a:lnTo>
                  <a:lnTo>
                    <a:pt x="10544" y="1502"/>
                  </a:lnTo>
                  <a:lnTo>
                    <a:pt x="10521" y="1505"/>
                  </a:lnTo>
                  <a:lnTo>
                    <a:pt x="10496" y="1507"/>
                  </a:lnTo>
                  <a:lnTo>
                    <a:pt x="10471" y="1509"/>
                  </a:lnTo>
                  <a:lnTo>
                    <a:pt x="10445" y="1510"/>
                  </a:lnTo>
                  <a:lnTo>
                    <a:pt x="10419" y="1510"/>
                  </a:lnTo>
                  <a:lnTo>
                    <a:pt x="10386" y="1509"/>
                  </a:lnTo>
                  <a:lnTo>
                    <a:pt x="10355" y="1507"/>
                  </a:lnTo>
                  <a:lnTo>
                    <a:pt x="10324" y="1504"/>
                  </a:lnTo>
                  <a:lnTo>
                    <a:pt x="10294" y="1500"/>
                  </a:lnTo>
                  <a:lnTo>
                    <a:pt x="10264" y="1494"/>
                  </a:lnTo>
                  <a:lnTo>
                    <a:pt x="10236" y="1487"/>
                  </a:lnTo>
                  <a:lnTo>
                    <a:pt x="10207" y="1478"/>
                  </a:lnTo>
                  <a:lnTo>
                    <a:pt x="10180" y="1468"/>
                  </a:lnTo>
                  <a:lnTo>
                    <a:pt x="10153" y="1458"/>
                  </a:lnTo>
                  <a:lnTo>
                    <a:pt x="10128" y="1446"/>
                  </a:lnTo>
                  <a:lnTo>
                    <a:pt x="10104" y="1433"/>
                  </a:lnTo>
                  <a:lnTo>
                    <a:pt x="10080" y="1418"/>
                  </a:lnTo>
                  <a:lnTo>
                    <a:pt x="10057" y="1403"/>
                  </a:lnTo>
                  <a:lnTo>
                    <a:pt x="10035" y="1387"/>
                  </a:lnTo>
                  <a:lnTo>
                    <a:pt x="10014" y="1370"/>
                  </a:lnTo>
                  <a:lnTo>
                    <a:pt x="9994" y="1351"/>
                  </a:lnTo>
                  <a:lnTo>
                    <a:pt x="9975" y="1332"/>
                  </a:lnTo>
                  <a:lnTo>
                    <a:pt x="9957" y="1312"/>
                  </a:lnTo>
                  <a:lnTo>
                    <a:pt x="9941" y="1289"/>
                  </a:lnTo>
                  <a:lnTo>
                    <a:pt x="9925" y="1268"/>
                  </a:lnTo>
                  <a:lnTo>
                    <a:pt x="9910" y="1245"/>
                  </a:lnTo>
                  <a:lnTo>
                    <a:pt x="9896" y="1220"/>
                  </a:lnTo>
                  <a:lnTo>
                    <a:pt x="9884" y="1195"/>
                  </a:lnTo>
                  <a:lnTo>
                    <a:pt x="9873" y="1169"/>
                  </a:lnTo>
                  <a:lnTo>
                    <a:pt x="9864" y="1143"/>
                  </a:lnTo>
                  <a:lnTo>
                    <a:pt x="9854" y="1114"/>
                  </a:lnTo>
                  <a:lnTo>
                    <a:pt x="9847" y="1087"/>
                  </a:lnTo>
                  <a:lnTo>
                    <a:pt x="9841" y="1057"/>
                  </a:lnTo>
                  <a:lnTo>
                    <a:pt x="9836" y="1028"/>
                  </a:lnTo>
                  <a:lnTo>
                    <a:pt x="9833" y="998"/>
                  </a:lnTo>
                  <a:lnTo>
                    <a:pt x="9831" y="966"/>
                  </a:lnTo>
                  <a:lnTo>
                    <a:pt x="9830" y="933"/>
                  </a:lnTo>
                  <a:lnTo>
                    <a:pt x="9831" y="901"/>
                  </a:lnTo>
                  <a:lnTo>
                    <a:pt x="9833" y="869"/>
                  </a:lnTo>
                  <a:lnTo>
                    <a:pt x="9836" y="839"/>
                  </a:lnTo>
                  <a:lnTo>
                    <a:pt x="9840" y="808"/>
                  </a:lnTo>
                  <a:lnTo>
                    <a:pt x="9846" y="779"/>
                  </a:lnTo>
                  <a:lnTo>
                    <a:pt x="9853" y="750"/>
                  </a:lnTo>
                  <a:lnTo>
                    <a:pt x="9863" y="723"/>
                  </a:lnTo>
                  <a:lnTo>
                    <a:pt x="9872" y="696"/>
                  </a:lnTo>
                  <a:lnTo>
                    <a:pt x="9883" y="670"/>
                  </a:lnTo>
                  <a:lnTo>
                    <a:pt x="9894" y="645"/>
                  </a:lnTo>
                  <a:lnTo>
                    <a:pt x="9907" y="620"/>
                  </a:lnTo>
                  <a:lnTo>
                    <a:pt x="9923" y="597"/>
                  </a:lnTo>
                  <a:lnTo>
                    <a:pt x="9938" y="575"/>
                  </a:lnTo>
                  <a:lnTo>
                    <a:pt x="9954" y="553"/>
                  </a:lnTo>
                  <a:lnTo>
                    <a:pt x="9971" y="533"/>
                  </a:lnTo>
                  <a:lnTo>
                    <a:pt x="9991" y="513"/>
                  </a:lnTo>
                  <a:lnTo>
                    <a:pt x="10010" y="496"/>
                  </a:lnTo>
                  <a:lnTo>
                    <a:pt x="10031" y="479"/>
                  </a:lnTo>
                  <a:lnTo>
                    <a:pt x="10053" y="463"/>
                  </a:lnTo>
                  <a:lnTo>
                    <a:pt x="10075" y="447"/>
                  </a:lnTo>
                  <a:lnTo>
                    <a:pt x="10099" y="433"/>
                  </a:lnTo>
                  <a:lnTo>
                    <a:pt x="10124" y="420"/>
                  </a:lnTo>
                  <a:lnTo>
                    <a:pt x="10149" y="409"/>
                  </a:lnTo>
                  <a:lnTo>
                    <a:pt x="10176" y="399"/>
                  </a:lnTo>
                  <a:lnTo>
                    <a:pt x="10203" y="388"/>
                  </a:lnTo>
                  <a:lnTo>
                    <a:pt x="10232" y="380"/>
                  </a:lnTo>
                  <a:lnTo>
                    <a:pt x="10261" y="373"/>
                  </a:lnTo>
                  <a:lnTo>
                    <a:pt x="10291" y="368"/>
                  </a:lnTo>
                  <a:lnTo>
                    <a:pt x="10322" y="363"/>
                  </a:lnTo>
                  <a:lnTo>
                    <a:pt x="10354" y="360"/>
                  </a:lnTo>
                  <a:lnTo>
                    <a:pt x="10386" y="358"/>
                  </a:lnTo>
                  <a:lnTo>
                    <a:pt x="10419" y="358"/>
                  </a:lnTo>
                  <a:lnTo>
                    <a:pt x="10445" y="358"/>
                  </a:lnTo>
                  <a:lnTo>
                    <a:pt x="10471" y="359"/>
                  </a:lnTo>
                  <a:lnTo>
                    <a:pt x="10496" y="360"/>
                  </a:lnTo>
                  <a:lnTo>
                    <a:pt x="10521" y="362"/>
                  </a:lnTo>
                  <a:lnTo>
                    <a:pt x="10544" y="365"/>
                  </a:lnTo>
                  <a:lnTo>
                    <a:pt x="10567" y="368"/>
                  </a:lnTo>
                  <a:lnTo>
                    <a:pt x="10591" y="372"/>
                  </a:lnTo>
                  <a:lnTo>
                    <a:pt x="10613" y="377"/>
                  </a:lnTo>
                  <a:lnTo>
                    <a:pt x="10634" y="382"/>
                  </a:lnTo>
                  <a:lnTo>
                    <a:pt x="10656" y="388"/>
                  </a:lnTo>
                  <a:lnTo>
                    <a:pt x="10676" y="395"/>
                  </a:lnTo>
                  <a:lnTo>
                    <a:pt x="10696" y="402"/>
                  </a:lnTo>
                  <a:lnTo>
                    <a:pt x="10716" y="409"/>
                  </a:lnTo>
                  <a:lnTo>
                    <a:pt x="10735" y="417"/>
                  </a:lnTo>
                  <a:lnTo>
                    <a:pt x="10754" y="425"/>
                  </a:lnTo>
                  <a:lnTo>
                    <a:pt x="10773" y="435"/>
                  </a:lnTo>
                  <a:lnTo>
                    <a:pt x="10790" y="444"/>
                  </a:lnTo>
                  <a:lnTo>
                    <a:pt x="10807" y="455"/>
                  </a:lnTo>
                  <a:lnTo>
                    <a:pt x="10825" y="466"/>
                  </a:lnTo>
                  <a:lnTo>
                    <a:pt x="10842" y="477"/>
                  </a:lnTo>
                  <a:lnTo>
                    <a:pt x="10858" y="489"/>
                  </a:lnTo>
                  <a:lnTo>
                    <a:pt x="10873" y="502"/>
                  </a:lnTo>
                  <a:lnTo>
                    <a:pt x="10890" y="515"/>
                  </a:lnTo>
                  <a:lnTo>
                    <a:pt x="10904" y="529"/>
                  </a:lnTo>
                  <a:lnTo>
                    <a:pt x="10919" y="543"/>
                  </a:lnTo>
                  <a:lnTo>
                    <a:pt x="10933" y="557"/>
                  </a:lnTo>
                  <a:lnTo>
                    <a:pt x="10948" y="572"/>
                  </a:lnTo>
                  <a:lnTo>
                    <a:pt x="10962" y="589"/>
                  </a:lnTo>
                  <a:lnTo>
                    <a:pt x="10975" y="605"/>
                  </a:lnTo>
                  <a:lnTo>
                    <a:pt x="10988" y="621"/>
                  </a:lnTo>
                  <a:lnTo>
                    <a:pt x="11002" y="639"/>
                  </a:lnTo>
                  <a:lnTo>
                    <a:pt x="11015" y="657"/>
                  </a:lnTo>
                  <a:lnTo>
                    <a:pt x="11327" y="4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490538" y="487363"/>
              <a:ext cx="466725" cy="455612"/>
            </a:xfrm>
            <a:custGeom>
              <a:avLst/>
              <a:gdLst>
                <a:gd name="T0" fmla="*/ 1853 w 3532"/>
                <a:gd name="T1" fmla="*/ 1336 h 3444"/>
                <a:gd name="T2" fmla="*/ 1828 w 3532"/>
                <a:gd name="T3" fmla="*/ 1351 h 3444"/>
                <a:gd name="T4" fmla="*/ 1795 w 3532"/>
                <a:gd name="T5" fmla="*/ 1349 h 3444"/>
                <a:gd name="T6" fmla="*/ 1104 w 3532"/>
                <a:gd name="T7" fmla="*/ 1069 h 3444"/>
                <a:gd name="T8" fmla="*/ 1071 w 3532"/>
                <a:gd name="T9" fmla="*/ 1010 h 3444"/>
                <a:gd name="T10" fmla="*/ 1204 w 3532"/>
                <a:gd name="T11" fmla="*/ 141 h 3444"/>
                <a:gd name="T12" fmla="*/ 1231 w 3532"/>
                <a:gd name="T13" fmla="*/ 77 h 3444"/>
                <a:gd name="T14" fmla="*/ 1287 w 3532"/>
                <a:gd name="T15" fmla="*/ 37 h 3444"/>
                <a:gd name="T16" fmla="*/ 2026 w 3532"/>
                <a:gd name="T17" fmla="*/ 0 h 3444"/>
                <a:gd name="T18" fmla="*/ 2055 w 3532"/>
                <a:gd name="T19" fmla="*/ 11 h 3444"/>
                <a:gd name="T20" fmla="*/ 2072 w 3532"/>
                <a:gd name="T21" fmla="*/ 37 h 3444"/>
                <a:gd name="T22" fmla="*/ 1399 w 3532"/>
                <a:gd name="T23" fmla="*/ 1554 h 3444"/>
                <a:gd name="T24" fmla="*/ 1417 w 3532"/>
                <a:gd name="T25" fmla="*/ 1578 h 3444"/>
                <a:gd name="T26" fmla="*/ 1414 w 3532"/>
                <a:gd name="T27" fmla="*/ 1610 h 3444"/>
                <a:gd name="T28" fmla="*/ 958 w 3532"/>
                <a:gd name="T29" fmla="*/ 2172 h 3444"/>
                <a:gd name="T30" fmla="*/ 893 w 3532"/>
                <a:gd name="T31" fmla="*/ 2208 h 3444"/>
                <a:gd name="T32" fmla="*/ 826 w 3532"/>
                <a:gd name="T33" fmla="*/ 2201 h 3444"/>
                <a:gd name="T34" fmla="*/ 45 w 3532"/>
                <a:gd name="T35" fmla="*/ 1796 h 3444"/>
                <a:gd name="T36" fmla="*/ 6 w 3532"/>
                <a:gd name="T37" fmla="*/ 1741 h 3444"/>
                <a:gd name="T38" fmla="*/ 4 w 3532"/>
                <a:gd name="T39" fmla="*/ 1664 h 3444"/>
                <a:gd name="T40" fmla="*/ 200 w 3532"/>
                <a:gd name="T41" fmla="*/ 976 h 3444"/>
                <a:gd name="T42" fmla="*/ 226 w 3532"/>
                <a:gd name="T43" fmla="*/ 959 h 3444"/>
                <a:gd name="T44" fmla="*/ 255 w 3532"/>
                <a:gd name="T45" fmla="*/ 963 h 3444"/>
                <a:gd name="T46" fmla="*/ 1491 w 3532"/>
                <a:gd name="T47" fmla="*/ 2055 h 3444"/>
                <a:gd name="T48" fmla="*/ 1521 w 3532"/>
                <a:gd name="T49" fmla="*/ 2057 h 3444"/>
                <a:gd name="T50" fmla="*/ 1546 w 3532"/>
                <a:gd name="T51" fmla="*/ 2077 h 3444"/>
                <a:gd name="T52" fmla="*/ 1940 w 3532"/>
                <a:gd name="T53" fmla="*/ 2711 h 3444"/>
                <a:gd name="T54" fmla="*/ 1933 w 3532"/>
                <a:gd name="T55" fmla="*/ 2779 h 3444"/>
                <a:gd name="T56" fmla="*/ 1315 w 3532"/>
                <a:gd name="T57" fmla="*/ 3402 h 3444"/>
                <a:gd name="T58" fmla="*/ 1256 w 3532"/>
                <a:gd name="T59" fmla="*/ 3439 h 3444"/>
                <a:gd name="T60" fmla="*/ 1187 w 3532"/>
                <a:gd name="T61" fmla="*/ 3439 h 3444"/>
                <a:gd name="T62" fmla="*/ 567 w 3532"/>
                <a:gd name="T63" fmla="*/ 3035 h 3444"/>
                <a:gd name="T64" fmla="*/ 549 w 3532"/>
                <a:gd name="T65" fmla="*/ 3009 h 3444"/>
                <a:gd name="T66" fmla="*/ 551 w 3532"/>
                <a:gd name="T67" fmla="*/ 2978 h 3444"/>
                <a:gd name="T68" fmla="*/ 1987 w 3532"/>
                <a:gd name="T69" fmla="*/ 2144 h 3444"/>
                <a:gd name="T70" fmla="*/ 1988 w 3532"/>
                <a:gd name="T71" fmla="*/ 2114 h 3444"/>
                <a:gd name="T72" fmla="*/ 2009 w 3532"/>
                <a:gd name="T73" fmla="*/ 2091 h 3444"/>
                <a:gd name="T74" fmla="*/ 2707 w 3532"/>
                <a:gd name="T75" fmla="*/ 1899 h 3444"/>
                <a:gd name="T76" fmla="*/ 2780 w 3532"/>
                <a:gd name="T77" fmla="*/ 1910 h 3444"/>
                <a:gd name="T78" fmla="*/ 2832 w 3532"/>
                <a:gd name="T79" fmla="*/ 1953 h 3444"/>
                <a:gd name="T80" fmla="*/ 3229 w 3532"/>
                <a:gd name="T81" fmla="*/ 2739 h 3444"/>
                <a:gd name="T82" fmla="*/ 3227 w 3532"/>
                <a:gd name="T83" fmla="*/ 2806 h 3444"/>
                <a:gd name="T84" fmla="*/ 3184 w 3532"/>
                <a:gd name="T85" fmla="*/ 2871 h 3444"/>
                <a:gd name="T86" fmla="*/ 2624 w 3532"/>
                <a:gd name="T87" fmla="*/ 3314 h 3444"/>
                <a:gd name="T88" fmla="*/ 2593 w 3532"/>
                <a:gd name="T89" fmla="*/ 3313 h 3444"/>
                <a:gd name="T90" fmla="*/ 2570 w 3532"/>
                <a:gd name="T91" fmla="*/ 3292 h 3444"/>
                <a:gd name="T92" fmla="*/ 2206 w 3532"/>
                <a:gd name="T93" fmla="*/ 1686 h 3444"/>
                <a:gd name="T94" fmla="*/ 2183 w 3532"/>
                <a:gd name="T95" fmla="*/ 1667 h 3444"/>
                <a:gd name="T96" fmla="*/ 2176 w 3532"/>
                <a:gd name="T97" fmla="*/ 1635 h 3444"/>
                <a:gd name="T98" fmla="*/ 2229 w 3532"/>
                <a:gd name="T99" fmla="*/ 892 h 3444"/>
                <a:gd name="T100" fmla="*/ 2275 w 3532"/>
                <a:gd name="T101" fmla="*/ 841 h 3444"/>
                <a:gd name="T102" fmla="*/ 3142 w 3532"/>
                <a:gd name="T103" fmla="*/ 700 h 3444"/>
                <a:gd name="T104" fmla="*/ 3211 w 3532"/>
                <a:gd name="T105" fmla="*/ 706 h 3444"/>
                <a:gd name="T106" fmla="*/ 3268 w 3532"/>
                <a:gd name="T107" fmla="*/ 746 h 3444"/>
                <a:gd name="T108" fmla="*/ 3530 w 3532"/>
                <a:gd name="T109" fmla="*/ 1438 h 3444"/>
                <a:gd name="T110" fmla="*/ 3529 w 3532"/>
                <a:gd name="T111" fmla="*/ 1469 h 3444"/>
                <a:gd name="T112" fmla="*/ 3510 w 3532"/>
                <a:gd name="T113" fmla="*/ 1493 h 3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32" h="3444">
                  <a:moveTo>
                    <a:pt x="2072" y="52"/>
                  </a:moveTo>
                  <a:lnTo>
                    <a:pt x="1861" y="1317"/>
                  </a:lnTo>
                  <a:lnTo>
                    <a:pt x="1860" y="1322"/>
                  </a:lnTo>
                  <a:lnTo>
                    <a:pt x="1858" y="1327"/>
                  </a:lnTo>
                  <a:lnTo>
                    <a:pt x="1856" y="1332"/>
                  </a:lnTo>
                  <a:lnTo>
                    <a:pt x="1853" y="1336"/>
                  </a:lnTo>
                  <a:lnTo>
                    <a:pt x="1849" y="1340"/>
                  </a:lnTo>
                  <a:lnTo>
                    <a:pt x="1846" y="1343"/>
                  </a:lnTo>
                  <a:lnTo>
                    <a:pt x="1842" y="1346"/>
                  </a:lnTo>
                  <a:lnTo>
                    <a:pt x="1837" y="1348"/>
                  </a:lnTo>
                  <a:lnTo>
                    <a:pt x="1833" y="1350"/>
                  </a:lnTo>
                  <a:lnTo>
                    <a:pt x="1828" y="1351"/>
                  </a:lnTo>
                  <a:lnTo>
                    <a:pt x="1822" y="1352"/>
                  </a:lnTo>
                  <a:lnTo>
                    <a:pt x="1817" y="1353"/>
                  </a:lnTo>
                  <a:lnTo>
                    <a:pt x="1811" y="1352"/>
                  </a:lnTo>
                  <a:lnTo>
                    <a:pt x="1806" y="1352"/>
                  </a:lnTo>
                  <a:lnTo>
                    <a:pt x="1801" y="1351"/>
                  </a:lnTo>
                  <a:lnTo>
                    <a:pt x="1795" y="1349"/>
                  </a:lnTo>
                  <a:lnTo>
                    <a:pt x="1163" y="1105"/>
                  </a:lnTo>
                  <a:lnTo>
                    <a:pt x="1149" y="1099"/>
                  </a:lnTo>
                  <a:lnTo>
                    <a:pt x="1136" y="1092"/>
                  </a:lnTo>
                  <a:lnTo>
                    <a:pt x="1125" y="1085"/>
                  </a:lnTo>
                  <a:lnTo>
                    <a:pt x="1114" y="1077"/>
                  </a:lnTo>
                  <a:lnTo>
                    <a:pt x="1104" y="1069"/>
                  </a:lnTo>
                  <a:lnTo>
                    <a:pt x="1096" y="1060"/>
                  </a:lnTo>
                  <a:lnTo>
                    <a:pt x="1089" y="1050"/>
                  </a:lnTo>
                  <a:lnTo>
                    <a:pt x="1083" y="1041"/>
                  </a:lnTo>
                  <a:lnTo>
                    <a:pt x="1078" y="1031"/>
                  </a:lnTo>
                  <a:lnTo>
                    <a:pt x="1074" y="1020"/>
                  </a:lnTo>
                  <a:lnTo>
                    <a:pt x="1071" y="1010"/>
                  </a:lnTo>
                  <a:lnTo>
                    <a:pt x="1068" y="999"/>
                  </a:lnTo>
                  <a:lnTo>
                    <a:pt x="1067" y="986"/>
                  </a:lnTo>
                  <a:lnTo>
                    <a:pt x="1067" y="975"/>
                  </a:lnTo>
                  <a:lnTo>
                    <a:pt x="1068" y="963"/>
                  </a:lnTo>
                  <a:lnTo>
                    <a:pt x="1069" y="951"/>
                  </a:lnTo>
                  <a:lnTo>
                    <a:pt x="1204" y="141"/>
                  </a:lnTo>
                  <a:lnTo>
                    <a:pt x="1206" y="130"/>
                  </a:lnTo>
                  <a:lnTo>
                    <a:pt x="1209" y="118"/>
                  </a:lnTo>
                  <a:lnTo>
                    <a:pt x="1213" y="107"/>
                  </a:lnTo>
                  <a:lnTo>
                    <a:pt x="1218" y="97"/>
                  </a:lnTo>
                  <a:lnTo>
                    <a:pt x="1224" y="86"/>
                  </a:lnTo>
                  <a:lnTo>
                    <a:pt x="1231" y="77"/>
                  </a:lnTo>
                  <a:lnTo>
                    <a:pt x="1238" y="69"/>
                  </a:lnTo>
                  <a:lnTo>
                    <a:pt x="1246" y="61"/>
                  </a:lnTo>
                  <a:lnTo>
                    <a:pt x="1255" y="54"/>
                  </a:lnTo>
                  <a:lnTo>
                    <a:pt x="1265" y="47"/>
                  </a:lnTo>
                  <a:lnTo>
                    <a:pt x="1275" y="42"/>
                  </a:lnTo>
                  <a:lnTo>
                    <a:pt x="1287" y="37"/>
                  </a:lnTo>
                  <a:lnTo>
                    <a:pt x="1300" y="33"/>
                  </a:lnTo>
                  <a:lnTo>
                    <a:pt x="1313" y="29"/>
                  </a:lnTo>
                  <a:lnTo>
                    <a:pt x="1327" y="27"/>
                  </a:lnTo>
                  <a:lnTo>
                    <a:pt x="1342" y="26"/>
                  </a:lnTo>
                  <a:lnTo>
                    <a:pt x="2020" y="0"/>
                  </a:lnTo>
                  <a:lnTo>
                    <a:pt x="2026" y="0"/>
                  </a:lnTo>
                  <a:lnTo>
                    <a:pt x="2031" y="1"/>
                  </a:lnTo>
                  <a:lnTo>
                    <a:pt x="2036" y="2"/>
                  </a:lnTo>
                  <a:lnTo>
                    <a:pt x="2042" y="3"/>
                  </a:lnTo>
                  <a:lnTo>
                    <a:pt x="2046" y="5"/>
                  </a:lnTo>
                  <a:lnTo>
                    <a:pt x="2051" y="8"/>
                  </a:lnTo>
                  <a:lnTo>
                    <a:pt x="2055" y="11"/>
                  </a:lnTo>
                  <a:lnTo>
                    <a:pt x="2059" y="14"/>
                  </a:lnTo>
                  <a:lnTo>
                    <a:pt x="2062" y="18"/>
                  </a:lnTo>
                  <a:lnTo>
                    <a:pt x="2066" y="22"/>
                  </a:lnTo>
                  <a:lnTo>
                    <a:pt x="2068" y="26"/>
                  </a:lnTo>
                  <a:lnTo>
                    <a:pt x="2070" y="32"/>
                  </a:lnTo>
                  <a:lnTo>
                    <a:pt x="2072" y="37"/>
                  </a:lnTo>
                  <a:lnTo>
                    <a:pt x="2072" y="42"/>
                  </a:lnTo>
                  <a:lnTo>
                    <a:pt x="2073" y="47"/>
                  </a:lnTo>
                  <a:lnTo>
                    <a:pt x="2072" y="52"/>
                  </a:lnTo>
                  <a:close/>
                  <a:moveTo>
                    <a:pt x="255" y="963"/>
                  </a:moveTo>
                  <a:lnTo>
                    <a:pt x="1394" y="1551"/>
                  </a:lnTo>
                  <a:lnTo>
                    <a:pt x="1399" y="1554"/>
                  </a:lnTo>
                  <a:lnTo>
                    <a:pt x="1403" y="1557"/>
                  </a:lnTo>
                  <a:lnTo>
                    <a:pt x="1408" y="1561"/>
                  </a:lnTo>
                  <a:lnTo>
                    <a:pt x="1411" y="1565"/>
                  </a:lnTo>
                  <a:lnTo>
                    <a:pt x="1413" y="1569"/>
                  </a:lnTo>
                  <a:lnTo>
                    <a:pt x="1415" y="1574"/>
                  </a:lnTo>
                  <a:lnTo>
                    <a:pt x="1417" y="1578"/>
                  </a:lnTo>
                  <a:lnTo>
                    <a:pt x="1418" y="1583"/>
                  </a:lnTo>
                  <a:lnTo>
                    <a:pt x="1418" y="1588"/>
                  </a:lnTo>
                  <a:lnTo>
                    <a:pt x="1418" y="1593"/>
                  </a:lnTo>
                  <a:lnTo>
                    <a:pt x="1417" y="1599"/>
                  </a:lnTo>
                  <a:lnTo>
                    <a:pt x="1416" y="1605"/>
                  </a:lnTo>
                  <a:lnTo>
                    <a:pt x="1414" y="1610"/>
                  </a:lnTo>
                  <a:lnTo>
                    <a:pt x="1412" y="1614"/>
                  </a:lnTo>
                  <a:lnTo>
                    <a:pt x="1409" y="1619"/>
                  </a:lnTo>
                  <a:lnTo>
                    <a:pt x="1405" y="1624"/>
                  </a:lnTo>
                  <a:lnTo>
                    <a:pt x="978" y="2151"/>
                  </a:lnTo>
                  <a:lnTo>
                    <a:pt x="969" y="2162"/>
                  </a:lnTo>
                  <a:lnTo>
                    <a:pt x="958" y="2172"/>
                  </a:lnTo>
                  <a:lnTo>
                    <a:pt x="948" y="2181"/>
                  </a:lnTo>
                  <a:lnTo>
                    <a:pt x="938" y="2188"/>
                  </a:lnTo>
                  <a:lnTo>
                    <a:pt x="926" y="2195"/>
                  </a:lnTo>
                  <a:lnTo>
                    <a:pt x="915" y="2200"/>
                  </a:lnTo>
                  <a:lnTo>
                    <a:pt x="904" y="2204"/>
                  </a:lnTo>
                  <a:lnTo>
                    <a:pt x="893" y="2208"/>
                  </a:lnTo>
                  <a:lnTo>
                    <a:pt x="882" y="2209"/>
                  </a:lnTo>
                  <a:lnTo>
                    <a:pt x="871" y="2210"/>
                  </a:lnTo>
                  <a:lnTo>
                    <a:pt x="859" y="2209"/>
                  </a:lnTo>
                  <a:lnTo>
                    <a:pt x="848" y="2208"/>
                  </a:lnTo>
                  <a:lnTo>
                    <a:pt x="837" y="2206"/>
                  </a:lnTo>
                  <a:lnTo>
                    <a:pt x="826" y="2201"/>
                  </a:lnTo>
                  <a:lnTo>
                    <a:pt x="815" y="2197"/>
                  </a:lnTo>
                  <a:lnTo>
                    <a:pt x="803" y="2192"/>
                  </a:lnTo>
                  <a:lnTo>
                    <a:pt x="74" y="1816"/>
                  </a:lnTo>
                  <a:lnTo>
                    <a:pt x="64" y="1810"/>
                  </a:lnTo>
                  <a:lnTo>
                    <a:pt x="54" y="1803"/>
                  </a:lnTo>
                  <a:lnTo>
                    <a:pt x="45" y="1796"/>
                  </a:lnTo>
                  <a:lnTo>
                    <a:pt x="37" y="1789"/>
                  </a:lnTo>
                  <a:lnTo>
                    <a:pt x="28" y="1779"/>
                  </a:lnTo>
                  <a:lnTo>
                    <a:pt x="21" y="1771"/>
                  </a:lnTo>
                  <a:lnTo>
                    <a:pt x="15" y="1761"/>
                  </a:lnTo>
                  <a:lnTo>
                    <a:pt x="10" y="1751"/>
                  </a:lnTo>
                  <a:lnTo>
                    <a:pt x="6" y="1741"/>
                  </a:lnTo>
                  <a:lnTo>
                    <a:pt x="3" y="1729"/>
                  </a:lnTo>
                  <a:lnTo>
                    <a:pt x="1" y="1717"/>
                  </a:lnTo>
                  <a:lnTo>
                    <a:pt x="0" y="1704"/>
                  </a:lnTo>
                  <a:lnTo>
                    <a:pt x="0" y="1691"/>
                  </a:lnTo>
                  <a:lnTo>
                    <a:pt x="1" y="1678"/>
                  </a:lnTo>
                  <a:lnTo>
                    <a:pt x="4" y="1664"/>
                  </a:lnTo>
                  <a:lnTo>
                    <a:pt x="7" y="1648"/>
                  </a:lnTo>
                  <a:lnTo>
                    <a:pt x="190" y="995"/>
                  </a:lnTo>
                  <a:lnTo>
                    <a:pt x="192" y="990"/>
                  </a:lnTo>
                  <a:lnTo>
                    <a:pt x="194" y="985"/>
                  </a:lnTo>
                  <a:lnTo>
                    <a:pt x="197" y="980"/>
                  </a:lnTo>
                  <a:lnTo>
                    <a:pt x="200" y="976"/>
                  </a:lnTo>
                  <a:lnTo>
                    <a:pt x="203" y="972"/>
                  </a:lnTo>
                  <a:lnTo>
                    <a:pt x="207" y="969"/>
                  </a:lnTo>
                  <a:lnTo>
                    <a:pt x="212" y="965"/>
                  </a:lnTo>
                  <a:lnTo>
                    <a:pt x="216" y="963"/>
                  </a:lnTo>
                  <a:lnTo>
                    <a:pt x="221" y="961"/>
                  </a:lnTo>
                  <a:lnTo>
                    <a:pt x="226" y="959"/>
                  </a:lnTo>
                  <a:lnTo>
                    <a:pt x="230" y="958"/>
                  </a:lnTo>
                  <a:lnTo>
                    <a:pt x="235" y="958"/>
                  </a:lnTo>
                  <a:lnTo>
                    <a:pt x="240" y="958"/>
                  </a:lnTo>
                  <a:lnTo>
                    <a:pt x="245" y="959"/>
                  </a:lnTo>
                  <a:lnTo>
                    <a:pt x="250" y="960"/>
                  </a:lnTo>
                  <a:lnTo>
                    <a:pt x="255" y="963"/>
                  </a:lnTo>
                  <a:close/>
                  <a:moveTo>
                    <a:pt x="560" y="2966"/>
                  </a:moveTo>
                  <a:lnTo>
                    <a:pt x="1474" y="2066"/>
                  </a:lnTo>
                  <a:lnTo>
                    <a:pt x="1478" y="2062"/>
                  </a:lnTo>
                  <a:lnTo>
                    <a:pt x="1482" y="2059"/>
                  </a:lnTo>
                  <a:lnTo>
                    <a:pt x="1487" y="2057"/>
                  </a:lnTo>
                  <a:lnTo>
                    <a:pt x="1491" y="2055"/>
                  </a:lnTo>
                  <a:lnTo>
                    <a:pt x="1496" y="2054"/>
                  </a:lnTo>
                  <a:lnTo>
                    <a:pt x="1501" y="2053"/>
                  </a:lnTo>
                  <a:lnTo>
                    <a:pt x="1506" y="2054"/>
                  </a:lnTo>
                  <a:lnTo>
                    <a:pt x="1511" y="2054"/>
                  </a:lnTo>
                  <a:lnTo>
                    <a:pt x="1516" y="2055"/>
                  </a:lnTo>
                  <a:lnTo>
                    <a:pt x="1521" y="2057"/>
                  </a:lnTo>
                  <a:lnTo>
                    <a:pt x="1526" y="2059"/>
                  </a:lnTo>
                  <a:lnTo>
                    <a:pt x="1531" y="2062"/>
                  </a:lnTo>
                  <a:lnTo>
                    <a:pt x="1535" y="2065"/>
                  </a:lnTo>
                  <a:lnTo>
                    <a:pt x="1539" y="2069"/>
                  </a:lnTo>
                  <a:lnTo>
                    <a:pt x="1543" y="2073"/>
                  </a:lnTo>
                  <a:lnTo>
                    <a:pt x="1546" y="2077"/>
                  </a:lnTo>
                  <a:lnTo>
                    <a:pt x="1914" y="2647"/>
                  </a:lnTo>
                  <a:lnTo>
                    <a:pt x="1922" y="2660"/>
                  </a:lnTo>
                  <a:lnTo>
                    <a:pt x="1928" y="2673"/>
                  </a:lnTo>
                  <a:lnTo>
                    <a:pt x="1933" y="2685"/>
                  </a:lnTo>
                  <a:lnTo>
                    <a:pt x="1937" y="2699"/>
                  </a:lnTo>
                  <a:lnTo>
                    <a:pt x="1940" y="2711"/>
                  </a:lnTo>
                  <a:lnTo>
                    <a:pt x="1941" y="2723"/>
                  </a:lnTo>
                  <a:lnTo>
                    <a:pt x="1942" y="2734"/>
                  </a:lnTo>
                  <a:lnTo>
                    <a:pt x="1941" y="2745"/>
                  </a:lnTo>
                  <a:lnTo>
                    <a:pt x="1939" y="2758"/>
                  </a:lnTo>
                  <a:lnTo>
                    <a:pt x="1936" y="2768"/>
                  </a:lnTo>
                  <a:lnTo>
                    <a:pt x="1933" y="2779"/>
                  </a:lnTo>
                  <a:lnTo>
                    <a:pt x="1928" y="2789"/>
                  </a:lnTo>
                  <a:lnTo>
                    <a:pt x="1922" y="2799"/>
                  </a:lnTo>
                  <a:lnTo>
                    <a:pt x="1915" y="2808"/>
                  </a:lnTo>
                  <a:lnTo>
                    <a:pt x="1908" y="2818"/>
                  </a:lnTo>
                  <a:lnTo>
                    <a:pt x="1900" y="2827"/>
                  </a:lnTo>
                  <a:lnTo>
                    <a:pt x="1315" y="3402"/>
                  </a:lnTo>
                  <a:lnTo>
                    <a:pt x="1307" y="3410"/>
                  </a:lnTo>
                  <a:lnTo>
                    <a:pt x="1297" y="3419"/>
                  </a:lnTo>
                  <a:lnTo>
                    <a:pt x="1288" y="3425"/>
                  </a:lnTo>
                  <a:lnTo>
                    <a:pt x="1277" y="3431"/>
                  </a:lnTo>
                  <a:lnTo>
                    <a:pt x="1267" y="3435"/>
                  </a:lnTo>
                  <a:lnTo>
                    <a:pt x="1256" y="3439"/>
                  </a:lnTo>
                  <a:lnTo>
                    <a:pt x="1245" y="3442"/>
                  </a:lnTo>
                  <a:lnTo>
                    <a:pt x="1234" y="3443"/>
                  </a:lnTo>
                  <a:lnTo>
                    <a:pt x="1222" y="3444"/>
                  </a:lnTo>
                  <a:lnTo>
                    <a:pt x="1211" y="3443"/>
                  </a:lnTo>
                  <a:lnTo>
                    <a:pt x="1199" y="3442"/>
                  </a:lnTo>
                  <a:lnTo>
                    <a:pt x="1187" y="3439"/>
                  </a:lnTo>
                  <a:lnTo>
                    <a:pt x="1174" y="3435"/>
                  </a:lnTo>
                  <a:lnTo>
                    <a:pt x="1161" y="3430"/>
                  </a:lnTo>
                  <a:lnTo>
                    <a:pt x="1148" y="3423"/>
                  </a:lnTo>
                  <a:lnTo>
                    <a:pt x="1136" y="3415"/>
                  </a:lnTo>
                  <a:lnTo>
                    <a:pt x="572" y="3038"/>
                  </a:lnTo>
                  <a:lnTo>
                    <a:pt x="567" y="3035"/>
                  </a:lnTo>
                  <a:lnTo>
                    <a:pt x="563" y="3031"/>
                  </a:lnTo>
                  <a:lnTo>
                    <a:pt x="559" y="3027"/>
                  </a:lnTo>
                  <a:lnTo>
                    <a:pt x="556" y="3023"/>
                  </a:lnTo>
                  <a:lnTo>
                    <a:pt x="553" y="3018"/>
                  </a:lnTo>
                  <a:lnTo>
                    <a:pt x="551" y="3014"/>
                  </a:lnTo>
                  <a:lnTo>
                    <a:pt x="549" y="3009"/>
                  </a:lnTo>
                  <a:lnTo>
                    <a:pt x="548" y="3004"/>
                  </a:lnTo>
                  <a:lnTo>
                    <a:pt x="548" y="2999"/>
                  </a:lnTo>
                  <a:lnTo>
                    <a:pt x="548" y="2994"/>
                  </a:lnTo>
                  <a:lnTo>
                    <a:pt x="548" y="2988"/>
                  </a:lnTo>
                  <a:lnTo>
                    <a:pt x="549" y="2983"/>
                  </a:lnTo>
                  <a:lnTo>
                    <a:pt x="551" y="2978"/>
                  </a:lnTo>
                  <a:lnTo>
                    <a:pt x="553" y="2974"/>
                  </a:lnTo>
                  <a:lnTo>
                    <a:pt x="556" y="2970"/>
                  </a:lnTo>
                  <a:lnTo>
                    <a:pt x="560" y="2966"/>
                  </a:lnTo>
                  <a:close/>
                  <a:moveTo>
                    <a:pt x="2570" y="3292"/>
                  </a:moveTo>
                  <a:lnTo>
                    <a:pt x="1990" y="2150"/>
                  </a:lnTo>
                  <a:lnTo>
                    <a:pt x="1987" y="2144"/>
                  </a:lnTo>
                  <a:lnTo>
                    <a:pt x="1986" y="2139"/>
                  </a:lnTo>
                  <a:lnTo>
                    <a:pt x="1985" y="2134"/>
                  </a:lnTo>
                  <a:lnTo>
                    <a:pt x="1985" y="2128"/>
                  </a:lnTo>
                  <a:lnTo>
                    <a:pt x="1986" y="2124"/>
                  </a:lnTo>
                  <a:lnTo>
                    <a:pt x="1987" y="2119"/>
                  </a:lnTo>
                  <a:lnTo>
                    <a:pt x="1988" y="2114"/>
                  </a:lnTo>
                  <a:lnTo>
                    <a:pt x="1990" y="2110"/>
                  </a:lnTo>
                  <a:lnTo>
                    <a:pt x="1993" y="2105"/>
                  </a:lnTo>
                  <a:lnTo>
                    <a:pt x="1996" y="2101"/>
                  </a:lnTo>
                  <a:lnTo>
                    <a:pt x="2000" y="2098"/>
                  </a:lnTo>
                  <a:lnTo>
                    <a:pt x="2003" y="2094"/>
                  </a:lnTo>
                  <a:lnTo>
                    <a:pt x="2009" y="2091"/>
                  </a:lnTo>
                  <a:lnTo>
                    <a:pt x="2013" y="2088"/>
                  </a:lnTo>
                  <a:lnTo>
                    <a:pt x="2018" y="2086"/>
                  </a:lnTo>
                  <a:lnTo>
                    <a:pt x="2024" y="2084"/>
                  </a:lnTo>
                  <a:lnTo>
                    <a:pt x="2678" y="1906"/>
                  </a:lnTo>
                  <a:lnTo>
                    <a:pt x="2693" y="1902"/>
                  </a:lnTo>
                  <a:lnTo>
                    <a:pt x="2707" y="1899"/>
                  </a:lnTo>
                  <a:lnTo>
                    <a:pt x="2720" y="1898"/>
                  </a:lnTo>
                  <a:lnTo>
                    <a:pt x="2734" y="1898"/>
                  </a:lnTo>
                  <a:lnTo>
                    <a:pt x="2746" y="1900"/>
                  </a:lnTo>
                  <a:lnTo>
                    <a:pt x="2758" y="1902"/>
                  </a:lnTo>
                  <a:lnTo>
                    <a:pt x="2769" y="1906"/>
                  </a:lnTo>
                  <a:lnTo>
                    <a:pt x="2780" y="1910"/>
                  </a:lnTo>
                  <a:lnTo>
                    <a:pt x="2791" y="1915"/>
                  </a:lnTo>
                  <a:lnTo>
                    <a:pt x="2800" y="1921"/>
                  </a:lnTo>
                  <a:lnTo>
                    <a:pt x="2809" y="1928"/>
                  </a:lnTo>
                  <a:lnTo>
                    <a:pt x="2817" y="1936"/>
                  </a:lnTo>
                  <a:lnTo>
                    <a:pt x="2825" y="1944"/>
                  </a:lnTo>
                  <a:lnTo>
                    <a:pt x="2832" y="1953"/>
                  </a:lnTo>
                  <a:lnTo>
                    <a:pt x="2838" y="1963"/>
                  </a:lnTo>
                  <a:lnTo>
                    <a:pt x="2845" y="1974"/>
                  </a:lnTo>
                  <a:lnTo>
                    <a:pt x="3216" y="2706"/>
                  </a:lnTo>
                  <a:lnTo>
                    <a:pt x="3221" y="2717"/>
                  </a:lnTo>
                  <a:lnTo>
                    <a:pt x="3225" y="2727"/>
                  </a:lnTo>
                  <a:lnTo>
                    <a:pt x="3229" y="2739"/>
                  </a:lnTo>
                  <a:lnTo>
                    <a:pt x="3231" y="2751"/>
                  </a:lnTo>
                  <a:lnTo>
                    <a:pt x="3232" y="2762"/>
                  </a:lnTo>
                  <a:lnTo>
                    <a:pt x="3233" y="2773"/>
                  </a:lnTo>
                  <a:lnTo>
                    <a:pt x="3232" y="2784"/>
                  </a:lnTo>
                  <a:lnTo>
                    <a:pt x="3230" y="2795"/>
                  </a:lnTo>
                  <a:lnTo>
                    <a:pt x="3227" y="2806"/>
                  </a:lnTo>
                  <a:lnTo>
                    <a:pt x="3223" y="2818"/>
                  </a:lnTo>
                  <a:lnTo>
                    <a:pt x="3218" y="2829"/>
                  </a:lnTo>
                  <a:lnTo>
                    <a:pt x="3212" y="2839"/>
                  </a:lnTo>
                  <a:lnTo>
                    <a:pt x="3204" y="2850"/>
                  </a:lnTo>
                  <a:lnTo>
                    <a:pt x="3194" y="2860"/>
                  </a:lnTo>
                  <a:lnTo>
                    <a:pt x="3184" y="2871"/>
                  </a:lnTo>
                  <a:lnTo>
                    <a:pt x="3173" y="2881"/>
                  </a:lnTo>
                  <a:lnTo>
                    <a:pt x="2643" y="3304"/>
                  </a:lnTo>
                  <a:lnTo>
                    <a:pt x="2638" y="3307"/>
                  </a:lnTo>
                  <a:lnTo>
                    <a:pt x="2633" y="3310"/>
                  </a:lnTo>
                  <a:lnTo>
                    <a:pt x="2629" y="3312"/>
                  </a:lnTo>
                  <a:lnTo>
                    <a:pt x="2624" y="3314"/>
                  </a:lnTo>
                  <a:lnTo>
                    <a:pt x="2619" y="3315"/>
                  </a:lnTo>
                  <a:lnTo>
                    <a:pt x="2613" y="3316"/>
                  </a:lnTo>
                  <a:lnTo>
                    <a:pt x="2608" y="3316"/>
                  </a:lnTo>
                  <a:lnTo>
                    <a:pt x="2603" y="3315"/>
                  </a:lnTo>
                  <a:lnTo>
                    <a:pt x="2598" y="3314"/>
                  </a:lnTo>
                  <a:lnTo>
                    <a:pt x="2593" y="3313"/>
                  </a:lnTo>
                  <a:lnTo>
                    <a:pt x="2588" y="3311"/>
                  </a:lnTo>
                  <a:lnTo>
                    <a:pt x="2584" y="3308"/>
                  </a:lnTo>
                  <a:lnTo>
                    <a:pt x="2580" y="3305"/>
                  </a:lnTo>
                  <a:lnTo>
                    <a:pt x="2576" y="3302"/>
                  </a:lnTo>
                  <a:lnTo>
                    <a:pt x="2573" y="3297"/>
                  </a:lnTo>
                  <a:lnTo>
                    <a:pt x="2570" y="3292"/>
                  </a:lnTo>
                  <a:close/>
                  <a:moveTo>
                    <a:pt x="3494" y="1498"/>
                  </a:moveTo>
                  <a:lnTo>
                    <a:pt x="2227" y="1688"/>
                  </a:lnTo>
                  <a:lnTo>
                    <a:pt x="2222" y="1688"/>
                  </a:lnTo>
                  <a:lnTo>
                    <a:pt x="2216" y="1688"/>
                  </a:lnTo>
                  <a:lnTo>
                    <a:pt x="2211" y="1687"/>
                  </a:lnTo>
                  <a:lnTo>
                    <a:pt x="2206" y="1686"/>
                  </a:lnTo>
                  <a:lnTo>
                    <a:pt x="2202" y="1684"/>
                  </a:lnTo>
                  <a:lnTo>
                    <a:pt x="2198" y="1681"/>
                  </a:lnTo>
                  <a:lnTo>
                    <a:pt x="2194" y="1678"/>
                  </a:lnTo>
                  <a:lnTo>
                    <a:pt x="2190" y="1675"/>
                  </a:lnTo>
                  <a:lnTo>
                    <a:pt x="2187" y="1671"/>
                  </a:lnTo>
                  <a:lnTo>
                    <a:pt x="2183" y="1667"/>
                  </a:lnTo>
                  <a:lnTo>
                    <a:pt x="2181" y="1661"/>
                  </a:lnTo>
                  <a:lnTo>
                    <a:pt x="2179" y="1657"/>
                  </a:lnTo>
                  <a:lnTo>
                    <a:pt x="2177" y="1652"/>
                  </a:lnTo>
                  <a:lnTo>
                    <a:pt x="2176" y="1646"/>
                  </a:lnTo>
                  <a:lnTo>
                    <a:pt x="2176" y="1641"/>
                  </a:lnTo>
                  <a:lnTo>
                    <a:pt x="2176" y="1635"/>
                  </a:lnTo>
                  <a:lnTo>
                    <a:pt x="2213" y="959"/>
                  </a:lnTo>
                  <a:lnTo>
                    <a:pt x="2214" y="944"/>
                  </a:lnTo>
                  <a:lnTo>
                    <a:pt x="2217" y="929"/>
                  </a:lnTo>
                  <a:lnTo>
                    <a:pt x="2220" y="915"/>
                  </a:lnTo>
                  <a:lnTo>
                    <a:pt x="2224" y="903"/>
                  </a:lnTo>
                  <a:lnTo>
                    <a:pt x="2229" y="892"/>
                  </a:lnTo>
                  <a:lnTo>
                    <a:pt x="2235" y="881"/>
                  </a:lnTo>
                  <a:lnTo>
                    <a:pt x="2241" y="871"/>
                  </a:lnTo>
                  <a:lnTo>
                    <a:pt x="2250" y="862"/>
                  </a:lnTo>
                  <a:lnTo>
                    <a:pt x="2257" y="854"/>
                  </a:lnTo>
                  <a:lnTo>
                    <a:pt x="2266" y="847"/>
                  </a:lnTo>
                  <a:lnTo>
                    <a:pt x="2275" y="841"/>
                  </a:lnTo>
                  <a:lnTo>
                    <a:pt x="2285" y="836"/>
                  </a:lnTo>
                  <a:lnTo>
                    <a:pt x="2296" y="831"/>
                  </a:lnTo>
                  <a:lnTo>
                    <a:pt x="2307" y="827"/>
                  </a:lnTo>
                  <a:lnTo>
                    <a:pt x="2319" y="824"/>
                  </a:lnTo>
                  <a:lnTo>
                    <a:pt x="2331" y="822"/>
                  </a:lnTo>
                  <a:lnTo>
                    <a:pt x="3142" y="700"/>
                  </a:lnTo>
                  <a:lnTo>
                    <a:pt x="3154" y="699"/>
                  </a:lnTo>
                  <a:lnTo>
                    <a:pt x="3166" y="699"/>
                  </a:lnTo>
                  <a:lnTo>
                    <a:pt x="3177" y="699"/>
                  </a:lnTo>
                  <a:lnTo>
                    <a:pt x="3189" y="700"/>
                  </a:lnTo>
                  <a:lnTo>
                    <a:pt x="3200" y="702"/>
                  </a:lnTo>
                  <a:lnTo>
                    <a:pt x="3211" y="706"/>
                  </a:lnTo>
                  <a:lnTo>
                    <a:pt x="3222" y="710"/>
                  </a:lnTo>
                  <a:lnTo>
                    <a:pt x="3232" y="715"/>
                  </a:lnTo>
                  <a:lnTo>
                    <a:pt x="3241" y="721"/>
                  </a:lnTo>
                  <a:lnTo>
                    <a:pt x="3250" y="728"/>
                  </a:lnTo>
                  <a:lnTo>
                    <a:pt x="3259" y="737"/>
                  </a:lnTo>
                  <a:lnTo>
                    <a:pt x="3268" y="746"/>
                  </a:lnTo>
                  <a:lnTo>
                    <a:pt x="3275" y="758"/>
                  </a:lnTo>
                  <a:lnTo>
                    <a:pt x="3282" y="769"/>
                  </a:lnTo>
                  <a:lnTo>
                    <a:pt x="3289" y="782"/>
                  </a:lnTo>
                  <a:lnTo>
                    <a:pt x="3294" y="796"/>
                  </a:lnTo>
                  <a:lnTo>
                    <a:pt x="3529" y="1433"/>
                  </a:lnTo>
                  <a:lnTo>
                    <a:pt x="3530" y="1438"/>
                  </a:lnTo>
                  <a:lnTo>
                    <a:pt x="3531" y="1443"/>
                  </a:lnTo>
                  <a:lnTo>
                    <a:pt x="3532" y="1449"/>
                  </a:lnTo>
                  <a:lnTo>
                    <a:pt x="3532" y="1454"/>
                  </a:lnTo>
                  <a:lnTo>
                    <a:pt x="3531" y="1459"/>
                  </a:lnTo>
                  <a:lnTo>
                    <a:pt x="3530" y="1464"/>
                  </a:lnTo>
                  <a:lnTo>
                    <a:pt x="3529" y="1469"/>
                  </a:lnTo>
                  <a:lnTo>
                    <a:pt x="3527" y="1474"/>
                  </a:lnTo>
                  <a:lnTo>
                    <a:pt x="3525" y="1478"/>
                  </a:lnTo>
                  <a:lnTo>
                    <a:pt x="3522" y="1483"/>
                  </a:lnTo>
                  <a:lnTo>
                    <a:pt x="3518" y="1487"/>
                  </a:lnTo>
                  <a:lnTo>
                    <a:pt x="3515" y="1490"/>
                  </a:lnTo>
                  <a:lnTo>
                    <a:pt x="3510" y="1493"/>
                  </a:lnTo>
                  <a:lnTo>
                    <a:pt x="3506" y="1495"/>
                  </a:lnTo>
                  <a:lnTo>
                    <a:pt x="3501" y="1497"/>
                  </a:lnTo>
                  <a:lnTo>
                    <a:pt x="3494" y="1498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168412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Вертикальный заголовок и текст">
    <p:bg>
      <p:bgPr>
        <a:solidFill>
          <a:srgbClr val="53575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3"/>
          <p:cNvSpPr>
            <a:spLocks noChangeAspect="1" noChangeArrowheads="1" noTextEdit="1"/>
          </p:cNvSpPr>
          <p:nvPr userDrawn="1"/>
        </p:nvSpPr>
        <p:spPr bwMode="auto">
          <a:xfrm>
            <a:off x="15" y="393700"/>
            <a:ext cx="9906000" cy="646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Freeform 6"/>
          <p:cNvSpPr>
            <a:spLocks/>
          </p:cNvSpPr>
          <p:nvPr userDrawn="1"/>
        </p:nvSpPr>
        <p:spPr bwMode="auto">
          <a:xfrm>
            <a:off x="6719242" y="2214742"/>
            <a:ext cx="990600" cy="2163763"/>
          </a:xfrm>
          <a:custGeom>
            <a:avLst/>
            <a:gdLst>
              <a:gd name="T0" fmla="*/ 1727 w 1727"/>
              <a:gd name="T1" fmla="*/ 4091 h 4091"/>
              <a:gd name="T2" fmla="*/ 356 w 1727"/>
              <a:gd name="T3" fmla="*/ 3560 h 4091"/>
              <a:gd name="T4" fmla="*/ 329 w 1727"/>
              <a:gd name="T5" fmla="*/ 3550 h 4091"/>
              <a:gd name="T6" fmla="*/ 304 w 1727"/>
              <a:gd name="T7" fmla="*/ 3538 h 4091"/>
              <a:gd name="T8" fmla="*/ 279 w 1727"/>
              <a:gd name="T9" fmla="*/ 3526 h 4091"/>
              <a:gd name="T10" fmla="*/ 256 w 1727"/>
              <a:gd name="T11" fmla="*/ 3514 h 4091"/>
              <a:gd name="T12" fmla="*/ 234 w 1727"/>
              <a:gd name="T13" fmla="*/ 3501 h 4091"/>
              <a:gd name="T14" fmla="*/ 213 w 1727"/>
              <a:gd name="T15" fmla="*/ 3487 h 4091"/>
              <a:gd name="T16" fmla="*/ 193 w 1727"/>
              <a:gd name="T17" fmla="*/ 3473 h 4091"/>
              <a:gd name="T18" fmla="*/ 174 w 1727"/>
              <a:gd name="T19" fmla="*/ 3458 h 4091"/>
              <a:gd name="T20" fmla="*/ 156 w 1727"/>
              <a:gd name="T21" fmla="*/ 3443 h 4091"/>
              <a:gd name="T22" fmla="*/ 140 w 1727"/>
              <a:gd name="T23" fmla="*/ 3428 h 4091"/>
              <a:gd name="T24" fmla="*/ 123 w 1727"/>
              <a:gd name="T25" fmla="*/ 3411 h 4091"/>
              <a:gd name="T26" fmla="*/ 108 w 1727"/>
              <a:gd name="T27" fmla="*/ 3394 h 4091"/>
              <a:gd name="T28" fmla="*/ 94 w 1727"/>
              <a:gd name="T29" fmla="*/ 3378 h 4091"/>
              <a:gd name="T30" fmla="*/ 81 w 1727"/>
              <a:gd name="T31" fmla="*/ 3360 h 4091"/>
              <a:gd name="T32" fmla="*/ 69 w 1727"/>
              <a:gd name="T33" fmla="*/ 3342 h 4091"/>
              <a:gd name="T34" fmla="*/ 59 w 1727"/>
              <a:gd name="T35" fmla="*/ 3324 h 4091"/>
              <a:gd name="T36" fmla="*/ 49 w 1727"/>
              <a:gd name="T37" fmla="*/ 3306 h 4091"/>
              <a:gd name="T38" fmla="*/ 40 w 1727"/>
              <a:gd name="T39" fmla="*/ 3286 h 4091"/>
              <a:gd name="T40" fmla="*/ 32 w 1727"/>
              <a:gd name="T41" fmla="*/ 3267 h 4091"/>
              <a:gd name="T42" fmla="*/ 25 w 1727"/>
              <a:gd name="T43" fmla="*/ 3247 h 4091"/>
              <a:gd name="T44" fmla="*/ 19 w 1727"/>
              <a:gd name="T45" fmla="*/ 3227 h 4091"/>
              <a:gd name="T46" fmla="*/ 13 w 1727"/>
              <a:gd name="T47" fmla="*/ 3207 h 4091"/>
              <a:gd name="T48" fmla="*/ 9 w 1727"/>
              <a:gd name="T49" fmla="*/ 3187 h 4091"/>
              <a:gd name="T50" fmla="*/ 6 w 1727"/>
              <a:gd name="T51" fmla="*/ 3165 h 4091"/>
              <a:gd name="T52" fmla="*/ 4 w 1727"/>
              <a:gd name="T53" fmla="*/ 3145 h 4091"/>
              <a:gd name="T54" fmla="*/ 1 w 1727"/>
              <a:gd name="T55" fmla="*/ 3123 h 4091"/>
              <a:gd name="T56" fmla="*/ 0 w 1727"/>
              <a:gd name="T57" fmla="*/ 3102 h 4091"/>
              <a:gd name="T58" fmla="*/ 0 w 1727"/>
              <a:gd name="T59" fmla="*/ 3080 h 4091"/>
              <a:gd name="T60" fmla="*/ 1 w 1727"/>
              <a:gd name="T61" fmla="*/ 3058 h 4091"/>
              <a:gd name="T62" fmla="*/ 4 w 1727"/>
              <a:gd name="T63" fmla="*/ 3036 h 4091"/>
              <a:gd name="T64" fmla="*/ 6 w 1727"/>
              <a:gd name="T65" fmla="*/ 3014 h 4091"/>
              <a:gd name="T66" fmla="*/ 9 w 1727"/>
              <a:gd name="T67" fmla="*/ 2991 h 4091"/>
              <a:gd name="T68" fmla="*/ 508 w 1727"/>
              <a:gd name="T69" fmla="*/ 0 h 4091"/>
              <a:gd name="T70" fmla="*/ 482 w 1727"/>
              <a:gd name="T71" fmla="*/ 2806 h 4091"/>
              <a:gd name="T72" fmla="*/ 483 w 1727"/>
              <a:gd name="T73" fmla="*/ 2832 h 4091"/>
              <a:gd name="T74" fmla="*/ 484 w 1727"/>
              <a:gd name="T75" fmla="*/ 2859 h 4091"/>
              <a:gd name="T76" fmla="*/ 487 w 1727"/>
              <a:gd name="T77" fmla="*/ 2885 h 4091"/>
              <a:gd name="T78" fmla="*/ 492 w 1727"/>
              <a:gd name="T79" fmla="*/ 2910 h 4091"/>
              <a:gd name="T80" fmla="*/ 497 w 1727"/>
              <a:gd name="T81" fmla="*/ 2937 h 4091"/>
              <a:gd name="T82" fmla="*/ 504 w 1727"/>
              <a:gd name="T83" fmla="*/ 2963 h 4091"/>
              <a:gd name="T84" fmla="*/ 511 w 1727"/>
              <a:gd name="T85" fmla="*/ 2989 h 4091"/>
              <a:gd name="T86" fmla="*/ 521 w 1727"/>
              <a:gd name="T87" fmla="*/ 3015 h 4091"/>
              <a:gd name="T88" fmla="*/ 531 w 1727"/>
              <a:gd name="T89" fmla="*/ 3039 h 4091"/>
              <a:gd name="T90" fmla="*/ 542 w 1727"/>
              <a:gd name="T91" fmla="*/ 3064 h 4091"/>
              <a:gd name="T92" fmla="*/ 555 w 1727"/>
              <a:gd name="T93" fmla="*/ 3086 h 4091"/>
              <a:gd name="T94" fmla="*/ 569 w 1727"/>
              <a:gd name="T95" fmla="*/ 3109 h 4091"/>
              <a:gd name="T96" fmla="*/ 585 w 1727"/>
              <a:gd name="T97" fmla="*/ 3131 h 4091"/>
              <a:gd name="T98" fmla="*/ 602 w 1727"/>
              <a:gd name="T99" fmla="*/ 3150 h 4091"/>
              <a:gd name="T100" fmla="*/ 619 w 1727"/>
              <a:gd name="T101" fmla="*/ 3168 h 4091"/>
              <a:gd name="T102" fmla="*/ 639 w 1727"/>
              <a:gd name="T103" fmla="*/ 3186 h 4091"/>
              <a:gd name="T104" fmla="*/ 1727 w 1727"/>
              <a:gd name="T105" fmla="*/ 4091 h 40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727" h="4091">
                <a:moveTo>
                  <a:pt x="1727" y="4091"/>
                </a:moveTo>
                <a:lnTo>
                  <a:pt x="356" y="3560"/>
                </a:lnTo>
                <a:lnTo>
                  <a:pt x="329" y="3550"/>
                </a:lnTo>
                <a:lnTo>
                  <a:pt x="304" y="3538"/>
                </a:lnTo>
                <a:lnTo>
                  <a:pt x="279" y="3526"/>
                </a:lnTo>
                <a:lnTo>
                  <a:pt x="256" y="3514"/>
                </a:lnTo>
                <a:lnTo>
                  <a:pt x="234" y="3501"/>
                </a:lnTo>
                <a:lnTo>
                  <a:pt x="213" y="3487"/>
                </a:lnTo>
                <a:lnTo>
                  <a:pt x="193" y="3473"/>
                </a:lnTo>
                <a:lnTo>
                  <a:pt x="174" y="3458"/>
                </a:lnTo>
                <a:lnTo>
                  <a:pt x="156" y="3443"/>
                </a:lnTo>
                <a:lnTo>
                  <a:pt x="140" y="3428"/>
                </a:lnTo>
                <a:lnTo>
                  <a:pt x="123" y="3411"/>
                </a:lnTo>
                <a:lnTo>
                  <a:pt x="108" y="3394"/>
                </a:lnTo>
                <a:lnTo>
                  <a:pt x="94" y="3378"/>
                </a:lnTo>
                <a:lnTo>
                  <a:pt x="81" y="3360"/>
                </a:lnTo>
                <a:lnTo>
                  <a:pt x="69" y="3342"/>
                </a:lnTo>
                <a:lnTo>
                  <a:pt x="59" y="3324"/>
                </a:lnTo>
                <a:lnTo>
                  <a:pt x="49" y="3306"/>
                </a:lnTo>
                <a:lnTo>
                  <a:pt x="40" y="3286"/>
                </a:lnTo>
                <a:lnTo>
                  <a:pt x="32" y="3267"/>
                </a:lnTo>
                <a:lnTo>
                  <a:pt x="25" y="3247"/>
                </a:lnTo>
                <a:lnTo>
                  <a:pt x="19" y="3227"/>
                </a:lnTo>
                <a:lnTo>
                  <a:pt x="13" y="3207"/>
                </a:lnTo>
                <a:lnTo>
                  <a:pt x="9" y="3187"/>
                </a:lnTo>
                <a:lnTo>
                  <a:pt x="6" y="3165"/>
                </a:lnTo>
                <a:lnTo>
                  <a:pt x="4" y="3145"/>
                </a:lnTo>
                <a:lnTo>
                  <a:pt x="1" y="3123"/>
                </a:lnTo>
                <a:lnTo>
                  <a:pt x="0" y="3102"/>
                </a:lnTo>
                <a:lnTo>
                  <a:pt x="0" y="3080"/>
                </a:lnTo>
                <a:lnTo>
                  <a:pt x="1" y="3058"/>
                </a:lnTo>
                <a:lnTo>
                  <a:pt x="4" y="3036"/>
                </a:lnTo>
                <a:lnTo>
                  <a:pt x="6" y="3014"/>
                </a:lnTo>
                <a:lnTo>
                  <a:pt x="9" y="2991"/>
                </a:lnTo>
                <a:lnTo>
                  <a:pt x="508" y="0"/>
                </a:lnTo>
                <a:lnTo>
                  <a:pt x="482" y="2806"/>
                </a:lnTo>
                <a:lnTo>
                  <a:pt x="483" y="2832"/>
                </a:lnTo>
                <a:lnTo>
                  <a:pt x="484" y="2859"/>
                </a:lnTo>
                <a:lnTo>
                  <a:pt x="487" y="2885"/>
                </a:lnTo>
                <a:lnTo>
                  <a:pt x="492" y="2910"/>
                </a:lnTo>
                <a:lnTo>
                  <a:pt x="497" y="2937"/>
                </a:lnTo>
                <a:lnTo>
                  <a:pt x="504" y="2963"/>
                </a:lnTo>
                <a:lnTo>
                  <a:pt x="511" y="2989"/>
                </a:lnTo>
                <a:lnTo>
                  <a:pt x="521" y="3015"/>
                </a:lnTo>
                <a:lnTo>
                  <a:pt x="531" y="3039"/>
                </a:lnTo>
                <a:lnTo>
                  <a:pt x="542" y="3064"/>
                </a:lnTo>
                <a:lnTo>
                  <a:pt x="555" y="3086"/>
                </a:lnTo>
                <a:lnTo>
                  <a:pt x="569" y="3109"/>
                </a:lnTo>
                <a:lnTo>
                  <a:pt x="585" y="3131"/>
                </a:lnTo>
                <a:lnTo>
                  <a:pt x="602" y="3150"/>
                </a:lnTo>
                <a:lnTo>
                  <a:pt x="619" y="3168"/>
                </a:lnTo>
                <a:lnTo>
                  <a:pt x="639" y="3186"/>
                </a:lnTo>
                <a:lnTo>
                  <a:pt x="1727" y="4091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Freeform 8"/>
          <p:cNvSpPr>
            <a:spLocks/>
          </p:cNvSpPr>
          <p:nvPr userDrawn="1"/>
        </p:nvSpPr>
        <p:spPr bwMode="auto">
          <a:xfrm>
            <a:off x="9102939" y="3473452"/>
            <a:ext cx="803143" cy="1114425"/>
          </a:xfrm>
          <a:custGeom>
            <a:avLst/>
            <a:gdLst>
              <a:gd name="T0" fmla="*/ 0 w 1401"/>
              <a:gd name="T1" fmla="*/ 2106 h 2106"/>
              <a:gd name="T2" fmla="*/ 81 w 1401"/>
              <a:gd name="T3" fmla="*/ 638 h 2106"/>
              <a:gd name="T4" fmla="*/ 82 w 1401"/>
              <a:gd name="T5" fmla="*/ 609 h 2106"/>
              <a:gd name="T6" fmla="*/ 86 w 1401"/>
              <a:gd name="T7" fmla="*/ 581 h 2106"/>
              <a:gd name="T8" fmla="*/ 90 w 1401"/>
              <a:gd name="T9" fmla="*/ 555 h 2106"/>
              <a:gd name="T10" fmla="*/ 94 w 1401"/>
              <a:gd name="T11" fmla="*/ 529 h 2106"/>
              <a:gd name="T12" fmla="*/ 100 w 1401"/>
              <a:gd name="T13" fmla="*/ 504 h 2106"/>
              <a:gd name="T14" fmla="*/ 106 w 1401"/>
              <a:gd name="T15" fmla="*/ 480 h 2106"/>
              <a:gd name="T16" fmla="*/ 114 w 1401"/>
              <a:gd name="T17" fmla="*/ 456 h 2106"/>
              <a:gd name="T18" fmla="*/ 122 w 1401"/>
              <a:gd name="T19" fmla="*/ 433 h 2106"/>
              <a:gd name="T20" fmla="*/ 131 w 1401"/>
              <a:gd name="T21" fmla="*/ 412 h 2106"/>
              <a:gd name="T22" fmla="*/ 141 w 1401"/>
              <a:gd name="T23" fmla="*/ 391 h 2106"/>
              <a:gd name="T24" fmla="*/ 151 w 1401"/>
              <a:gd name="T25" fmla="*/ 371 h 2106"/>
              <a:gd name="T26" fmla="*/ 162 w 1401"/>
              <a:gd name="T27" fmla="*/ 351 h 2106"/>
              <a:gd name="T28" fmla="*/ 174 w 1401"/>
              <a:gd name="T29" fmla="*/ 333 h 2106"/>
              <a:gd name="T30" fmla="*/ 187 w 1401"/>
              <a:gd name="T31" fmla="*/ 316 h 2106"/>
              <a:gd name="T32" fmla="*/ 200 w 1401"/>
              <a:gd name="T33" fmla="*/ 299 h 2106"/>
              <a:gd name="T34" fmla="*/ 214 w 1401"/>
              <a:gd name="T35" fmla="*/ 283 h 2106"/>
              <a:gd name="T36" fmla="*/ 229 w 1401"/>
              <a:gd name="T37" fmla="*/ 268 h 2106"/>
              <a:gd name="T38" fmla="*/ 244 w 1401"/>
              <a:gd name="T39" fmla="*/ 253 h 2106"/>
              <a:gd name="T40" fmla="*/ 259 w 1401"/>
              <a:gd name="T41" fmla="*/ 240 h 2106"/>
              <a:gd name="T42" fmla="*/ 277 w 1401"/>
              <a:gd name="T43" fmla="*/ 227 h 2106"/>
              <a:gd name="T44" fmla="*/ 294 w 1401"/>
              <a:gd name="T45" fmla="*/ 215 h 2106"/>
              <a:gd name="T46" fmla="*/ 311 w 1401"/>
              <a:gd name="T47" fmla="*/ 203 h 2106"/>
              <a:gd name="T48" fmla="*/ 330 w 1401"/>
              <a:gd name="T49" fmla="*/ 194 h 2106"/>
              <a:gd name="T50" fmla="*/ 348 w 1401"/>
              <a:gd name="T51" fmla="*/ 184 h 2106"/>
              <a:gd name="T52" fmla="*/ 367 w 1401"/>
              <a:gd name="T53" fmla="*/ 174 h 2106"/>
              <a:gd name="T54" fmla="*/ 387 w 1401"/>
              <a:gd name="T55" fmla="*/ 167 h 2106"/>
              <a:gd name="T56" fmla="*/ 407 w 1401"/>
              <a:gd name="T57" fmla="*/ 159 h 2106"/>
              <a:gd name="T58" fmla="*/ 428 w 1401"/>
              <a:gd name="T59" fmla="*/ 153 h 2106"/>
              <a:gd name="T60" fmla="*/ 450 w 1401"/>
              <a:gd name="T61" fmla="*/ 146 h 2106"/>
              <a:gd name="T62" fmla="*/ 471 w 1401"/>
              <a:gd name="T63" fmla="*/ 141 h 2106"/>
              <a:gd name="T64" fmla="*/ 493 w 1401"/>
              <a:gd name="T65" fmla="*/ 136 h 2106"/>
              <a:gd name="T66" fmla="*/ 515 w 1401"/>
              <a:gd name="T67" fmla="*/ 133 h 2106"/>
              <a:gd name="T68" fmla="*/ 1401 w 1401"/>
              <a:gd name="T69" fmla="*/ 0 h 2106"/>
              <a:gd name="T70" fmla="*/ 1401 w 1401"/>
              <a:gd name="T71" fmla="*/ 348 h 2106"/>
              <a:gd name="T72" fmla="*/ 837 w 1401"/>
              <a:gd name="T73" fmla="*/ 525 h 2106"/>
              <a:gd name="T74" fmla="*/ 813 w 1401"/>
              <a:gd name="T75" fmla="*/ 534 h 2106"/>
              <a:gd name="T76" fmla="*/ 789 w 1401"/>
              <a:gd name="T77" fmla="*/ 543 h 2106"/>
              <a:gd name="T78" fmla="*/ 765 w 1401"/>
              <a:gd name="T79" fmla="*/ 554 h 2106"/>
              <a:gd name="T80" fmla="*/ 740 w 1401"/>
              <a:gd name="T81" fmla="*/ 566 h 2106"/>
              <a:gd name="T82" fmla="*/ 717 w 1401"/>
              <a:gd name="T83" fmla="*/ 580 h 2106"/>
              <a:gd name="T84" fmla="*/ 695 w 1401"/>
              <a:gd name="T85" fmla="*/ 594 h 2106"/>
              <a:gd name="T86" fmla="*/ 672 w 1401"/>
              <a:gd name="T87" fmla="*/ 609 h 2106"/>
              <a:gd name="T88" fmla="*/ 650 w 1401"/>
              <a:gd name="T89" fmla="*/ 627 h 2106"/>
              <a:gd name="T90" fmla="*/ 631 w 1401"/>
              <a:gd name="T91" fmla="*/ 644 h 2106"/>
              <a:gd name="T92" fmla="*/ 612 w 1401"/>
              <a:gd name="T93" fmla="*/ 662 h 2106"/>
              <a:gd name="T94" fmla="*/ 593 w 1401"/>
              <a:gd name="T95" fmla="*/ 682 h 2106"/>
              <a:gd name="T96" fmla="*/ 576 w 1401"/>
              <a:gd name="T97" fmla="*/ 702 h 2106"/>
              <a:gd name="T98" fmla="*/ 561 w 1401"/>
              <a:gd name="T99" fmla="*/ 724 h 2106"/>
              <a:gd name="T100" fmla="*/ 547 w 1401"/>
              <a:gd name="T101" fmla="*/ 745 h 2106"/>
              <a:gd name="T102" fmla="*/ 535 w 1401"/>
              <a:gd name="T103" fmla="*/ 768 h 2106"/>
              <a:gd name="T104" fmla="*/ 524 w 1401"/>
              <a:gd name="T105" fmla="*/ 792 h 2106"/>
              <a:gd name="T106" fmla="*/ 0 w 1401"/>
              <a:gd name="T107" fmla="*/ 2106 h 2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401" h="2106">
                <a:moveTo>
                  <a:pt x="0" y="2106"/>
                </a:moveTo>
                <a:lnTo>
                  <a:pt x="81" y="638"/>
                </a:lnTo>
                <a:lnTo>
                  <a:pt x="82" y="609"/>
                </a:lnTo>
                <a:lnTo>
                  <a:pt x="86" y="581"/>
                </a:lnTo>
                <a:lnTo>
                  <a:pt x="90" y="555"/>
                </a:lnTo>
                <a:lnTo>
                  <a:pt x="94" y="529"/>
                </a:lnTo>
                <a:lnTo>
                  <a:pt x="100" y="504"/>
                </a:lnTo>
                <a:lnTo>
                  <a:pt x="106" y="480"/>
                </a:lnTo>
                <a:lnTo>
                  <a:pt x="114" y="456"/>
                </a:lnTo>
                <a:lnTo>
                  <a:pt x="122" y="433"/>
                </a:lnTo>
                <a:lnTo>
                  <a:pt x="131" y="412"/>
                </a:lnTo>
                <a:lnTo>
                  <a:pt x="141" y="391"/>
                </a:lnTo>
                <a:lnTo>
                  <a:pt x="151" y="371"/>
                </a:lnTo>
                <a:lnTo>
                  <a:pt x="162" y="351"/>
                </a:lnTo>
                <a:lnTo>
                  <a:pt x="174" y="333"/>
                </a:lnTo>
                <a:lnTo>
                  <a:pt x="187" y="316"/>
                </a:lnTo>
                <a:lnTo>
                  <a:pt x="200" y="299"/>
                </a:lnTo>
                <a:lnTo>
                  <a:pt x="214" y="283"/>
                </a:lnTo>
                <a:lnTo>
                  <a:pt x="229" y="268"/>
                </a:lnTo>
                <a:lnTo>
                  <a:pt x="244" y="253"/>
                </a:lnTo>
                <a:lnTo>
                  <a:pt x="259" y="240"/>
                </a:lnTo>
                <a:lnTo>
                  <a:pt x="277" y="227"/>
                </a:lnTo>
                <a:lnTo>
                  <a:pt x="294" y="215"/>
                </a:lnTo>
                <a:lnTo>
                  <a:pt x="311" y="203"/>
                </a:lnTo>
                <a:lnTo>
                  <a:pt x="330" y="194"/>
                </a:lnTo>
                <a:lnTo>
                  <a:pt x="348" y="184"/>
                </a:lnTo>
                <a:lnTo>
                  <a:pt x="367" y="174"/>
                </a:lnTo>
                <a:lnTo>
                  <a:pt x="387" y="167"/>
                </a:lnTo>
                <a:lnTo>
                  <a:pt x="407" y="159"/>
                </a:lnTo>
                <a:lnTo>
                  <a:pt x="428" y="153"/>
                </a:lnTo>
                <a:lnTo>
                  <a:pt x="450" y="146"/>
                </a:lnTo>
                <a:lnTo>
                  <a:pt x="471" y="141"/>
                </a:lnTo>
                <a:lnTo>
                  <a:pt x="493" y="136"/>
                </a:lnTo>
                <a:lnTo>
                  <a:pt x="515" y="133"/>
                </a:lnTo>
                <a:lnTo>
                  <a:pt x="1401" y="0"/>
                </a:lnTo>
                <a:lnTo>
                  <a:pt x="1401" y="348"/>
                </a:lnTo>
                <a:lnTo>
                  <a:pt x="837" y="525"/>
                </a:lnTo>
                <a:lnTo>
                  <a:pt x="813" y="534"/>
                </a:lnTo>
                <a:lnTo>
                  <a:pt x="789" y="543"/>
                </a:lnTo>
                <a:lnTo>
                  <a:pt x="765" y="554"/>
                </a:lnTo>
                <a:lnTo>
                  <a:pt x="740" y="566"/>
                </a:lnTo>
                <a:lnTo>
                  <a:pt x="717" y="580"/>
                </a:lnTo>
                <a:lnTo>
                  <a:pt x="695" y="594"/>
                </a:lnTo>
                <a:lnTo>
                  <a:pt x="672" y="609"/>
                </a:lnTo>
                <a:lnTo>
                  <a:pt x="650" y="627"/>
                </a:lnTo>
                <a:lnTo>
                  <a:pt x="631" y="644"/>
                </a:lnTo>
                <a:lnTo>
                  <a:pt x="612" y="662"/>
                </a:lnTo>
                <a:lnTo>
                  <a:pt x="593" y="682"/>
                </a:lnTo>
                <a:lnTo>
                  <a:pt x="576" y="702"/>
                </a:lnTo>
                <a:lnTo>
                  <a:pt x="561" y="724"/>
                </a:lnTo>
                <a:lnTo>
                  <a:pt x="547" y="745"/>
                </a:lnTo>
                <a:lnTo>
                  <a:pt x="535" y="768"/>
                </a:lnTo>
                <a:lnTo>
                  <a:pt x="524" y="792"/>
                </a:lnTo>
                <a:lnTo>
                  <a:pt x="0" y="2106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0" name="Freeform 10"/>
          <p:cNvSpPr>
            <a:spLocks/>
          </p:cNvSpPr>
          <p:nvPr userDrawn="1"/>
        </p:nvSpPr>
        <p:spPr bwMode="auto">
          <a:xfrm>
            <a:off x="9321287" y="5721350"/>
            <a:ext cx="584729" cy="179388"/>
          </a:xfrm>
          <a:custGeom>
            <a:avLst/>
            <a:gdLst>
              <a:gd name="T0" fmla="*/ 0 w 1021"/>
              <a:gd name="T1" fmla="*/ 278 h 338"/>
              <a:gd name="T2" fmla="*/ 1021 w 1021"/>
              <a:gd name="T3" fmla="*/ 0 h 338"/>
              <a:gd name="T4" fmla="*/ 1021 w 1021"/>
              <a:gd name="T5" fmla="*/ 338 h 338"/>
              <a:gd name="T6" fmla="*/ 0 w 1021"/>
              <a:gd name="T7" fmla="*/ 278 h 3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21" h="338">
                <a:moveTo>
                  <a:pt x="0" y="278"/>
                </a:moveTo>
                <a:lnTo>
                  <a:pt x="1021" y="0"/>
                </a:lnTo>
                <a:lnTo>
                  <a:pt x="1021" y="338"/>
                </a:lnTo>
                <a:lnTo>
                  <a:pt x="0" y="278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2" name="Freeform 12"/>
          <p:cNvSpPr>
            <a:spLocks/>
          </p:cNvSpPr>
          <p:nvPr userDrawn="1"/>
        </p:nvSpPr>
        <p:spPr bwMode="auto">
          <a:xfrm>
            <a:off x="8057225" y="6461304"/>
            <a:ext cx="278606" cy="396875"/>
          </a:xfrm>
          <a:custGeom>
            <a:avLst/>
            <a:gdLst>
              <a:gd name="T0" fmla="*/ 0 w 484"/>
              <a:gd name="T1" fmla="*/ 0 h 749"/>
              <a:gd name="T2" fmla="*/ 484 w 484"/>
              <a:gd name="T3" fmla="*/ 749 h 749"/>
              <a:gd name="T4" fmla="*/ 191 w 484"/>
              <a:gd name="T5" fmla="*/ 749 h 749"/>
              <a:gd name="T6" fmla="*/ 0 w 484"/>
              <a:gd name="T7" fmla="*/ 0 h 7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4" h="749">
                <a:moveTo>
                  <a:pt x="0" y="0"/>
                </a:moveTo>
                <a:lnTo>
                  <a:pt x="484" y="749"/>
                </a:lnTo>
                <a:lnTo>
                  <a:pt x="191" y="749"/>
                </a:lnTo>
                <a:lnTo>
                  <a:pt x="0" y="0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4" name="Freeform 14"/>
          <p:cNvSpPr>
            <a:spLocks/>
          </p:cNvSpPr>
          <p:nvPr userDrawn="1"/>
        </p:nvSpPr>
        <p:spPr bwMode="auto">
          <a:xfrm>
            <a:off x="4617648" y="5487988"/>
            <a:ext cx="2445544" cy="769938"/>
          </a:xfrm>
          <a:custGeom>
            <a:avLst/>
            <a:gdLst>
              <a:gd name="T0" fmla="*/ 4268 w 4268"/>
              <a:gd name="T1" fmla="*/ 95 h 1455"/>
              <a:gd name="T2" fmla="*/ 3342 w 4268"/>
              <a:gd name="T3" fmla="*/ 1237 h 1455"/>
              <a:gd name="T4" fmla="*/ 3324 w 4268"/>
              <a:gd name="T5" fmla="*/ 1259 h 1455"/>
              <a:gd name="T6" fmla="*/ 3305 w 4268"/>
              <a:gd name="T7" fmla="*/ 1280 h 1455"/>
              <a:gd name="T8" fmla="*/ 3287 w 4268"/>
              <a:gd name="T9" fmla="*/ 1300 h 1455"/>
              <a:gd name="T10" fmla="*/ 3268 w 4268"/>
              <a:gd name="T11" fmla="*/ 1317 h 1455"/>
              <a:gd name="T12" fmla="*/ 3248 w 4268"/>
              <a:gd name="T13" fmla="*/ 1334 h 1455"/>
              <a:gd name="T14" fmla="*/ 3229 w 4268"/>
              <a:gd name="T15" fmla="*/ 1351 h 1455"/>
              <a:gd name="T16" fmla="*/ 3209 w 4268"/>
              <a:gd name="T17" fmla="*/ 1366 h 1455"/>
              <a:gd name="T18" fmla="*/ 3190 w 4268"/>
              <a:gd name="T19" fmla="*/ 1379 h 1455"/>
              <a:gd name="T20" fmla="*/ 3169 w 4268"/>
              <a:gd name="T21" fmla="*/ 1392 h 1455"/>
              <a:gd name="T22" fmla="*/ 3150 w 4268"/>
              <a:gd name="T23" fmla="*/ 1402 h 1455"/>
              <a:gd name="T24" fmla="*/ 3129 w 4268"/>
              <a:gd name="T25" fmla="*/ 1412 h 1455"/>
              <a:gd name="T26" fmla="*/ 3109 w 4268"/>
              <a:gd name="T27" fmla="*/ 1422 h 1455"/>
              <a:gd name="T28" fmla="*/ 3088 w 4268"/>
              <a:gd name="T29" fmla="*/ 1429 h 1455"/>
              <a:gd name="T30" fmla="*/ 3068 w 4268"/>
              <a:gd name="T31" fmla="*/ 1436 h 1455"/>
              <a:gd name="T32" fmla="*/ 3047 w 4268"/>
              <a:gd name="T33" fmla="*/ 1442 h 1455"/>
              <a:gd name="T34" fmla="*/ 3027 w 4268"/>
              <a:gd name="T35" fmla="*/ 1447 h 1455"/>
              <a:gd name="T36" fmla="*/ 3006 w 4268"/>
              <a:gd name="T37" fmla="*/ 1451 h 1455"/>
              <a:gd name="T38" fmla="*/ 2985 w 4268"/>
              <a:gd name="T39" fmla="*/ 1453 h 1455"/>
              <a:gd name="T40" fmla="*/ 2964 w 4268"/>
              <a:gd name="T41" fmla="*/ 1455 h 1455"/>
              <a:gd name="T42" fmla="*/ 2944 w 4268"/>
              <a:gd name="T43" fmla="*/ 1455 h 1455"/>
              <a:gd name="T44" fmla="*/ 2922 w 4268"/>
              <a:gd name="T45" fmla="*/ 1455 h 1455"/>
              <a:gd name="T46" fmla="*/ 2902 w 4268"/>
              <a:gd name="T47" fmla="*/ 1454 h 1455"/>
              <a:gd name="T48" fmla="*/ 2881 w 4268"/>
              <a:gd name="T49" fmla="*/ 1452 h 1455"/>
              <a:gd name="T50" fmla="*/ 2859 w 4268"/>
              <a:gd name="T51" fmla="*/ 1449 h 1455"/>
              <a:gd name="T52" fmla="*/ 2839 w 4268"/>
              <a:gd name="T53" fmla="*/ 1444 h 1455"/>
              <a:gd name="T54" fmla="*/ 2818 w 4268"/>
              <a:gd name="T55" fmla="*/ 1440 h 1455"/>
              <a:gd name="T56" fmla="*/ 2797 w 4268"/>
              <a:gd name="T57" fmla="*/ 1434 h 1455"/>
              <a:gd name="T58" fmla="*/ 2776 w 4268"/>
              <a:gd name="T59" fmla="*/ 1427 h 1455"/>
              <a:gd name="T60" fmla="*/ 2756 w 4268"/>
              <a:gd name="T61" fmla="*/ 1420 h 1455"/>
              <a:gd name="T62" fmla="*/ 2735 w 4268"/>
              <a:gd name="T63" fmla="*/ 1411 h 1455"/>
              <a:gd name="T64" fmla="*/ 2715 w 4268"/>
              <a:gd name="T65" fmla="*/ 1402 h 1455"/>
              <a:gd name="T66" fmla="*/ 2694 w 4268"/>
              <a:gd name="T67" fmla="*/ 1393 h 1455"/>
              <a:gd name="T68" fmla="*/ 0 w 4268"/>
              <a:gd name="T69" fmla="*/ 0 h 1455"/>
              <a:gd name="T70" fmla="*/ 2664 w 4268"/>
              <a:gd name="T71" fmla="*/ 885 h 1455"/>
              <a:gd name="T72" fmla="*/ 2688 w 4268"/>
              <a:gd name="T73" fmla="*/ 893 h 1455"/>
              <a:gd name="T74" fmla="*/ 2714 w 4268"/>
              <a:gd name="T75" fmla="*/ 899 h 1455"/>
              <a:gd name="T76" fmla="*/ 2740 w 4268"/>
              <a:gd name="T77" fmla="*/ 905 h 1455"/>
              <a:gd name="T78" fmla="*/ 2767 w 4268"/>
              <a:gd name="T79" fmla="*/ 909 h 1455"/>
              <a:gd name="T80" fmla="*/ 2792 w 4268"/>
              <a:gd name="T81" fmla="*/ 911 h 1455"/>
              <a:gd name="T82" fmla="*/ 2819 w 4268"/>
              <a:gd name="T83" fmla="*/ 913 h 1455"/>
              <a:gd name="T84" fmla="*/ 2846 w 4268"/>
              <a:gd name="T85" fmla="*/ 913 h 1455"/>
              <a:gd name="T86" fmla="*/ 2873 w 4268"/>
              <a:gd name="T87" fmla="*/ 913 h 1455"/>
              <a:gd name="T88" fmla="*/ 2900 w 4268"/>
              <a:gd name="T89" fmla="*/ 910 h 1455"/>
              <a:gd name="T90" fmla="*/ 2927 w 4268"/>
              <a:gd name="T91" fmla="*/ 907 h 1455"/>
              <a:gd name="T92" fmla="*/ 2953 w 4268"/>
              <a:gd name="T93" fmla="*/ 901 h 1455"/>
              <a:gd name="T94" fmla="*/ 2979 w 4268"/>
              <a:gd name="T95" fmla="*/ 895 h 1455"/>
              <a:gd name="T96" fmla="*/ 3004 w 4268"/>
              <a:gd name="T97" fmla="*/ 887 h 1455"/>
              <a:gd name="T98" fmla="*/ 3028 w 4268"/>
              <a:gd name="T99" fmla="*/ 878 h 1455"/>
              <a:gd name="T100" fmla="*/ 3051 w 4268"/>
              <a:gd name="T101" fmla="*/ 866 h 1455"/>
              <a:gd name="T102" fmla="*/ 3073 w 4268"/>
              <a:gd name="T103" fmla="*/ 853 h 1455"/>
              <a:gd name="T104" fmla="*/ 4268 w 4268"/>
              <a:gd name="T105" fmla="*/ 95 h 14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268" h="1455">
                <a:moveTo>
                  <a:pt x="4268" y="95"/>
                </a:moveTo>
                <a:lnTo>
                  <a:pt x="3342" y="1237"/>
                </a:lnTo>
                <a:lnTo>
                  <a:pt x="3324" y="1259"/>
                </a:lnTo>
                <a:lnTo>
                  <a:pt x="3305" y="1280"/>
                </a:lnTo>
                <a:lnTo>
                  <a:pt x="3287" y="1300"/>
                </a:lnTo>
                <a:lnTo>
                  <a:pt x="3268" y="1317"/>
                </a:lnTo>
                <a:lnTo>
                  <a:pt x="3248" y="1334"/>
                </a:lnTo>
                <a:lnTo>
                  <a:pt x="3229" y="1351"/>
                </a:lnTo>
                <a:lnTo>
                  <a:pt x="3209" y="1366"/>
                </a:lnTo>
                <a:lnTo>
                  <a:pt x="3190" y="1379"/>
                </a:lnTo>
                <a:lnTo>
                  <a:pt x="3169" y="1392"/>
                </a:lnTo>
                <a:lnTo>
                  <a:pt x="3150" y="1402"/>
                </a:lnTo>
                <a:lnTo>
                  <a:pt x="3129" y="1412"/>
                </a:lnTo>
                <a:lnTo>
                  <a:pt x="3109" y="1422"/>
                </a:lnTo>
                <a:lnTo>
                  <a:pt x="3088" y="1429"/>
                </a:lnTo>
                <a:lnTo>
                  <a:pt x="3068" y="1436"/>
                </a:lnTo>
                <a:lnTo>
                  <a:pt x="3047" y="1442"/>
                </a:lnTo>
                <a:lnTo>
                  <a:pt x="3027" y="1447"/>
                </a:lnTo>
                <a:lnTo>
                  <a:pt x="3006" y="1451"/>
                </a:lnTo>
                <a:lnTo>
                  <a:pt x="2985" y="1453"/>
                </a:lnTo>
                <a:lnTo>
                  <a:pt x="2964" y="1455"/>
                </a:lnTo>
                <a:lnTo>
                  <a:pt x="2944" y="1455"/>
                </a:lnTo>
                <a:lnTo>
                  <a:pt x="2922" y="1455"/>
                </a:lnTo>
                <a:lnTo>
                  <a:pt x="2902" y="1454"/>
                </a:lnTo>
                <a:lnTo>
                  <a:pt x="2881" y="1452"/>
                </a:lnTo>
                <a:lnTo>
                  <a:pt x="2859" y="1449"/>
                </a:lnTo>
                <a:lnTo>
                  <a:pt x="2839" y="1444"/>
                </a:lnTo>
                <a:lnTo>
                  <a:pt x="2818" y="1440"/>
                </a:lnTo>
                <a:lnTo>
                  <a:pt x="2797" y="1434"/>
                </a:lnTo>
                <a:lnTo>
                  <a:pt x="2776" y="1427"/>
                </a:lnTo>
                <a:lnTo>
                  <a:pt x="2756" y="1420"/>
                </a:lnTo>
                <a:lnTo>
                  <a:pt x="2735" y="1411"/>
                </a:lnTo>
                <a:lnTo>
                  <a:pt x="2715" y="1402"/>
                </a:lnTo>
                <a:lnTo>
                  <a:pt x="2694" y="1393"/>
                </a:lnTo>
                <a:lnTo>
                  <a:pt x="0" y="0"/>
                </a:lnTo>
                <a:lnTo>
                  <a:pt x="2664" y="885"/>
                </a:lnTo>
                <a:lnTo>
                  <a:pt x="2688" y="893"/>
                </a:lnTo>
                <a:lnTo>
                  <a:pt x="2714" y="899"/>
                </a:lnTo>
                <a:lnTo>
                  <a:pt x="2740" y="905"/>
                </a:lnTo>
                <a:lnTo>
                  <a:pt x="2767" y="909"/>
                </a:lnTo>
                <a:lnTo>
                  <a:pt x="2792" y="911"/>
                </a:lnTo>
                <a:lnTo>
                  <a:pt x="2819" y="913"/>
                </a:lnTo>
                <a:lnTo>
                  <a:pt x="2846" y="913"/>
                </a:lnTo>
                <a:lnTo>
                  <a:pt x="2873" y="913"/>
                </a:lnTo>
                <a:lnTo>
                  <a:pt x="2900" y="910"/>
                </a:lnTo>
                <a:lnTo>
                  <a:pt x="2927" y="907"/>
                </a:lnTo>
                <a:lnTo>
                  <a:pt x="2953" y="901"/>
                </a:lnTo>
                <a:lnTo>
                  <a:pt x="2979" y="895"/>
                </a:lnTo>
                <a:lnTo>
                  <a:pt x="3004" y="887"/>
                </a:lnTo>
                <a:lnTo>
                  <a:pt x="3028" y="878"/>
                </a:lnTo>
                <a:lnTo>
                  <a:pt x="3051" y="866"/>
                </a:lnTo>
                <a:lnTo>
                  <a:pt x="3073" y="853"/>
                </a:lnTo>
                <a:lnTo>
                  <a:pt x="4268" y="95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" name="Группа 14"/>
          <p:cNvGrpSpPr/>
          <p:nvPr userDrawn="1"/>
        </p:nvGrpSpPr>
        <p:grpSpPr>
          <a:xfrm>
            <a:off x="4459430" y="1936750"/>
            <a:ext cx="5446581" cy="4921250"/>
            <a:chOff x="4116388" y="1936750"/>
            <a:chExt cx="5027613" cy="4921250"/>
          </a:xfrm>
        </p:grpSpPr>
        <p:sp>
          <p:nvSpPr>
            <p:cNvPr id="5" name="Freeform 5"/>
            <p:cNvSpPr>
              <a:spLocks/>
            </p:cNvSpPr>
            <p:nvPr userDrawn="1"/>
          </p:nvSpPr>
          <p:spPr bwMode="auto">
            <a:xfrm>
              <a:off x="6203950" y="1936750"/>
              <a:ext cx="1966913" cy="2646363"/>
            </a:xfrm>
            <a:custGeom>
              <a:avLst/>
              <a:gdLst>
                <a:gd name="T0" fmla="*/ 2936 w 3717"/>
                <a:gd name="T1" fmla="*/ 4866 h 5000"/>
                <a:gd name="T2" fmla="*/ 2932 w 3717"/>
                <a:gd name="T3" fmla="*/ 4886 h 5000"/>
                <a:gd name="T4" fmla="*/ 2924 w 3717"/>
                <a:gd name="T5" fmla="*/ 4905 h 5000"/>
                <a:gd name="T6" fmla="*/ 2915 w 3717"/>
                <a:gd name="T7" fmla="*/ 4922 h 5000"/>
                <a:gd name="T8" fmla="*/ 2905 w 3717"/>
                <a:gd name="T9" fmla="*/ 4938 h 5000"/>
                <a:gd name="T10" fmla="*/ 2893 w 3717"/>
                <a:gd name="T11" fmla="*/ 4952 h 5000"/>
                <a:gd name="T12" fmla="*/ 2879 w 3717"/>
                <a:gd name="T13" fmla="*/ 4964 h 5000"/>
                <a:gd name="T14" fmla="*/ 2847 w 3717"/>
                <a:gd name="T15" fmla="*/ 4983 h 5000"/>
                <a:gd name="T16" fmla="*/ 2811 w 3717"/>
                <a:gd name="T17" fmla="*/ 4996 h 5000"/>
                <a:gd name="T18" fmla="*/ 2773 w 3717"/>
                <a:gd name="T19" fmla="*/ 5000 h 5000"/>
                <a:gd name="T20" fmla="*/ 2733 w 3717"/>
                <a:gd name="T21" fmla="*/ 4998 h 5000"/>
                <a:gd name="T22" fmla="*/ 2693 w 3717"/>
                <a:gd name="T23" fmla="*/ 4987 h 5000"/>
                <a:gd name="T24" fmla="*/ 329 w 3717"/>
                <a:gd name="T25" fmla="*/ 4073 h 5000"/>
                <a:gd name="T26" fmla="*/ 279 w 3717"/>
                <a:gd name="T27" fmla="*/ 4049 h 5000"/>
                <a:gd name="T28" fmla="*/ 233 w 3717"/>
                <a:gd name="T29" fmla="*/ 4024 h 5000"/>
                <a:gd name="T30" fmla="*/ 192 w 3717"/>
                <a:gd name="T31" fmla="*/ 3996 h 5000"/>
                <a:gd name="T32" fmla="*/ 155 w 3717"/>
                <a:gd name="T33" fmla="*/ 3966 h 5000"/>
                <a:gd name="T34" fmla="*/ 122 w 3717"/>
                <a:gd name="T35" fmla="*/ 3934 h 5000"/>
                <a:gd name="T36" fmla="*/ 93 w 3717"/>
                <a:gd name="T37" fmla="*/ 3900 h 5000"/>
                <a:gd name="T38" fmla="*/ 70 w 3717"/>
                <a:gd name="T39" fmla="*/ 3865 h 5000"/>
                <a:gd name="T40" fmla="*/ 48 w 3717"/>
                <a:gd name="T41" fmla="*/ 3829 h 5000"/>
                <a:gd name="T42" fmla="*/ 32 w 3717"/>
                <a:gd name="T43" fmla="*/ 3790 h 5000"/>
                <a:gd name="T44" fmla="*/ 18 w 3717"/>
                <a:gd name="T45" fmla="*/ 3750 h 5000"/>
                <a:gd name="T46" fmla="*/ 8 w 3717"/>
                <a:gd name="T47" fmla="*/ 3710 h 5000"/>
                <a:gd name="T48" fmla="*/ 3 w 3717"/>
                <a:gd name="T49" fmla="*/ 3668 h 5000"/>
                <a:gd name="T50" fmla="*/ 0 w 3717"/>
                <a:gd name="T51" fmla="*/ 3625 h 5000"/>
                <a:gd name="T52" fmla="*/ 0 w 3717"/>
                <a:gd name="T53" fmla="*/ 3581 h 5000"/>
                <a:gd name="T54" fmla="*/ 5 w 3717"/>
                <a:gd name="T55" fmla="*/ 3537 h 5000"/>
                <a:gd name="T56" fmla="*/ 507 w 3717"/>
                <a:gd name="T57" fmla="*/ 523 h 5000"/>
                <a:gd name="T58" fmla="*/ 516 w 3717"/>
                <a:gd name="T59" fmla="*/ 479 h 5000"/>
                <a:gd name="T60" fmla="*/ 527 w 3717"/>
                <a:gd name="T61" fmla="*/ 437 h 5000"/>
                <a:gd name="T62" fmla="*/ 541 w 3717"/>
                <a:gd name="T63" fmla="*/ 396 h 5000"/>
                <a:gd name="T64" fmla="*/ 560 w 3717"/>
                <a:gd name="T65" fmla="*/ 357 h 5000"/>
                <a:gd name="T66" fmla="*/ 580 w 3717"/>
                <a:gd name="T67" fmla="*/ 320 h 5000"/>
                <a:gd name="T68" fmla="*/ 604 w 3717"/>
                <a:gd name="T69" fmla="*/ 286 h 5000"/>
                <a:gd name="T70" fmla="*/ 631 w 3717"/>
                <a:gd name="T71" fmla="*/ 254 h 5000"/>
                <a:gd name="T72" fmla="*/ 661 w 3717"/>
                <a:gd name="T73" fmla="*/ 224 h 5000"/>
                <a:gd name="T74" fmla="*/ 694 w 3717"/>
                <a:gd name="T75" fmla="*/ 198 h 5000"/>
                <a:gd name="T76" fmla="*/ 730 w 3717"/>
                <a:gd name="T77" fmla="*/ 173 h 5000"/>
                <a:gd name="T78" fmla="*/ 770 w 3717"/>
                <a:gd name="T79" fmla="*/ 153 h 5000"/>
                <a:gd name="T80" fmla="*/ 814 w 3717"/>
                <a:gd name="T81" fmla="*/ 135 h 5000"/>
                <a:gd name="T82" fmla="*/ 859 w 3717"/>
                <a:gd name="T83" fmla="*/ 121 h 5000"/>
                <a:gd name="T84" fmla="*/ 909 w 3717"/>
                <a:gd name="T85" fmla="*/ 109 h 5000"/>
                <a:gd name="T86" fmla="*/ 962 w 3717"/>
                <a:gd name="T87" fmla="*/ 101 h 5000"/>
                <a:gd name="T88" fmla="*/ 1019 w 3717"/>
                <a:gd name="T89" fmla="*/ 97 h 5000"/>
                <a:gd name="T90" fmla="*/ 3544 w 3717"/>
                <a:gd name="T91" fmla="*/ 0 h 5000"/>
                <a:gd name="T92" fmla="*/ 3584 w 3717"/>
                <a:gd name="T93" fmla="*/ 6 h 5000"/>
                <a:gd name="T94" fmla="*/ 3622 w 3717"/>
                <a:gd name="T95" fmla="*/ 20 h 5000"/>
                <a:gd name="T96" fmla="*/ 3654 w 3717"/>
                <a:gd name="T97" fmla="*/ 41 h 5000"/>
                <a:gd name="T98" fmla="*/ 3680 w 3717"/>
                <a:gd name="T99" fmla="*/ 67 h 5000"/>
                <a:gd name="T100" fmla="*/ 3696 w 3717"/>
                <a:gd name="T101" fmla="*/ 89 h 5000"/>
                <a:gd name="T102" fmla="*/ 3705 w 3717"/>
                <a:gd name="T103" fmla="*/ 106 h 5000"/>
                <a:gd name="T104" fmla="*/ 3710 w 3717"/>
                <a:gd name="T105" fmla="*/ 124 h 5000"/>
                <a:gd name="T106" fmla="*/ 3715 w 3717"/>
                <a:gd name="T107" fmla="*/ 142 h 5000"/>
                <a:gd name="T108" fmla="*/ 3717 w 3717"/>
                <a:gd name="T109" fmla="*/ 162 h 5000"/>
                <a:gd name="T110" fmla="*/ 3716 w 3717"/>
                <a:gd name="T111" fmla="*/ 182 h 5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717" h="5000">
                  <a:moveTo>
                    <a:pt x="3715" y="192"/>
                  </a:moveTo>
                  <a:lnTo>
                    <a:pt x="2936" y="4866"/>
                  </a:lnTo>
                  <a:lnTo>
                    <a:pt x="2934" y="4876"/>
                  </a:lnTo>
                  <a:lnTo>
                    <a:pt x="2932" y="4886"/>
                  </a:lnTo>
                  <a:lnTo>
                    <a:pt x="2928" y="4895"/>
                  </a:lnTo>
                  <a:lnTo>
                    <a:pt x="2924" y="4905"/>
                  </a:lnTo>
                  <a:lnTo>
                    <a:pt x="2921" y="4914"/>
                  </a:lnTo>
                  <a:lnTo>
                    <a:pt x="2915" y="4922"/>
                  </a:lnTo>
                  <a:lnTo>
                    <a:pt x="2911" y="4930"/>
                  </a:lnTo>
                  <a:lnTo>
                    <a:pt x="2905" y="4938"/>
                  </a:lnTo>
                  <a:lnTo>
                    <a:pt x="2899" y="4945"/>
                  </a:lnTo>
                  <a:lnTo>
                    <a:pt x="2893" y="4952"/>
                  </a:lnTo>
                  <a:lnTo>
                    <a:pt x="2886" y="4958"/>
                  </a:lnTo>
                  <a:lnTo>
                    <a:pt x="2879" y="4964"/>
                  </a:lnTo>
                  <a:lnTo>
                    <a:pt x="2863" y="4974"/>
                  </a:lnTo>
                  <a:lnTo>
                    <a:pt x="2847" y="4983"/>
                  </a:lnTo>
                  <a:lnTo>
                    <a:pt x="2829" y="4991"/>
                  </a:lnTo>
                  <a:lnTo>
                    <a:pt x="2811" y="4996"/>
                  </a:lnTo>
                  <a:lnTo>
                    <a:pt x="2792" y="4999"/>
                  </a:lnTo>
                  <a:lnTo>
                    <a:pt x="2773" y="5000"/>
                  </a:lnTo>
                  <a:lnTo>
                    <a:pt x="2752" y="5000"/>
                  </a:lnTo>
                  <a:lnTo>
                    <a:pt x="2733" y="4998"/>
                  </a:lnTo>
                  <a:lnTo>
                    <a:pt x="2713" y="4994"/>
                  </a:lnTo>
                  <a:lnTo>
                    <a:pt x="2693" y="4987"/>
                  </a:lnTo>
                  <a:lnTo>
                    <a:pt x="355" y="4083"/>
                  </a:lnTo>
                  <a:lnTo>
                    <a:pt x="329" y="4073"/>
                  </a:lnTo>
                  <a:lnTo>
                    <a:pt x="303" y="4061"/>
                  </a:lnTo>
                  <a:lnTo>
                    <a:pt x="279" y="4049"/>
                  </a:lnTo>
                  <a:lnTo>
                    <a:pt x="255" y="4037"/>
                  </a:lnTo>
                  <a:lnTo>
                    <a:pt x="233" y="4024"/>
                  </a:lnTo>
                  <a:lnTo>
                    <a:pt x="212" y="4010"/>
                  </a:lnTo>
                  <a:lnTo>
                    <a:pt x="192" y="3996"/>
                  </a:lnTo>
                  <a:lnTo>
                    <a:pt x="173" y="3981"/>
                  </a:lnTo>
                  <a:lnTo>
                    <a:pt x="155" y="3966"/>
                  </a:lnTo>
                  <a:lnTo>
                    <a:pt x="139" y="3951"/>
                  </a:lnTo>
                  <a:lnTo>
                    <a:pt x="122" y="3934"/>
                  </a:lnTo>
                  <a:lnTo>
                    <a:pt x="107" y="3917"/>
                  </a:lnTo>
                  <a:lnTo>
                    <a:pt x="93" y="3900"/>
                  </a:lnTo>
                  <a:lnTo>
                    <a:pt x="81" y="3883"/>
                  </a:lnTo>
                  <a:lnTo>
                    <a:pt x="70" y="3865"/>
                  </a:lnTo>
                  <a:lnTo>
                    <a:pt x="58" y="3847"/>
                  </a:lnTo>
                  <a:lnTo>
                    <a:pt x="48" y="3829"/>
                  </a:lnTo>
                  <a:lnTo>
                    <a:pt x="39" y="3809"/>
                  </a:lnTo>
                  <a:lnTo>
                    <a:pt x="32" y="3790"/>
                  </a:lnTo>
                  <a:lnTo>
                    <a:pt x="24" y="3770"/>
                  </a:lnTo>
                  <a:lnTo>
                    <a:pt x="18" y="3750"/>
                  </a:lnTo>
                  <a:lnTo>
                    <a:pt x="12" y="3730"/>
                  </a:lnTo>
                  <a:lnTo>
                    <a:pt x="8" y="3710"/>
                  </a:lnTo>
                  <a:lnTo>
                    <a:pt x="5" y="3688"/>
                  </a:lnTo>
                  <a:lnTo>
                    <a:pt x="3" y="3668"/>
                  </a:lnTo>
                  <a:lnTo>
                    <a:pt x="0" y="3646"/>
                  </a:lnTo>
                  <a:lnTo>
                    <a:pt x="0" y="3625"/>
                  </a:lnTo>
                  <a:lnTo>
                    <a:pt x="0" y="3603"/>
                  </a:lnTo>
                  <a:lnTo>
                    <a:pt x="0" y="3581"/>
                  </a:lnTo>
                  <a:lnTo>
                    <a:pt x="3" y="3559"/>
                  </a:lnTo>
                  <a:lnTo>
                    <a:pt x="5" y="3537"/>
                  </a:lnTo>
                  <a:lnTo>
                    <a:pt x="8" y="3514"/>
                  </a:lnTo>
                  <a:lnTo>
                    <a:pt x="507" y="523"/>
                  </a:lnTo>
                  <a:lnTo>
                    <a:pt x="510" y="501"/>
                  </a:lnTo>
                  <a:lnTo>
                    <a:pt x="516" y="479"/>
                  </a:lnTo>
                  <a:lnTo>
                    <a:pt x="521" y="457"/>
                  </a:lnTo>
                  <a:lnTo>
                    <a:pt x="527" y="437"/>
                  </a:lnTo>
                  <a:lnTo>
                    <a:pt x="534" y="416"/>
                  </a:lnTo>
                  <a:lnTo>
                    <a:pt x="541" y="396"/>
                  </a:lnTo>
                  <a:lnTo>
                    <a:pt x="550" y="376"/>
                  </a:lnTo>
                  <a:lnTo>
                    <a:pt x="560" y="357"/>
                  </a:lnTo>
                  <a:lnTo>
                    <a:pt x="570" y="339"/>
                  </a:lnTo>
                  <a:lnTo>
                    <a:pt x="580" y="320"/>
                  </a:lnTo>
                  <a:lnTo>
                    <a:pt x="592" y="303"/>
                  </a:lnTo>
                  <a:lnTo>
                    <a:pt x="604" y="286"/>
                  </a:lnTo>
                  <a:lnTo>
                    <a:pt x="617" y="270"/>
                  </a:lnTo>
                  <a:lnTo>
                    <a:pt x="631" y="254"/>
                  </a:lnTo>
                  <a:lnTo>
                    <a:pt x="646" y="239"/>
                  </a:lnTo>
                  <a:lnTo>
                    <a:pt x="661" y="224"/>
                  </a:lnTo>
                  <a:lnTo>
                    <a:pt x="678" y="211"/>
                  </a:lnTo>
                  <a:lnTo>
                    <a:pt x="694" y="198"/>
                  </a:lnTo>
                  <a:lnTo>
                    <a:pt x="712" y="185"/>
                  </a:lnTo>
                  <a:lnTo>
                    <a:pt x="730" y="173"/>
                  </a:lnTo>
                  <a:lnTo>
                    <a:pt x="750" y="163"/>
                  </a:lnTo>
                  <a:lnTo>
                    <a:pt x="770" y="153"/>
                  </a:lnTo>
                  <a:lnTo>
                    <a:pt x="791" y="143"/>
                  </a:lnTo>
                  <a:lnTo>
                    <a:pt x="814" y="135"/>
                  </a:lnTo>
                  <a:lnTo>
                    <a:pt x="836" y="127"/>
                  </a:lnTo>
                  <a:lnTo>
                    <a:pt x="859" y="121"/>
                  </a:lnTo>
                  <a:lnTo>
                    <a:pt x="884" y="114"/>
                  </a:lnTo>
                  <a:lnTo>
                    <a:pt x="909" y="109"/>
                  </a:lnTo>
                  <a:lnTo>
                    <a:pt x="936" y="104"/>
                  </a:lnTo>
                  <a:lnTo>
                    <a:pt x="962" y="101"/>
                  </a:lnTo>
                  <a:lnTo>
                    <a:pt x="990" y="99"/>
                  </a:lnTo>
                  <a:lnTo>
                    <a:pt x="1019" y="97"/>
                  </a:lnTo>
                  <a:lnTo>
                    <a:pt x="3523" y="0"/>
                  </a:lnTo>
                  <a:lnTo>
                    <a:pt x="3544" y="0"/>
                  </a:lnTo>
                  <a:lnTo>
                    <a:pt x="3564" y="2"/>
                  </a:lnTo>
                  <a:lnTo>
                    <a:pt x="3584" y="6"/>
                  </a:lnTo>
                  <a:lnTo>
                    <a:pt x="3603" y="13"/>
                  </a:lnTo>
                  <a:lnTo>
                    <a:pt x="3622" y="20"/>
                  </a:lnTo>
                  <a:lnTo>
                    <a:pt x="3638" y="30"/>
                  </a:lnTo>
                  <a:lnTo>
                    <a:pt x="3654" y="41"/>
                  </a:lnTo>
                  <a:lnTo>
                    <a:pt x="3668" y="53"/>
                  </a:lnTo>
                  <a:lnTo>
                    <a:pt x="3680" y="67"/>
                  </a:lnTo>
                  <a:lnTo>
                    <a:pt x="3692" y="82"/>
                  </a:lnTo>
                  <a:lnTo>
                    <a:pt x="3696" y="89"/>
                  </a:lnTo>
                  <a:lnTo>
                    <a:pt x="3700" y="98"/>
                  </a:lnTo>
                  <a:lnTo>
                    <a:pt x="3705" y="106"/>
                  </a:lnTo>
                  <a:lnTo>
                    <a:pt x="3708" y="115"/>
                  </a:lnTo>
                  <a:lnTo>
                    <a:pt x="3710" y="124"/>
                  </a:lnTo>
                  <a:lnTo>
                    <a:pt x="3713" y="132"/>
                  </a:lnTo>
                  <a:lnTo>
                    <a:pt x="3715" y="142"/>
                  </a:lnTo>
                  <a:lnTo>
                    <a:pt x="3716" y="152"/>
                  </a:lnTo>
                  <a:lnTo>
                    <a:pt x="3717" y="162"/>
                  </a:lnTo>
                  <a:lnTo>
                    <a:pt x="3717" y="171"/>
                  </a:lnTo>
                  <a:lnTo>
                    <a:pt x="3716" y="182"/>
                  </a:lnTo>
                  <a:lnTo>
                    <a:pt x="3715" y="192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7" name="Freeform 7"/>
            <p:cNvSpPr>
              <a:spLocks/>
            </p:cNvSpPr>
            <p:nvPr userDrawn="1"/>
          </p:nvSpPr>
          <p:spPr bwMode="auto">
            <a:xfrm>
              <a:off x="8372475" y="3473450"/>
              <a:ext cx="771525" cy="1765300"/>
            </a:xfrm>
            <a:custGeom>
              <a:avLst/>
              <a:gdLst>
                <a:gd name="T0" fmla="*/ 1458 w 1458"/>
                <a:gd name="T1" fmla="*/ 3144 h 3336"/>
                <a:gd name="T2" fmla="*/ 190 w 1458"/>
                <a:gd name="T3" fmla="*/ 3335 h 3336"/>
                <a:gd name="T4" fmla="*/ 180 w 1458"/>
                <a:gd name="T5" fmla="*/ 3336 h 3336"/>
                <a:gd name="T6" fmla="*/ 170 w 1458"/>
                <a:gd name="T7" fmla="*/ 3336 h 3336"/>
                <a:gd name="T8" fmla="*/ 160 w 1458"/>
                <a:gd name="T9" fmla="*/ 3336 h 3336"/>
                <a:gd name="T10" fmla="*/ 150 w 1458"/>
                <a:gd name="T11" fmla="*/ 3336 h 3336"/>
                <a:gd name="T12" fmla="*/ 140 w 1458"/>
                <a:gd name="T13" fmla="*/ 3334 h 3336"/>
                <a:gd name="T14" fmla="*/ 131 w 1458"/>
                <a:gd name="T15" fmla="*/ 3333 h 3336"/>
                <a:gd name="T16" fmla="*/ 122 w 1458"/>
                <a:gd name="T17" fmla="*/ 3329 h 3336"/>
                <a:gd name="T18" fmla="*/ 112 w 1458"/>
                <a:gd name="T19" fmla="*/ 3327 h 3336"/>
                <a:gd name="T20" fmla="*/ 104 w 1458"/>
                <a:gd name="T21" fmla="*/ 3323 h 3336"/>
                <a:gd name="T22" fmla="*/ 96 w 1458"/>
                <a:gd name="T23" fmla="*/ 3320 h 3336"/>
                <a:gd name="T24" fmla="*/ 87 w 1458"/>
                <a:gd name="T25" fmla="*/ 3315 h 3336"/>
                <a:gd name="T26" fmla="*/ 80 w 1458"/>
                <a:gd name="T27" fmla="*/ 3310 h 3336"/>
                <a:gd name="T28" fmla="*/ 65 w 1458"/>
                <a:gd name="T29" fmla="*/ 3299 h 3336"/>
                <a:gd name="T30" fmla="*/ 52 w 1458"/>
                <a:gd name="T31" fmla="*/ 3286 h 3336"/>
                <a:gd name="T32" fmla="*/ 39 w 1458"/>
                <a:gd name="T33" fmla="*/ 3271 h 3336"/>
                <a:gd name="T34" fmla="*/ 28 w 1458"/>
                <a:gd name="T35" fmla="*/ 3256 h 3336"/>
                <a:gd name="T36" fmla="*/ 19 w 1458"/>
                <a:gd name="T37" fmla="*/ 3239 h 3336"/>
                <a:gd name="T38" fmla="*/ 12 w 1458"/>
                <a:gd name="T39" fmla="*/ 3220 h 3336"/>
                <a:gd name="T40" fmla="*/ 6 w 1458"/>
                <a:gd name="T41" fmla="*/ 3202 h 3336"/>
                <a:gd name="T42" fmla="*/ 2 w 1458"/>
                <a:gd name="T43" fmla="*/ 3181 h 3336"/>
                <a:gd name="T44" fmla="*/ 0 w 1458"/>
                <a:gd name="T45" fmla="*/ 3162 h 3336"/>
                <a:gd name="T46" fmla="*/ 0 w 1458"/>
                <a:gd name="T47" fmla="*/ 3140 h 3336"/>
                <a:gd name="T48" fmla="*/ 138 w 1458"/>
                <a:gd name="T49" fmla="*/ 638 h 3336"/>
                <a:gd name="T50" fmla="*/ 139 w 1458"/>
                <a:gd name="T51" fmla="*/ 609 h 3336"/>
                <a:gd name="T52" fmla="*/ 143 w 1458"/>
                <a:gd name="T53" fmla="*/ 582 h 3336"/>
                <a:gd name="T54" fmla="*/ 147 w 1458"/>
                <a:gd name="T55" fmla="*/ 555 h 3336"/>
                <a:gd name="T56" fmla="*/ 151 w 1458"/>
                <a:gd name="T57" fmla="*/ 529 h 3336"/>
                <a:gd name="T58" fmla="*/ 157 w 1458"/>
                <a:gd name="T59" fmla="*/ 504 h 3336"/>
                <a:gd name="T60" fmla="*/ 163 w 1458"/>
                <a:gd name="T61" fmla="*/ 480 h 3336"/>
                <a:gd name="T62" fmla="*/ 171 w 1458"/>
                <a:gd name="T63" fmla="*/ 456 h 3336"/>
                <a:gd name="T64" fmla="*/ 179 w 1458"/>
                <a:gd name="T65" fmla="*/ 433 h 3336"/>
                <a:gd name="T66" fmla="*/ 188 w 1458"/>
                <a:gd name="T67" fmla="*/ 412 h 3336"/>
                <a:gd name="T68" fmla="*/ 198 w 1458"/>
                <a:gd name="T69" fmla="*/ 391 h 3336"/>
                <a:gd name="T70" fmla="*/ 208 w 1458"/>
                <a:gd name="T71" fmla="*/ 371 h 3336"/>
                <a:gd name="T72" fmla="*/ 219 w 1458"/>
                <a:gd name="T73" fmla="*/ 351 h 3336"/>
                <a:gd name="T74" fmla="*/ 231 w 1458"/>
                <a:gd name="T75" fmla="*/ 333 h 3336"/>
                <a:gd name="T76" fmla="*/ 244 w 1458"/>
                <a:gd name="T77" fmla="*/ 316 h 3336"/>
                <a:gd name="T78" fmla="*/ 257 w 1458"/>
                <a:gd name="T79" fmla="*/ 299 h 3336"/>
                <a:gd name="T80" fmla="*/ 271 w 1458"/>
                <a:gd name="T81" fmla="*/ 283 h 3336"/>
                <a:gd name="T82" fmla="*/ 286 w 1458"/>
                <a:gd name="T83" fmla="*/ 268 h 3336"/>
                <a:gd name="T84" fmla="*/ 301 w 1458"/>
                <a:gd name="T85" fmla="*/ 253 h 3336"/>
                <a:gd name="T86" fmla="*/ 318 w 1458"/>
                <a:gd name="T87" fmla="*/ 240 h 3336"/>
                <a:gd name="T88" fmla="*/ 334 w 1458"/>
                <a:gd name="T89" fmla="*/ 227 h 3336"/>
                <a:gd name="T90" fmla="*/ 351 w 1458"/>
                <a:gd name="T91" fmla="*/ 215 h 3336"/>
                <a:gd name="T92" fmla="*/ 368 w 1458"/>
                <a:gd name="T93" fmla="*/ 203 h 3336"/>
                <a:gd name="T94" fmla="*/ 387 w 1458"/>
                <a:gd name="T95" fmla="*/ 194 h 3336"/>
                <a:gd name="T96" fmla="*/ 405 w 1458"/>
                <a:gd name="T97" fmla="*/ 184 h 3336"/>
                <a:gd name="T98" fmla="*/ 424 w 1458"/>
                <a:gd name="T99" fmla="*/ 174 h 3336"/>
                <a:gd name="T100" fmla="*/ 444 w 1458"/>
                <a:gd name="T101" fmla="*/ 167 h 3336"/>
                <a:gd name="T102" fmla="*/ 464 w 1458"/>
                <a:gd name="T103" fmla="*/ 159 h 3336"/>
                <a:gd name="T104" fmla="*/ 485 w 1458"/>
                <a:gd name="T105" fmla="*/ 153 h 3336"/>
                <a:gd name="T106" fmla="*/ 507 w 1458"/>
                <a:gd name="T107" fmla="*/ 146 h 3336"/>
                <a:gd name="T108" fmla="*/ 528 w 1458"/>
                <a:gd name="T109" fmla="*/ 141 h 3336"/>
                <a:gd name="T110" fmla="*/ 550 w 1458"/>
                <a:gd name="T111" fmla="*/ 136 h 3336"/>
                <a:gd name="T112" fmla="*/ 572 w 1458"/>
                <a:gd name="T113" fmla="*/ 133 h 3336"/>
                <a:gd name="T114" fmla="*/ 1458 w 1458"/>
                <a:gd name="T115" fmla="*/ 0 h 3336"/>
                <a:gd name="T116" fmla="*/ 1458 w 1458"/>
                <a:gd name="T117" fmla="*/ 3144 h 3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58" h="3336">
                  <a:moveTo>
                    <a:pt x="1458" y="3144"/>
                  </a:moveTo>
                  <a:lnTo>
                    <a:pt x="190" y="3335"/>
                  </a:lnTo>
                  <a:lnTo>
                    <a:pt x="180" y="3336"/>
                  </a:lnTo>
                  <a:lnTo>
                    <a:pt x="170" y="3336"/>
                  </a:lnTo>
                  <a:lnTo>
                    <a:pt x="160" y="3336"/>
                  </a:lnTo>
                  <a:lnTo>
                    <a:pt x="150" y="3336"/>
                  </a:lnTo>
                  <a:lnTo>
                    <a:pt x="140" y="3334"/>
                  </a:lnTo>
                  <a:lnTo>
                    <a:pt x="131" y="3333"/>
                  </a:lnTo>
                  <a:lnTo>
                    <a:pt x="122" y="3329"/>
                  </a:lnTo>
                  <a:lnTo>
                    <a:pt x="112" y="3327"/>
                  </a:lnTo>
                  <a:lnTo>
                    <a:pt x="104" y="3323"/>
                  </a:lnTo>
                  <a:lnTo>
                    <a:pt x="96" y="3320"/>
                  </a:lnTo>
                  <a:lnTo>
                    <a:pt x="87" y="3315"/>
                  </a:lnTo>
                  <a:lnTo>
                    <a:pt x="80" y="3310"/>
                  </a:lnTo>
                  <a:lnTo>
                    <a:pt x="65" y="3299"/>
                  </a:lnTo>
                  <a:lnTo>
                    <a:pt x="52" y="3286"/>
                  </a:lnTo>
                  <a:lnTo>
                    <a:pt x="39" y="3271"/>
                  </a:lnTo>
                  <a:lnTo>
                    <a:pt x="28" y="3256"/>
                  </a:lnTo>
                  <a:lnTo>
                    <a:pt x="19" y="3239"/>
                  </a:lnTo>
                  <a:lnTo>
                    <a:pt x="12" y="3220"/>
                  </a:lnTo>
                  <a:lnTo>
                    <a:pt x="6" y="3202"/>
                  </a:lnTo>
                  <a:lnTo>
                    <a:pt x="2" y="3181"/>
                  </a:lnTo>
                  <a:lnTo>
                    <a:pt x="0" y="3162"/>
                  </a:lnTo>
                  <a:lnTo>
                    <a:pt x="0" y="3140"/>
                  </a:lnTo>
                  <a:lnTo>
                    <a:pt x="138" y="638"/>
                  </a:lnTo>
                  <a:lnTo>
                    <a:pt x="139" y="609"/>
                  </a:lnTo>
                  <a:lnTo>
                    <a:pt x="143" y="582"/>
                  </a:lnTo>
                  <a:lnTo>
                    <a:pt x="147" y="555"/>
                  </a:lnTo>
                  <a:lnTo>
                    <a:pt x="151" y="529"/>
                  </a:lnTo>
                  <a:lnTo>
                    <a:pt x="157" y="504"/>
                  </a:lnTo>
                  <a:lnTo>
                    <a:pt x="163" y="480"/>
                  </a:lnTo>
                  <a:lnTo>
                    <a:pt x="171" y="456"/>
                  </a:lnTo>
                  <a:lnTo>
                    <a:pt x="179" y="433"/>
                  </a:lnTo>
                  <a:lnTo>
                    <a:pt x="188" y="412"/>
                  </a:lnTo>
                  <a:lnTo>
                    <a:pt x="198" y="391"/>
                  </a:lnTo>
                  <a:lnTo>
                    <a:pt x="208" y="371"/>
                  </a:lnTo>
                  <a:lnTo>
                    <a:pt x="219" y="351"/>
                  </a:lnTo>
                  <a:lnTo>
                    <a:pt x="231" y="333"/>
                  </a:lnTo>
                  <a:lnTo>
                    <a:pt x="244" y="316"/>
                  </a:lnTo>
                  <a:lnTo>
                    <a:pt x="257" y="299"/>
                  </a:lnTo>
                  <a:lnTo>
                    <a:pt x="271" y="283"/>
                  </a:lnTo>
                  <a:lnTo>
                    <a:pt x="286" y="268"/>
                  </a:lnTo>
                  <a:lnTo>
                    <a:pt x="301" y="253"/>
                  </a:lnTo>
                  <a:lnTo>
                    <a:pt x="318" y="240"/>
                  </a:lnTo>
                  <a:lnTo>
                    <a:pt x="334" y="227"/>
                  </a:lnTo>
                  <a:lnTo>
                    <a:pt x="351" y="215"/>
                  </a:lnTo>
                  <a:lnTo>
                    <a:pt x="368" y="203"/>
                  </a:lnTo>
                  <a:lnTo>
                    <a:pt x="387" y="194"/>
                  </a:lnTo>
                  <a:lnTo>
                    <a:pt x="405" y="184"/>
                  </a:lnTo>
                  <a:lnTo>
                    <a:pt x="424" y="174"/>
                  </a:lnTo>
                  <a:lnTo>
                    <a:pt x="444" y="167"/>
                  </a:lnTo>
                  <a:lnTo>
                    <a:pt x="464" y="159"/>
                  </a:lnTo>
                  <a:lnTo>
                    <a:pt x="485" y="153"/>
                  </a:lnTo>
                  <a:lnTo>
                    <a:pt x="507" y="146"/>
                  </a:lnTo>
                  <a:lnTo>
                    <a:pt x="528" y="141"/>
                  </a:lnTo>
                  <a:lnTo>
                    <a:pt x="550" y="136"/>
                  </a:lnTo>
                  <a:lnTo>
                    <a:pt x="572" y="133"/>
                  </a:lnTo>
                  <a:lnTo>
                    <a:pt x="1458" y="0"/>
                  </a:lnTo>
                  <a:lnTo>
                    <a:pt x="1458" y="3144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9" name="Freeform 9"/>
            <p:cNvSpPr>
              <a:spLocks/>
            </p:cNvSpPr>
            <p:nvPr userDrawn="1"/>
          </p:nvSpPr>
          <p:spPr bwMode="auto">
            <a:xfrm>
              <a:off x="7999413" y="5721350"/>
              <a:ext cx="1144588" cy="1136650"/>
            </a:xfrm>
            <a:custGeom>
              <a:avLst/>
              <a:gdLst>
                <a:gd name="T0" fmla="*/ 705 w 2162"/>
                <a:gd name="T1" fmla="*/ 2147 h 2147"/>
                <a:gd name="T2" fmla="*/ 17 w 2162"/>
                <a:gd name="T3" fmla="*/ 792 h 2147"/>
                <a:gd name="T4" fmla="*/ 13 w 2162"/>
                <a:gd name="T5" fmla="*/ 782 h 2147"/>
                <a:gd name="T6" fmla="*/ 8 w 2162"/>
                <a:gd name="T7" fmla="*/ 773 h 2147"/>
                <a:gd name="T8" fmla="*/ 5 w 2162"/>
                <a:gd name="T9" fmla="*/ 764 h 2147"/>
                <a:gd name="T10" fmla="*/ 3 w 2162"/>
                <a:gd name="T11" fmla="*/ 754 h 2147"/>
                <a:gd name="T12" fmla="*/ 1 w 2162"/>
                <a:gd name="T13" fmla="*/ 744 h 2147"/>
                <a:gd name="T14" fmla="*/ 0 w 2162"/>
                <a:gd name="T15" fmla="*/ 735 h 2147"/>
                <a:gd name="T16" fmla="*/ 0 w 2162"/>
                <a:gd name="T17" fmla="*/ 726 h 2147"/>
                <a:gd name="T18" fmla="*/ 0 w 2162"/>
                <a:gd name="T19" fmla="*/ 716 h 2147"/>
                <a:gd name="T20" fmla="*/ 0 w 2162"/>
                <a:gd name="T21" fmla="*/ 707 h 2147"/>
                <a:gd name="T22" fmla="*/ 1 w 2162"/>
                <a:gd name="T23" fmla="*/ 698 h 2147"/>
                <a:gd name="T24" fmla="*/ 3 w 2162"/>
                <a:gd name="T25" fmla="*/ 688 h 2147"/>
                <a:gd name="T26" fmla="*/ 5 w 2162"/>
                <a:gd name="T27" fmla="*/ 680 h 2147"/>
                <a:gd name="T28" fmla="*/ 12 w 2162"/>
                <a:gd name="T29" fmla="*/ 662 h 2147"/>
                <a:gd name="T30" fmla="*/ 19 w 2162"/>
                <a:gd name="T31" fmla="*/ 645 h 2147"/>
                <a:gd name="T32" fmla="*/ 29 w 2162"/>
                <a:gd name="T33" fmla="*/ 629 h 2147"/>
                <a:gd name="T34" fmla="*/ 41 w 2162"/>
                <a:gd name="T35" fmla="*/ 614 h 2147"/>
                <a:gd name="T36" fmla="*/ 54 w 2162"/>
                <a:gd name="T37" fmla="*/ 600 h 2147"/>
                <a:gd name="T38" fmla="*/ 69 w 2162"/>
                <a:gd name="T39" fmla="*/ 587 h 2147"/>
                <a:gd name="T40" fmla="*/ 85 w 2162"/>
                <a:gd name="T41" fmla="*/ 576 h 2147"/>
                <a:gd name="T42" fmla="*/ 102 w 2162"/>
                <a:gd name="T43" fmla="*/ 565 h 2147"/>
                <a:gd name="T44" fmla="*/ 121 w 2162"/>
                <a:gd name="T45" fmla="*/ 558 h 2147"/>
                <a:gd name="T46" fmla="*/ 141 w 2162"/>
                <a:gd name="T47" fmla="*/ 551 h 2147"/>
                <a:gd name="T48" fmla="*/ 2162 w 2162"/>
                <a:gd name="T49" fmla="*/ 0 h 2147"/>
                <a:gd name="T50" fmla="*/ 2162 w 2162"/>
                <a:gd name="T51" fmla="*/ 2147 h 2147"/>
                <a:gd name="T52" fmla="*/ 705 w 2162"/>
                <a:gd name="T53" fmla="*/ 2147 h 2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162" h="2147">
                  <a:moveTo>
                    <a:pt x="705" y="2147"/>
                  </a:moveTo>
                  <a:lnTo>
                    <a:pt x="17" y="792"/>
                  </a:lnTo>
                  <a:lnTo>
                    <a:pt x="13" y="782"/>
                  </a:lnTo>
                  <a:lnTo>
                    <a:pt x="8" y="773"/>
                  </a:lnTo>
                  <a:lnTo>
                    <a:pt x="5" y="764"/>
                  </a:lnTo>
                  <a:lnTo>
                    <a:pt x="3" y="754"/>
                  </a:lnTo>
                  <a:lnTo>
                    <a:pt x="1" y="744"/>
                  </a:lnTo>
                  <a:lnTo>
                    <a:pt x="0" y="735"/>
                  </a:lnTo>
                  <a:lnTo>
                    <a:pt x="0" y="726"/>
                  </a:lnTo>
                  <a:lnTo>
                    <a:pt x="0" y="716"/>
                  </a:lnTo>
                  <a:lnTo>
                    <a:pt x="0" y="707"/>
                  </a:lnTo>
                  <a:lnTo>
                    <a:pt x="1" y="698"/>
                  </a:lnTo>
                  <a:lnTo>
                    <a:pt x="3" y="688"/>
                  </a:lnTo>
                  <a:lnTo>
                    <a:pt x="5" y="680"/>
                  </a:lnTo>
                  <a:lnTo>
                    <a:pt x="12" y="662"/>
                  </a:lnTo>
                  <a:lnTo>
                    <a:pt x="19" y="645"/>
                  </a:lnTo>
                  <a:lnTo>
                    <a:pt x="29" y="629"/>
                  </a:lnTo>
                  <a:lnTo>
                    <a:pt x="41" y="614"/>
                  </a:lnTo>
                  <a:lnTo>
                    <a:pt x="54" y="600"/>
                  </a:lnTo>
                  <a:lnTo>
                    <a:pt x="69" y="587"/>
                  </a:lnTo>
                  <a:lnTo>
                    <a:pt x="85" y="576"/>
                  </a:lnTo>
                  <a:lnTo>
                    <a:pt x="102" y="565"/>
                  </a:lnTo>
                  <a:lnTo>
                    <a:pt x="121" y="558"/>
                  </a:lnTo>
                  <a:lnTo>
                    <a:pt x="141" y="551"/>
                  </a:lnTo>
                  <a:lnTo>
                    <a:pt x="2162" y="0"/>
                  </a:lnTo>
                  <a:lnTo>
                    <a:pt x="2162" y="2147"/>
                  </a:lnTo>
                  <a:lnTo>
                    <a:pt x="705" y="2147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1" name="Freeform 11"/>
            <p:cNvSpPr>
              <a:spLocks/>
            </p:cNvSpPr>
            <p:nvPr userDrawn="1"/>
          </p:nvSpPr>
          <p:spPr bwMode="auto">
            <a:xfrm>
              <a:off x="6105525" y="5953125"/>
              <a:ext cx="1589088" cy="904875"/>
            </a:xfrm>
            <a:custGeom>
              <a:avLst/>
              <a:gdLst>
                <a:gd name="T0" fmla="*/ 0 w 3003"/>
                <a:gd name="T1" fmla="*/ 1709 h 1709"/>
                <a:gd name="T2" fmla="*/ 1688 w 3003"/>
                <a:gd name="T3" fmla="*/ 45 h 1709"/>
                <a:gd name="T4" fmla="*/ 1695 w 3003"/>
                <a:gd name="T5" fmla="*/ 39 h 1709"/>
                <a:gd name="T6" fmla="*/ 1704 w 3003"/>
                <a:gd name="T7" fmla="*/ 32 h 1709"/>
                <a:gd name="T8" fmla="*/ 1711 w 3003"/>
                <a:gd name="T9" fmla="*/ 26 h 1709"/>
                <a:gd name="T10" fmla="*/ 1720 w 3003"/>
                <a:gd name="T11" fmla="*/ 20 h 1709"/>
                <a:gd name="T12" fmla="*/ 1729 w 3003"/>
                <a:gd name="T13" fmla="*/ 16 h 1709"/>
                <a:gd name="T14" fmla="*/ 1737 w 3003"/>
                <a:gd name="T15" fmla="*/ 12 h 1709"/>
                <a:gd name="T16" fmla="*/ 1746 w 3003"/>
                <a:gd name="T17" fmla="*/ 8 h 1709"/>
                <a:gd name="T18" fmla="*/ 1755 w 3003"/>
                <a:gd name="T19" fmla="*/ 6 h 1709"/>
                <a:gd name="T20" fmla="*/ 1764 w 3003"/>
                <a:gd name="T21" fmla="*/ 3 h 1709"/>
                <a:gd name="T22" fmla="*/ 1773 w 3003"/>
                <a:gd name="T23" fmla="*/ 2 h 1709"/>
                <a:gd name="T24" fmla="*/ 1783 w 3003"/>
                <a:gd name="T25" fmla="*/ 1 h 1709"/>
                <a:gd name="T26" fmla="*/ 1791 w 3003"/>
                <a:gd name="T27" fmla="*/ 0 h 1709"/>
                <a:gd name="T28" fmla="*/ 1811 w 3003"/>
                <a:gd name="T29" fmla="*/ 0 h 1709"/>
                <a:gd name="T30" fmla="*/ 1829 w 3003"/>
                <a:gd name="T31" fmla="*/ 3 h 1709"/>
                <a:gd name="T32" fmla="*/ 1847 w 3003"/>
                <a:gd name="T33" fmla="*/ 7 h 1709"/>
                <a:gd name="T34" fmla="*/ 1865 w 3003"/>
                <a:gd name="T35" fmla="*/ 14 h 1709"/>
                <a:gd name="T36" fmla="*/ 1882 w 3003"/>
                <a:gd name="T37" fmla="*/ 22 h 1709"/>
                <a:gd name="T38" fmla="*/ 1899 w 3003"/>
                <a:gd name="T39" fmla="*/ 32 h 1709"/>
                <a:gd name="T40" fmla="*/ 1914 w 3003"/>
                <a:gd name="T41" fmla="*/ 44 h 1709"/>
                <a:gd name="T42" fmla="*/ 1930 w 3003"/>
                <a:gd name="T43" fmla="*/ 58 h 1709"/>
                <a:gd name="T44" fmla="*/ 1944 w 3003"/>
                <a:gd name="T45" fmla="*/ 73 h 1709"/>
                <a:gd name="T46" fmla="*/ 1955 w 3003"/>
                <a:gd name="T47" fmla="*/ 90 h 1709"/>
                <a:gd name="T48" fmla="*/ 3003 w 3003"/>
                <a:gd name="T49" fmla="*/ 1709 h 1709"/>
                <a:gd name="T50" fmla="*/ 0 w 3003"/>
                <a:gd name="T51" fmla="*/ 1709 h 1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03" h="1709">
                  <a:moveTo>
                    <a:pt x="0" y="1709"/>
                  </a:moveTo>
                  <a:lnTo>
                    <a:pt x="1688" y="45"/>
                  </a:lnTo>
                  <a:lnTo>
                    <a:pt x="1695" y="39"/>
                  </a:lnTo>
                  <a:lnTo>
                    <a:pt x="1704" y="32"/>
                  </a:lnTo>
                  <a:lnTo>
                    <a:pt x="1711" y="26"/>
                  </a:lnTo>
                  <a:lnTo>
                    <a:pt x="1720" y="20"/>
                  </a:lnTo>
                  <a:lnTo>
                    <a:pt x="1729" y="16"/>
                  </a:lnTo>
                  <a:lnTo>
                    <a:pt x="1737" y="12"/>
                  </a:lnTo>
                  <a:lnTo>
                    <a:pt x="1746" y="8"/>
                  </a:lnTo>
                  <a:lnTo>
                    <a:pt x="1755" y="6"/>
                  </a:lnTo>
                  <a:lnTo>
                    <a:pt x="1764" y="3"/>
                  </a:lnTo>
                  <a:lnTo>
                    <a:pt x="1773" y="2"/>
                  </a:lnTo>
                  <a:lnTo>
                    <a:pt x="1783" y="1"/>
                  </a:lnTo>
                  <a:lnTo>
                    <a:pt x="1791" y="0"/>
                  </a:lnTo>
                  <a:lnTo>
                    <a:pt x="1811" y="0"/>
                  </a:lnTo>
                  <a:lnTo>
                    <a:pt x="1829" y="3"/>
                  </a:lnTo>
                  <a:lnTo>
                    <a:pt x="1847" y="7"/>
                  </a:lnTo>
                  <a:lnTo>
                    <a:pt x="1865" y="14"/>
                  </a:lnTo>
                  <a:lnTo>
                    <a:pt x="1882" y="22"/>
                  </a:lnTo>
                  <a:lnTo>
                    <a:pt x="1899" y="32"/>
                  </a:lnTo>
                  <a:lnTo>
                    <a:pt x="1914" y="44"/>
                  </a:lnTo>
                  <a:lnTo>
                    <a:pt x="1930" y="58"/>
                  </a:lnTo>
                  <a:lnTo>
                    <a:pt x="1944" y="73"/>
                  </a:lnTo>
                  <a:lnTo>
                    <a:pt x="1955" y="90"/>
                  </a:lnTo>
                  <a:lnTo>
                    <a:pt x="3003" y="1709"/>
                  </a:lnTo>
                  <a:lnTo>
                    <a:pt x="0" y="1709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3" name="Freeform 13"/>
            <p:cNvSpPr>
              <a:spLocks/>
            </p:cNvSpPr>
            <p:nvPr userDrawn="1"/>
          </p:nvSpPr>
          <p:spPr bwMode="auto">
            <a:xfrm>
              <a:off x="4116388" y="3810000"/>
              <a:ext cx="2773363" cy="2447925"/>
            </a:xfrm>
            <a:custGeom>
              <a:avLst/>
              <a:gdLst>
                <a:gd name="T0" fmla="*/ 5156 w 5241"/>
                <a:gd name="T1" fmla="*/ 2193 h 4627"/>
                <a:gd name="T2" fmla="*/ 5173 w 5241"/>
                <a:gd name="T3" fmla="*/ 2204 h 4627"/>
                <a:gd name="T4" fmla="*/ 5190 w 5241"/>
                <a:gd name="T5" fmla="*/ 2216 h 4627"/>
                <a:gd name="T6" fmla="*/ 5203 w 5241"/>
                <a:gd name="T7" fmla="*/ 2230 h 4627"/>
                <a:gd name="T8" fmla="*/ 5214 w 5241"/>
                <a:gd name="T9" fmla="*/ 2244 h 4627"/>
                <a:gd name="T10" fmla="*/ 5224 w 5241"/>
                <a:gd name="T11" fmla="*/ 2260 h 4627"/>
                <a:gd name="T12" fmla="*/ 5232 w 5241"/>
                <a:gd name="T13" fmla="*/ 2278 h 4627"/>
                <a:gd name="T14" fmla="*/ 5240 w 5241"/>
                <a:gd name="T15" fmla="*/ 2314 h 4627"/>
                <a:gd name="T16" fmla="*/ 5241 w 5241"/>
                <a:gd name="T17" fmla="*/ 2352 h 4627"/>
                <a:gd name="T18" fmla="*/ 5234 w 5241"/>
                <a:gd name="T19" fmla="*/ 2390 h 4627"/>
                <a:gd name="T20" fmla="*/ 5219 w 5241"/>
                <a:gd name="T21" fmla="*/ 2427 h 4627"/>
                <a:gd name="T22" fmla="*/ 5196 w 5241"/>
                <a:gd name="T23" fmla="*/ 2461 h 4627"/>
                <a:gd name="T24" fmla="*/ 3600 w 5241"/>
                <a:gd name="T25" fmla="*/ 4431 h 4627"/>
                <a:gd name="T26" fmla="*/ 3563 w 5241"/>
                <a:gd name="T27" fmla="*/ 4471 h 4627"/>
                <a:gd name="T28" fmla="*/ 3524 w 5241"/>
                <a:gd name="T29" fmla="*/ 4506 h 4627"/>
                <a:gd name="T30" fmla="*/ 3485 w 5241"/>
                <a:gd name="T31" fmla="*/ 4537 h 4627"/>
                <a:gd name="T32" fmla="*/ 3445 w 5241"/>
                <a:gd name="T33" fmla="*/ 4562 h 4627"/>
                <a:gd name="T34" fmla="*/ 3405 w 5241"/>
                <a:gd name="T35" fmla="*/ 4584 h 4627"/>
                <a:gd name="T36" fmla="*/ 3364 w 5241"/>
                <a:gd name="T37" fmla="*/ 4601 h 4627"/>
                <a:gd name="T38" fmla="*/ 3323 w 5241"/>
                <a:gd name="T39" fmla="*/ 4614 h 4627"/>
                <a:gd name="T40" fmla="*/ 3281 w 5241"/>
                <a:gd name="T41" fmla="*/ 4623 h 4627"/>
                <a:gd name="T42" fmla="*/ 3240 w 5241"/>
                <a:gd name="T43" fmla="*/ 4627 h 4627"/>
                <a:gd name="T44" fmla="*/ 3198 w 5241"/>
                <a:gd name="T45" fmla="*/ 4627 h 4627"/>
                <a:gd name="T46" fmla="*/ 3157 w 5241"/>
                <a:gd name="T47" fmla="*/ 4624 h 4627"/>
                <a:gd name="T48" fmla="*/ 3115 w 5241"/>
                <a:gd name="T49" fmla="*/ 4616 h 4627"/>
                <a:gd name="T50" fmla="*/ 3073 w 5241"/>
                <a:gd name="T51" fmla="*/ 4606 h 4627"/>
                <a:gd name="T52" fmla="*/ 3032 w 5241"/>
                <a:gd name="T53" fmla="*/ 4592 h 4627"/>
                <a:gd name="T54" fmla="*/ 2991 w 5241"/>
                <a:gd name="T55" fmla="*/ 4574 h 4627"/>
                <a:gd name="T56" fmla="*/ 277 w 5241"/>
                <a:gd name="T57" fmla="*/ 3172 h 4627"/>
                <a:gd name="T58" fmla="*/ 237 w 5241"/>
                <a:gd name="T59" fmla="*/ 3150 h 4627"/>
                <a:gd name="T60" fmla="*/ 200 w 5241"/>
                <a:gd name="T61" fmla="*/ 3125 h 4627"/>
                <a:gd name="T62" fmla="*/ 166 w 5241"/>
                <a:gd name="T63" fmla="*/ 3099 h 4627"/>
                <a:gd name="T64" fmla="*/ 134 w 5241"/>
                <a:gd name="T65" fmla="*/ 3070 h 4627"/>
                <a:gd name="T66" fmla="*/ 106 w 5241"/>
                <a:gd name="T67" fmla="*/ 3039 h 4627"/>
                <a:gd name="T68" fmla="*/ 81 w 5241"/>
                <a:gd name="T69" fmla="*/ 3006 h 4627"/>
                <a:gd name="T70" fmla="*/ 58 w 5241"/>
                <a:gd name="T71" fmla="*/ 2971 h 4627"/>
                <a:gd name="T72" fmla="*/ 40 w 5241"/>
                <a:gd name="T73" fmla="*/ 2933 h 4627"/>
                <a:gd name="T74" fmla="*/ 24 w 5241"/>
                <a:gd name="T75" fmla="*/ 2893 h 4627"/>
                <a:gd name="T76" fmla="*/ 13 w 5241"/>
                <a:gd name="T77" fmla="*/ 2851 h 4627"/>
                <a:gd name="T78" fmla="*/ 4 w 5241"/>
                <a:gd name="T79" fmla="*/ 2807 h 4627"/>
                <a:gd name="T80" fmla="*/ 1 w 5241"/>
                <a:gd name="T81" fmla="*/ 2761 h 4627"/>
                <a:gd name="T82" fmla="*/ 1 w 5241"/>
                <a:gd name="T83" fmla="*/ 2713 h 4627"/>
                <a:gd name="T84" fmla="*/ 6 w 5241"/>
                <a:gd name="T85" fmla="*/ 2662 h 4627"/>
                <a:gd name="T86" fmla="*/ 14 w 5241"/>
                <a:gd name="T87" fmla="*/ 2609 h 4627"/>
                <a:gd name="T88" fmla="*/ 28 w 5241"/>
                <a:gd name="T89" fmla="*/ 2554 h 4627"/>
                <a:gd name="T90" fmla="*/ 711 w 5241"/>
                <a:gd name="T91" fmla="*/ 121 h 4627"/>
                <a:gd name="T92" fmla="*/ 729 w 5241"/>
                <a:gd name="T93" fmla="*/ 84 h 4627"/>
                <a:gd name="T94" fmla="*/ 753 w 5241"/>
                <a:gd name="T95" fmla="*/ 54 h 4627"/>
                <a:gd name="T96" fmla="*/ 782 w 5241"/>
                <a:gd name="T97" fmla="*/ 29 h 4627"/>
                <a:gd name="T98" fmla="*/ 816 w 5241"/>
                <a:gd name="T99" fmla="*/ 11 h 4627"/>
                <a:gd name="T100" fmla="*/ 843 w 5241"/>
                <a:gd name="T101" fmla="*/ 3 h 4627"/>
                <a:gd name="T102" fmla="*/ 861 w 5241"/>
                <a:gd name="T103" fmla="*/ 1 h 4627"/>
                <a:gd name="T104" fmla="*/ 879 w 5241"/>
                <a:gd name="T105" fmla="*/ 0 h 4627"/>
                <a:gd name="T106" fmla="*/ 899 w 5241"/>
                <a:gd name="T107" fmla="*/ 2 h 4627"/>
                <a:gd name="T108" fmla="*/ 917 w 5241"/>
                <a:gd name="T109" fmla="*/ 7 h 4627"/>
                <a:gd name="T110" fmla="*/ 937 w 5241"/>
                <a:gd name="T111" fmla="*/ 13 h 4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241" h="4627">
                  <a:moveTo>
                    <a:pt x="946" y="19"/>
                  </a:moveTo>
                  <a:lnTo>
                    <a:pt x="5156" y="2193"/>
                  </a:lnTo>
                  <a:lnTo>
                    <a:pt x="5165" y="2199"/>
                  </a:lnTo>
                  <a:lnTo>
                    <a:pt x="5173" y="2204"/>
                  </a:lnTo>
                  <a:lnTo>
                    <a:pt x="5182" y="2210"/>
                  </a:lnTo>
                  <a:lnTo>
                    <a:pt x="5190" y="2216"/>
                  </a:lnTo>
                  <a:lnTo>
                    <a:pt x="5196" y="2223"/>
                  </a:lnTo>
                  <a:lnTo>
                    <a:pt x="5203" y="2230"/>
                  </a:lnTo>
                  <a:lnTo>
                    <a:pt x="5209" y="2237"/>
                  </a:lnTo>
                  <a:lnTo>
                    <a:pt x="5214" y="2244"/>
                  </a:lnTo>
                  <a:lnTo>
                    <a:pt x="5220" y="2253"/>
                  </a:lnTo>
                  <a:lnTo>
                    <a:pt x="5224" y="2260"/>
                  </a:lnTo>
                  <a:lnTo>
                    <a:pt x="5228" y="2269"/>
                  </a:lnTo>
                  <a:lnTo>
                    <a:pt x="5232" y="2278"/>
                  </a:lnTo>
                  <a:lnTo>
                    <a:pt x="5237" y="2296"/>
                  </a:lnTo>
                  <a:lnTo>
                    <a:pt x="5240" y="2314"/>
                  </a:lnTo>
                  <a:lnTo>
                    <a:pt x="5241" y="2333"/>
                  </a:lnTo>
                  <a:lnTo>
                    <a:pt x="5241" y="2352"/>
                  </a:lnTo>
                  <a:lnTo>
                    <a:pt x="5238" y="2370"/>
                  </a:lnTo>
                  <a:lnTo>
                    <a:pt x="5234" y="2390"/>
                  </a:lnTo>
                  <a:lnTo>
                    <a:pt x="5227" y="2408"/>
                  </a:lnTo>
                  <a:lnTo>
                    <a:pt x="5219" y="2427"/>
                  </a:lnTo>
                  <a:lnTo>
                    <a:pt x="5209" y="2445"/>
                  </a:lnTo>
                  <a:lnTo>
                    <a:pt x="5196" y="2461"/>
                  </a:lnTo>
                  <a:lnTo>
                    <a:pt x="3619" y="4409"/>
                  </a:lnTo>
                  <a:lnTo>
                    <a:pt x="3600" y="4431"/>
                  </a:lnTo>
                  <a:lnTo>
                    <a:pt x="3581" y="4451"/>
                  </a:lnTo>
                  <a:lnTo>
                    <a:pt x="3563" y="4471"/>
                  </a:lnTo>
                  <a:lnTo>
                    <a:pt x="3544" y="4489"/>
                  </a:lnTo>
                  <a:lnTo>
                    <a:pt x="3524" y="4506"/>
                  </a:lnTo>
                  <a:lnTo>
                    <a:pt x="3505" y="4523"/>
                  </a:lnTo>
                  <a:lnTo>
                    <a:pt x="3485" y="4537"/>
                  </a:lnTo>
                  <a:lnTo>
                    <a:pt x="3466" y="4551"/>
                  </a:lnTo>
                  <a:lnTo>
                    <a:pt x="3445" y="4562"/>
                  </a:lnTo>
                  <a:lnTo>
                    <a:pt x="3426" y="4574"/>
                  </a:lnTo>
                  <a:lnTo>
                    <a:pt x="3405" y="4584"/>
                  </a:lnTo>
                  <a:lnTo>
                    <a:pt x="3385" y="4594"/>
                  </a:lnTo>
                  <a:lnTo>
                    <a:pt x="3364" y="4601"/>
                  </a:lnTo>
                  <a:lnTo>
                    <a:pt x="3344" y="4608"/>
                  </a:lnTo>
                  <a:lnTo>
                    <a:pt x="3323" y="4614"/>
                  </a:lnTo>
                  <a:lnTo>
                    <a:pt x="3303" y="4619"/>
                  </a:lnTo>
                  <a:lnTo>
                    <a:pt x="3281" y="4623"/>
                  </a:lnTo>
                  <a:lnTo>
                    <a:pt x="3261" y="4625"/>
                  </a:lnTo>
                  <a:lnTo>
                    <a:pt x="3240" y="4627"/>
                  </a:lnTo>
                  <a:lnTo>
                    <a:pt x="3220" y="4627"/>
                  </a:lnTo>
                  <a:lnTo>
                    <a:pt x="3198" y="4627"/>
                  </a:lnTo>
                  <a:lnTo>
                    <a:pt x="3178" y="4626"/>
                  </a:lnTo>
                  <a:lnTo>
                    <a:pt x="3157" y="4624"/>
                  </a:lnTo>
                  <a:lnTo>
                    <a:pt x="3135" y="4621"/>
                  </a:lnTo>
                  <a:lnTo>
                    <a:pt x="3115" y="4616"/>
                  </a:lnTo>
                  <a:lnTo>
                    <a:pt x="3094" y="4612"/>
                  </a:lnTo>
                  <a:lnTo>
                    <a:pt x="3073" y="4606"/>
                  </a:lnTo>
                  <a:lnTo>
                    <a:pt x="3052" y="4599"/>
                  </a:lnTo>
                  <a:lnTo>
                    <a:pt x="3032" y="4592"/>
                  </a:lnTo>
                  <a:lnTo>
                    <a:pt x="3011" y="4583"/>
                  </a:lnTo>
                  <a:lnTo>
                    <a:pt x="2991" y="4574"/>
                  </a:lnTo>
                  <a:lnTo>
                    <a:pt x="2970" y="4564"/>
                  </a:lnTo>
                  <a:lnTo>
                    <a:pt x="277" y="3172"/>
                  </a:lnTo>
                  <a:lnTo>
                    <a:pt x="256" y="3161"/>
                  </a:lnTo>
                  <a:lnTo>
                    <a:pt x="237" y="3150"/>
                  </a:lnTo>
                  <a:lnTo>
                    <a:pt x="218" y="3138"/>
                  </a:lnTo>
                  <a:lnTo>
                    <a:pt x="200" y="3125"/>
                  </a:lnTo>
                  <a:lnTo>
                    <a:pt x="183" y="3112"/>
                  </a:lnTo>
                  <a:lnTo>
                    <a:pt x="166" y="3099"/>
                  </a:lnTo>
                  <a:lnTo>
                    <a:pt x="150" y="3085"/>
                  </a:lnTo>
                  <a:lnTo>
                    <a:pt x="134" y="3070"/>
                  </a:lnTo>
                  <a:lnTo>
                    <a:pt x="120" y="3055"/>
                  </a:lnTo>
                  <a:lnTo>
                    <a:pt x="106" y="3039"/>
                  </a:lnTo>
                  <a:lnTo>
                    <a:pt x="93" y="3023"/>
                  </a:lnTo>
                  <a:lnTo>
                    <a:pt x="81" y="3006"/>
                  </a:lnTo>
                  <a:lnTo>
                    <a:pt x="69" y="2989"/>
                  </a:lnTo>
                  <a:lnTo>
                    <a:pt x="58" y="2971"/>
                  </a:lnTo>
                  <a:lnTo>
                    <a:pt x="49" y="2952"/>
                  </a:lnTo>
                  <a:lnTo>
                    <a:pt x="40" y="2933"/>
                  </a:lnTo>
                  <a:lnTo>
                    <a:pt x="31" y="2914"/>
                  </a:lnTo>
                  <a:lnTo>
                    <a:pt x="24" y="2893"/>
                  </a:lnTo>
                  <a:lnTo>
                    <a:pt x="17" y="2873"/>
                  </a:lnTo>
                  <a:lnTo>
                    <a:pt x="13" y="2851"/>
                  </a:lnTo>
                  <a:lnTo>
                    <a:pt x="8" y="2829"/>
                  </a:lnTo>
                  <a:lnTo>
                    <a:pt x="4" y="2807"/>
                  </a:lnTo>
                  <a:lnTo>
                    <a:pt x="2" y="2784"/>
                  </a:lnTo>
                  <a:lnTo>
                    <a:pt x="1" y="2761"/>
                  </a:lnTo>
                  <a:lnTo>
                    <a:pt x="0" y="2737"/>
                  </a:lnTo>
                  <a:lnTo>
                    <a:pt x="1" y="2713"/>
                  </a:lnTo>
                  <a:lnTo>
                    <a:pt x="2" y="2687"/>
                  </a:lnTo>
                  <a:lnTo>
                    <a:pt x="6" y="2662"/>
                  </a:lnTo>
                  <a:lnTo>
                    <a:pt x="10" y="2635"/>
                  </a:lnTo>
                  <a:lnTo>
                    <a:pt x="14" y="2609"/>
                  </a:lnTo>
                  <a:lnTo>
                    <a:pt x="21" y="2582"/>
                  </a:lnTo>
                  <a:lnTo>
                    <a:pt x="28" y="2554"/>
                  </a:lnTo>
                  <a:lnTo>
                    <a:pt x="704" y="141"/>
                  </a:lnTo>
                  <a:lnTo>
                    <a:pt x="711" y="121"/>
                  </a:lnTo>
                  <a:lnTo>
                    <a:pt x="718" y="102"/>
                  </a:lnTo>
                  <a:lnTo>
                    <a:pt x="729" y="84"/>
                  </a:lnTo>
                  <a:lnTo>
                    <a:pt x="740" y="68"/>
                  </a:lnTo>
                  <a:lnTo>
                    <a:pt x="753" y="54"/>
                  </a:lnTo>
                  <a:lnTo>
                    <a:pt x="767" y="40"/>
                  </a:lnTo>
                  <a:lnTo>
                    <a:pt x="782" y="29"/>
                  </a:lnTo>
                  <a:lnTo>
                    <a:pt x="798" y="20"/>
                  </a:lnTo>
                  <a:lnTo>
                    <a:pt x="816" y="11"/>
                  </a:lnTo>
                  <a:lnTo>
                    <a:pt x="833" y="6"/>
                  </a:lnTo>
                  <a:lnTo>
                    <a:pt x="843" y="3"/>
                  </a:lnTo>
                  <a:lnTo>
                    <a:pt x="851" y="2"/>
                  </a:lnTo>
                  <a:lnTo>
                    <a:pt x="861" y="1"/>
                  </a:lnTo>
                  <a:lnTo>
                    <a:pt x="871" y="0"/>
                  </a:lnTo>
                  <a:lnTo>
                    <a:pt x="879" y="0"/>
                  </a:lnTo>
                  <a:lnTo>
                    <a:pt x="889" y="1"/>
                  </a:lnTo>
                  <a:lnTo>
                    <a:pt x="899" y="2"/>
                  </a:lnTo>
                  <a:lnTo>
                    <a:pt x="908" y="5"/>
                  </a:lnTo>
                  <a:lnTo>
                    <a:pt x="917" y="7"/>
                  </a:lnTo>
                  <a:lnTo>
                    <a:pt x="927" y="10"/>
                  </a:lnTo>
                  <a:lnTo>
                    <a:pt x="937" y="13"/>
                  </a:lnTo>
                  <a:lnTo>
                    <a:pt x="946" y="19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243127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53" y="6356394"/>
            <a:ext cx="22288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03508A3-687E-42DC-B001-9C09FAB15517}" type="datetimeFigureOut">
              <a:rPr lang="ru-RU">
                <a:solidFill>
                  <a:prstClr val="black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.02.2020</a:t>
            </a:fld>
            <a:endParaRPr lang="ru-RU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395663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1675" y="0"/>
            <a:ext cx="8915400" cy="10080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423635" y="6669088"/>
            <a:ext cx="1248569" cy="188912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497EC3B-46F8-43DA-ACC4-770C5BFF1645}" type="slidenum">
              <a:rPr lang="ru-RU" sz="1100">
                <a:solidFill>
                  <a:srgbClr val="000000"/>
                </a:solidFill>
                <a:latin typeface="Times New Roman" pitchFamily="18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100" dirty="0">
              <a:solidFill>
                <a:srgbClr val="000000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443571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Вертикальный заголовок и текст">
    <p:bg>
      <p:bgPr>
        <a:solidFill>
          <a:srgbClr val="53575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" y="393383"/>
            <a:ext cx="9906000" cy="6464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87443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Вертикальный заголовок и текст">
    <p:bg>
      <p:bgPr>
        <a:solidFill>
          <a:srgbClr val="53575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" y="393383"/>
            <a:ext cx="9906000" cy="6464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1136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15" y="3"/>
            <a:ext cx="9906000" cy="948807"/>
          </a:xfrm>
          <a:prstGeom prst="rect">
            <a:avLst/>
          </a:prstGeom>
          <a:solidFill>
            <a:srgbClr val="53575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15" y="3"/>
            <a:ext cx="9906000" cy="948807"/>
          </a:xfrm>
          <a:prstGeom prst="rect">
            <a:avLst/>
          </a:prstGeom>
          <a:solidFill>
            <a:srgbClr val="53575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106329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65" y="1122363"/>
            <a:ext cx="84201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1" y="3602038"/>
            <a:ext cx="74295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53" y="6356530"/>
            <a:ext cx="222885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84" y="6356530"/>
            <a:ext cx="3343275" cy="365125"/>
          </a:xfrm>
          <a:prstGeom prst="rect">
            <a:avLst/>
          </a:prstGeom>
        </p:spPr>
        <p:txBody>
          <a:bodyPr/>
          <a:lstStyle/>
          <a:p>
            <a:r>
              <a:rPr lang="ru-RU">
                <a:solidFill>
                  <a:prstClr val="black"/>
                </a:solidFill>
              </a:rPr>
              <a:t>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96113" y="6356530"/>
            <a:ext cx="2228850" cy="365125"/>
          </a:xfrm>
          <a:prstGeom prst="rect">
            <a:avLst/>
          </a:prstGeom>
        </p:spPr>
        <p:txBody>
          <a:bodyPr/>
          <a:lstStyle/>
          <a:p>
            <a:fld id="{40636AAC-79AD-4DF8-B487-79BCDEFFC817}" type="slidenum">
              <a:rPr lang="ru-RU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869238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44" y="365129"/>
            <a:ext cx="8543925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1044" y="1825625"/>
            <a:ext cx="8543925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53" y="6356530"/>
            <a:ext cx="222885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84" y="6356530"/>
            <a:ext cx="3343275" cy="365125"/>
          </a:xfrm>
          <a:prstGeom prst="rect">
            <a:avLst/>
          </a:prstGeom>
        </p:spPr>
        <p:txBody>
          <a:bodyPr/>
          <a:lstStyle/>
          <a:p>
            <a:r>
              <a:rPr lang="ru-RU">
                <a:solidFill>
                  <a:prstClr val="black"/>
                </a:solidFill>
              </a:rPr>
              <a:t>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96113" y="6356530"/>
            <a:ext cx="2228850" cy="365125"/>
          </a:xfrm>
          <a:prstGeom prst="rect">
            <a:avLst/>
          </a:prstGeom>
        </p:spPr>
        <p:txBody>
          <a:bodyPr/>
          <a:lstStyle/>
          <a:p>
            <a:fld id="{40636AAC-79AD-4DF8-B487-79BCDEFFC817}" type="slidenum">
              <a:rPr lang="ru-RU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75779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53" y="6356530"/>
            <a:ext cx="222885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551454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274133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893039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850253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939052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358887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27804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103210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54622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>
            <a:off x="15" y="3"/>
            <a:ext cx="9906000" cy="948807"/>
          </a:xfrm>
          <a:prstGeom prst="rect">
            <a:avLst/>
          </a:prstGeom>
          <a:solidFill>
            <a:srgbClr val="53575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859761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53" y="6356530"/>
            <a:ext cx="222885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184271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445268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6362296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123089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161874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140634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297091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292397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Вертикальный заголовок и текст"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" y="393600"/>
            <a:ext cx="9906000" cy="6464401"/>
          </a:xfrm>
          <a:prstGeom prst="rect">
            <a:avLst/>
          </a:prstGeom>
        </p:spPr>
      </p:pic>
      <p:sp>
        <p:nvSpPr>
          <p:cNvPr id="7" name="AutoShape 3"/>
          <p:cNvSpPr>
            <a:spLocks noChangeAspect="1" noChangeArrowheads="1" noTextEdit="1"/>
          </p:cNvSpPr>
          <p:nvPr userDrawn="1"/>
        </p:nvSpPr>
        <p:spPr bwMode="auto">
          <a:xfrm>
            <a:off x="531416" y="488952"/>
            <a:ext cx="2393950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" name="Группа 14"/>
          <p:cNvGrpSpPr/>
          <p:nvPr userDrawn="1"/>
        </p:nvGrpSpPr>
        <p:grpSpPr>
          <a:xfrm>
            <a:off x="531416" y="487363"/>
            <a:ext cx="2332038" cy="455612"/>
            <a:chOff x="490538" y="487363"/>
            <a:chExt cx="2152650" cy="455612"/>
          </a:xfrm>
        </p:grpSpPr>
        <p:sp>
          <p:nvSpPr>
            <p:cNvPr id="6" name="Freeform 5"/>
            <p:cNvSpPr>
              <a:spLocks noEditPoints="1"/>
            </p:cNvSpPr>
            <p:nvPr userDrawn="1"/>
          </p:nvSpPr>
          <p:spPr bwMode="auto">
            <a:xfrm>
              <a:off x="1144588" y="590550"/>
              <a:ext cx="1498600" cy="247650"/>
            </a:xfrm>
            <a:custGeom>
              <a:avLst/>
              <a:gdLst>
                <a:gd name="T0" fmla="*/ 2465 w 11327"/>
                <a:gd name="T1" fmla="*/ 803 h 1868"/>
                <a:gd name="T2" fmla="*/ 2667 w 11327"/>
                <a:gd name="T3" fmla="*/ 466 h 1868"/>
                <a:gd name="T4" fmla="*/ 3049 w 11327"/>
                <a:gd name="T5" fmla="*/ 345 h 1868"/>
                <a:gd name="T6" fmla="*/ 3430 w 11327"/>
                <a:gd name="T7" fmla="*/ 466 h 1868"/>
                <a:gd name="T8" fmla="*/ 3632 w 11327"/>
                <a:gd name="T9" fmla="*/ 803 h 1868"/>
                <a:gd name="T10" fmla="*/ 3574 w 11327"/>
                <a:gd name="T11" fmla="*/ 1233 h 1868"/>
                <a:gd name="T12" fmla="*/ 3284 w 11327"/>
                <a:gd name="T13" fmla="*/ 1483 h 1868"/>
                <a:gd name="T14" fmla="*/ 2870 w 11327"/>
                <a:gd name="T15" fmla="*/ 1500 h 1868"/>
                <a:gd name="T16" fmla="*/ 2553 w 11327"/>
                <a:gd name="T17" fmla="*/ 1281 h 1868"/>
                <a:gd name="T18" fmla="*/ 4046 w 11327"/>
                <a:gd name="T19" fmla="*/ 882 h 1868"/>
                <a:gd name="T20" fmla="*/ 3784 w 11327"/>
                <a:gd name="T21" fmla="*/ 289 h 1868"/>
                <a:gd name="T22" fmla="*/ 3199 w 11327"/>
                <a:gd name="T23" fmla="*/ 10 h 1868"/>
                <a:gd name="T24" fmla="*/ 2536 w 11327"/>
                <a:gd name="T25" fmla="*/ 125 h 1868"/>
                <a:gd name="T26" fmla="*/ 2113 w 11327"/>
                <a:gd name="T27" fmla="*/ 595 h 1868"/>
                <a:gd name="T28" fmla="*/ 2113 w 11327"/>
                <a:gd name="T29" fmla="*/ 1273 h 1868"/>
                <a:gd name="T30" fmla="*/ 2536 w 11327"/>
                <a:gd name="T31" fmla="*/ 1743 h 1868"/>
                <a:gd name="T32" fmla="*/ 3199 w 11327"/>
                <a:gd name="T33" fmla="*/ 1858 h 1868"/>
                <a:gd name="T34" fmla="*/ 3784 w 11327"/>
                <a:gd name="T35" fmla="*/ 1579 h 1868"/>
                <a:gd name="T36" fmla="*/ 4046 w 11327"/>
                <a:gd name="T37" fmla="*/ 985 h 1868"/>
                <a:gd name="T38" fmla="*/ 4444 w 11327"/>
                <a:gd name="T39" fmla="*/ 1443 h 1868"/>
                <a:gd name="T40" fmla="*/ 4540 w 11327"/>
                <a:gd name="T41" fmla="*/ 1808 h 1868"/>
                <a:gd name="T42" fmla="*/ 4811 w 11327"/>
                <a:gd name="T43" fmla="*/ 1650 h 1868"/>
                <a:gd name="T44" fmla="*/ 5796 w 11327"/>
                <a:gd name="T45" fmla="*/ 403 h 1868"/>
                <a:gd name="T46" fmla="*/ 7304 w 11327"/>
                <a:gd name="T47" fmla="*/ 1292 h 1868"/>
                <a:gd name="T48" fmla="*/ 7673 w 11327"/>
                <a:gd name="T49" fmla="*/ 1730 h 1868"/>
                <a:gd name="T50" fmla="*/ 8267 w 11327"/>
                <a:gd name="T51" fmla="*/ 1867 h 1868"/>
                <a:gd name="T52" fmla="*/ 8871 w 11327"/>
                <a:gd name="T53" fmla="*/ 1653 h 1868"/>
                <a:gd name="T54" fmla="*/ 9178 w 11327"/>
                <a:gd name="T55" fmla="*/ 1094 h 1868"/>
                <a:gd name="T56" fmla="*/ 9049 w 11327"/>
                <a:gd name="T57" fmla="*/ 414 h 1868"/>
                <a:gd name="T58" fmla="*/ 8552 w 11327"/>
                <a:gd name="T59" fmla="*/ 48 h 1868"/>
                <a:gd name="T60" fmla="*/ 7924 w 11327"/>
                <a:gd name="T61" fmla="*/ 36 h 1868"/>
                <a:gd name="T62" fmla="*/ 7459 w 11327"/>
                <a:gd name="T63" fmla="*/ 313 h 1868"/>
                <a:gd name="T64" fmla="*/ 6585 w 11327"/>
                <a:gd name="T65" fmla="*/ 42 h 1868"/>
                <a:gd name="T66" fmla="*/ 7740 w 11327"/>
                <a:gd name="T67" fmla="*/ 563 h 1868"/>
                <a:gd name="T68" fmla="*/ 8053 w 11327"/>
                <a:gd name="T69" fmla="*/ 361 h 1868"/>
                <a:gd name="T70" fmla="*/ 8492 w 11327"/>
                <a:gd name="T71" fmla="*/ 396 h 1868"/>
                <a:gd name="T72" fmla="*/ 8744 w 11327"/>
                <a:gd name="T73" fmla="*/ 660 h 1868"/>
                <a:gd name="T74" fmla="*/ 8775 w 11327"/>
                <a:gd name="T75" fmla="*/ 1095 h 1868"/>
                <a:gd name="T76" fmla="*/ 8585 w 11327"/>
                <a:gd name="T77" fmla="*/ 1418 h 1868"/>
                <a:gd name="T78" fmla="*/ 8182 w 11327"/>
                <a:gd name="T79" fmla="*/ 1522 h 1868"/>
                <a:gd name="T80" fmla="*/ 7807 w 11327"/>
                <a:gd name="T81" fmla="*/ 1385 h 1868"/>
                <a:gd name="T82" fmla="*/ 7649 w 11327"/>
                <a:gd name="T83" fmla="*/ 1033 h 1868"/>
                <a:gd name="T84" fmla="*/ 11121 w 11327"/>
                <a:gd name="T85" fmla="*/ 228 h 1868"/>
                <a:gd name="T86" fmla="*/ 10716 w 11327"/>
                <a:gd name="T87" fmla="*/ 30 h 1868"/>
                <a:gd name="T88" fmla="*/ 10126 w 11327"/>
                <a:gd name="T89" fmla="*/ 37 h 1868"/>
                <a:gd name="T90" fmla="*/ 9598 w 11327"/>
                <a:gd name="T91" fmla="*/ 385 h 1868"/>
                <a:gd name="T92" fmla="*/ 9435 w 11327"/>
                <a:gd name="T93" fmla="*/ 1039 h 1868"/>
                <a:gd name="T94" fmla="*/ 9714 w 11327"/>
                <a:gd name="T95" fmla="*/ 1617 h 1868"/>
                <a:gd name="T96" fmla="*/ 10320 w 11327"/>
                <a:gd name="T97" fmla="*/ 1863 h 1868"/>
                <a:gd name="T98" fmla="*/ 10845 w 11327"/>
                <a:gd name="T99" fmla="*/ 1799 h 1868"/>
                <a:gd name="T100" fmla="*/ 11211 w 11327"/>
                <a:gd name="T101" fmla="*/ 1551 h 1868"/>
                <a:gd name="T102" fmla="*/ 10919 w 11327"/>
                <a:gd name="T103" fmla="*/ 1325 h 1868"/>
                <a:gd name="T104" fmla="*/ 10676 w 11327"/>
                <a:gd name="T105" fmla="*/ 1473 h 1868"/>
                <a:gd name="T106" fmla="*/ 10324 w 11327"/>
                <a:gd name="T107" fmla="*/ 1504 h 1868"/>
                <a:gd name="T108" fmla="*/ 9975 w 11327"/>
                <a:gd name="T109" fmla="*/ 1332 h 1868"/>
                <a:gd name="T110" fmla="*/ 9831 w 11327"/>
                <a:gd name="T111" fmla="*/ 966 h 1868"/>
                <a:gd name="T112" fmla="*/ 9938 w 11327"/>
                <a:gd name="T113" fmla="*/ 575 h 1868"/>
                <a:gd name="T114" fmla="*/ 10261 w 11327"/>
                <a:gd name="T115" fmla="*/ 373 h 1868"/>
                <a:gd name="T116" fmla="*/ 10634 w 11327"/>
                <a:gd name="T117" fmla="*/ 382 h 1868"/>
                <a:gd name="T118" fmla="*/ 10890 w 11327"/>
                <a:gd name="T119" fmla="*/ 515 h 1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27" h="1868">
                  <a:moveTo>
                    <a:pt x="0" y="42"/>
                  </a:moveTo>
                  <a:lnTo>
                    <a:pt x="0" y="1822"/>
                  </a:lnTo>
                  <a:lnTo>
                    <a:pt x="399" y="1822"/>
                  </a:lnTo>
                  <a:lnTo>
                    <a:pt x="399" y="400"/>
                  </a:lnTo>
                  <a:lnTo>
                    <a:pt x="1352" y="400"/>
                  </a:lnTo>
                  <a:lnTo>
                    <a:pt x="1352" y="1822"/>
                  </a:lnTo>
                  <a:lnTo>
                    <a:pt x="1755" y="1822"/>
                  </a:lnTo>
                  <a:lnTo>
                    <a:pt x="1755" y="42"/>
                  </a:lnTo>
                  <a:lnTo>
                    <a:pt x="0" y="42"/>
                  </a:lnTo>
                  <a:close/>
                  <a:moveTo>
                    <a:pt x="2454" y="933"/>
                  </a:moveTo>
                  <a:lnTo>
                    <a:pt x="2454" y="900"/>
                  </a:lnTo>
                  <a:lnTo>
                    <a:pt x="2457" y="866"/>
                  </a:lnTo>
                  <a:lnTo>
                    <a:pt x="2460" y="835"/>
                  </a:lnTo>
                  <a:lnTo>
                    <a:pt x="2465" y="803"/>
                  </a:lnTo>
                  <a:lnTo>
                    <a:pt x="2472" y="773"/>
                  </a:lnTo>
                  <a:lnTo>
                    <a:pt x="2480" y="743"/>
                  </a:lnTo>
                  <a:lnTo>
                    <a:pt x="2489" y="715"/>
                  </a:lnTo>
                  <a:lnTo>
                    <a:pt x="2499" y="686"/>
                  </a:lnTo>
                  <a:lnTo>
                    <a:pt x="2511" y="660"/>
                  </a:lnTo>
                  <a:lnTo>
                    <a:pt x="2524" y="634"/>
                  </a:lnTo>
                  <a:lnTo>
                    <a:pt x="2538" y="610"/>
                  </a:lnTo>
                  <a:lnTo>
                    <a:pt x="2553" y="586"/>
                  </a:lnTo>
                  <a:lnTo>
                    <a:pt x="2570" y="563"/>
                  </a:lnTo>
                  <a:lnTo>
                    <a:pt x="2588" y="542"/>
                  </a:lnTo>
                  <a:lnTo>
                    <a:pt x="2606" y="521"/>
                  </a:lnTo>
                  <a:lnTo>
                    <a:pt x="2626" y="501"/>
                  </a:lnTo>
                  <a:lnTo>
                    <a:pt x="2646" y="483"/>
                  </a:lnTo>
                  <a:lnTo>
                    <a:pt x="2667" y="466"/>
                  </a:lnTo>
                  <a:lnTo>
                    <a:pt x="2691" y="449"/>
                  </a:lnTo>
                  <a:lnTo>
                    <a:pt x="2713" y="434"/>
                  </a:lnTo>
                  <a:lnTo>
                    <a:pt x="2737" y="420"/>
                  </a:lnTo>
                  <a:lnTo>
                    <a:pt x="2763" y="408"/>
                  </a:lnTo>
                  <a:lnTo>
                    <a:pt x="2788" y="396"/>
                  </a:lnTo>
                  <a:lnTo>
                    <a:pt x="2815" y="385"/>
                  </a:lnTo>
                  <a:lnTo>
                    <a:pt x="2842" y="375"/>
                  </a:lnTo>
                  <a:lnTo>
                    <a:pt x="2870" y="367"/>
                  </a:lnTo>
                  <a:lnTo>
                    <a:pt x="2898" y="361"/>
                  </a:lnTo>
                  <a:lnTo>
                    <a:pt x="2928" y="355"/>
                  </a:lnTo>
                  <a:lnTo>
                    <a:pt x="2957" y="351"/>
                  </a:lnTo>
                  <a:lnTo>
                    <a:pt x="2988" y="347"/>
                  </a:lnTo>
                  <a:lnTo>
                    <a:pt x="3018" y="345"/>
                  </a:lnTo>
                  <a:lnTo>
                    <a:pt x="3049" y="345"/>
                  </a:lnTo>
                  <a:lnTo>
                    <a:pt x="3080" y="345"/>
                  </a:lnTo>
                  <a:lnTo>
                    <a:pt x="3111" y="347"/>
                  </a:lnTo>
                  <a:lnTo>
                    <a:pt x="3141" y="351"/>
                  </a:lnTo>
                  <a:lnTo>
                    <a:pt x="3171" y="355"/>
                  </a:lnTo>
                  <a:lnTo>
                    <a:pt x="3200" y="361"/>
                  </a:lnTo>
                  <a:lnTo>
                    <a:pt x="3229" y="367"/>
                  </a:lnTo>
                  <a:lnTo>
                    <a:pt x="3256" y="375"/>
                  </a:lnTo>
                  <a:lnTo>
                    <a:pt x="3284" y="385"/>
                  </a:lnTo>
                  <a:lnTo>
                    <a:pt x="3310" y="396"/>
                  </a:lnTo>
                  <a:lnTo>
                    <a:pt x="3335" y="408"/>
                  </a:lnTo>
                  <a:lnTo>
                    <a:pt x="3361" y="420"/>
                  </a:lnTo>
                  <a:lnTo>
                    <a:pt x="3384" y="434"/>
                  </a:lnTo>
                  <a:lnTo>
                    <a:pt x="3408" y="449"/>
                  </a:lnTo>
                  <a:lnTo>
                    <a:pt x="3430" y="466"/>
                  </a:lnTo>
                  <a:lnTo>
                    <a:pt x="3452" y="483"/>
                  </a:lnTo>
                  <a:lnTo>
                    <a:pt x="3473" y="501"/>
                  </a:lnTo>
                  <a:lnTo>
                    <a:pt x="3492" y="521"/>
                  </a:lnTo>
                  <a:lnTo>
                    <a:pt x="3510" y="542"/>
                  </a:lnTo>
                  <a:lnTo>
                    <a:pt x="3528" y="563"/>
                  </a:lnTo>
                  <a:lnTo>
                    <a:pt x="3545" y="586"/>
                  </a:lnTo>
                  <a:lnTo>
                    <a:pt x="3560" y="610"/>
                  </a:lnTo>
                  <a:lnTo>
                    <a:pt x="3574" y="634"/>
                  </a:lnTo>
                  <a:lnTo>
                    <a:pt x="3587" y="660"/>
                  </a:lnTo>
                  <a:lnTo>
                    <a:pt x="3599" y="686"/>
                  </a:lnTo>
                  <a:lnTo>
                    <a:pt x="3609" y="715"/>
                  </a:lnTo>
                  <a:lnTo>
                    <a:pt x="3618" y="743"/>
                  </a:lnTo>
                  <a:lnTo>
                    <a:pt x="3626" y="773"/>
                  </a:lnTo>
                  <a:lnTo>
                    <a:pt x="3632" y="803"/>
                  </a:lnTo>
                  <a:lnTo>
                    <a:pt x="3637" y="835"/>
                  </a:lnTo>
                  <a:lnTo>
                    <a:pt x="3642" y="866"/>
                  </a:lnTo>
                  <a:lnTo>
                    <a:pt x="3644" y="900"/>
                  </a:lnTo>
                  <a:lnTo>
                    <a:pt x="3645" y="933"/>
                  </a:lnTo>
                  <a:lnTo>
                    <a:pt x="3644" y="968"/>
                  </a:lnTo>
                  <a:lnTo>
                    <a:pt x="3642" y="1001"/>
                  </a:lnTo>
                  <a:lnTo>
                    <a:pt x="3637" y="1033"/>
                  </a:lnTo>
                  <a:lnTo>
                    <a:pt x="3632" y="1065"/>
                  </a:lnTo>
                  <a:lnTo>
                    <a:pt x="3626" y="1095"/>
                  </a:lnTo>
                  <a:lnTo>
                    <a:pt x="3618" y="1125"/>
                  </a:lnTo>
                  <a:lnTo>
                    <a:pt x="3609" y="1153"/>
                  </a:lnTo>
                  <a:lnTo>
                    <a:pt x="3599" y="1181"/>
                  </a:lnTo>
                  <a:lnTo>
                    <a:pt x="3587" y="1207"/>
                  </a:lnTo>
                  <a:lnTo>
                    <a:pt x="3574" y="1233"/>
                  </a:lnTo>
                  <a:lnTo>
                    <a:pt x="3560" y="1258"/>
                  </a:lnTo>
                  <a:lnTo>
                    <a:pt x="3545" y="1281"/>
                  </a:lnTo>
                  <a:lnTo>
                    <a:pt x="3528" y="1305"/>
                  </a:lnTo>
                  <a:lnTo>
                    <a:pt x="3510" y="1326"/>
                  </a:lnTo>
                  <a:lnTo>
                    <a:pt x="3492" y="1346"/>
                  </a:lnTo>
                  <a:lnTo>
                    <a:pt x="3473" y="1366"/>
                  </a:lnTo>
                  <a:lnTo>
                    <a:pt x="3452" y="1385"/>
                  </a:lnTo>
                  <a:lnTo>
                    <a:pt x="3430" y="1402"/>
                  </a:lnTo>
                  <a:lnTo>
                    <a:pt x="3408" y="1418"/>
                  </a:lnTo>
                  <a:lnTo>
                    <a:pt x="3384" y="1434"/>
                  </a:lnTo>
                  <a:lnTo>
                    <a:pt x="3361" y="1447"/>
                  </a:lnTo>
                  <a:lnTo>
                    <a:pt x="3335" y="1460"/>
                  </a:lnTo>
                  <a:lnTo>
                    <a:pt x="3310" y="1472"/>
                  </a:lnTo>
                  <a:lnTo>
                    <a:pt x="3284" y="1483"/>
                  </a:lnTo>
                  <a:lnTo>
                    <a:pt x="3256" y="1492"/>
                  </a:lnTo>
                  <a:lnTo>
                    <a:pt x="3229" y="1500"/>
                  </a:lnTo>
                  <a:lnTo>
                    <a:pt x="3200" y="1507"/>
                  </a:lnTo>
                  <a:lnTo>
                    <a:pt x="3171" y="1513"/>
                  </a:lnTo>
                  <a:lnTo>
                    <a:pt x="3141" y="1517"/>
                  </a:lnTo>
                  <a:lnTo>
                    <a:pt x="3111" y="1520"/>
                  </a:lnTo>
                  <a:lnTo>
                    <a:pt x="3080" y="1522"/>
                  </a:lnTo>
                  <a:lnTo>
                    <a:pt x="3049" y="1523"/>
                  </a:lnTo>
                  <a:lnTo>
                    <a:pt x="3018" y="1522"/>
                  </a:lnTo>
                  <a:lnTo>
                    <a:pt x="2988" y="1520"/>
                  </a:lnTo>
                  <a:lnTo>
                    <a:pt x="2957" y="1517"/>
                  </a:lnTo>
                  <a:lnTo>
                    <a:pt x="2928" y="1513"/>
                  </a:lnTo>
                  <a:lnTo>
                    <a:pt x="2898" y="1507"/>
                  </a:lnTo>
                  <a:lnTo>
                    <a:pt x="2870" y="1500"/>
                  </a:lnTo>
                  <a:lnTo>
                    <a:pt x="2842" y="1492"/>
                  </a:lnTo>
                  <a:lnTo>
                    <a:pt x="2815" y="1483"/>
                  </a:lnTo>
                  <a:lnTo>
                    <a:pt x="2788" y="1472"/>
                  </a:lnTo>
                  <a:lnTo>
                    <a:pt x="2763" y="1460"/>
                  </a:lnTo>
                  <a:lnTo>
                    <a:pt x="2737" y="1447"/>
                  </a:lnTo>
                  <a:lnTo>
                    <a:pt x="2713" y="1434"/>
                  </a:lnTo>
                  <a:lnTo>
                    <a:pt x="2691" y="1418"/>
                  </a:lnTo>
                  <a:lnTo>
                    <a:pt x="2667" y="1402"/>
                  </a:lnTo>
                  <a:lnTo>
                    <a:pt x="2646" y="1385"/>
                  </a:lnTo>
                  <a:lnTo>
                    <a:pt x="2626" y="1366"/>
                  </a:lnTo>
                  <a:lnTo>
                    <a:pt x="2606" y="1346"/>
                  </a:lnTo>
                  <a:lnTo>
                    <a:pt x="2588" y="1326"/>
                  </a:lnTo>
                  <a:lnTo>
                    <a:pt x="2570" y="1305"/>
                  </a:lnTo>
                  <a:lnTo>
                    <a:pt x="2553" y="1281"/>
                  </a:lnTo>
                  <a:lnTo>
                    <a:pt x="2538" y="1258"/>
                  </a:lnTo>
                  <a:lnTo>
                    <a:pt x="2524" y="1233"/>
                  </a:lnTo>
                  <a:lnTo>
                    <a:pt x="2511" y="1207"/>
                  </a:lnTo>
                  <a:lnTo>
                    <a:pt x="2499" y="1181"/>
                  </a:lnTo>
                  <a:lnTo>
                    <a:pt x="2489" y="1153"/>
                  </a:lnTo>
                  <a:lnTo>
                    <a:pt x="2480" y="1125"/>
                  </a:lnTo>
                  <a:lnTo>
                    <a:pt x="2472" y="1095"/>
                  </a:lnTo>
                  <a:lnTo>
                    <a:pt x="2465" y="1065"/>
                  </a:lnTo>
                  <a:lnTo>
                    <a:pt x="2460" y="1033"/>
                  </a:lnTo>
                  <a:lnTo>
                    <a:pt x="2457" y="1001"/>
                  </a:lnTo>
                  <a:lnTo>
                    <a:pt x="2454" y="968"/>
                  </a:lnTo>
                  <a:lnTo>
                    <a:pt x="2454" y="933"/>
                  </a:lnTo>
                  <a:close/>
                  <a:moveTo>
                    <a:pt x="4047" y="933"/>
                  </a:moveTo>
                  <a:lnTo>
                    <a:pt x="4046" y="882"/>
                  </a:lnTo>
                  <a:lnTo>
                    <a:pt x="4042" y="831"/>
                  </a:lnTo>
                  <a:lnTo>
                    <a:pt x="4035" y="781"/>
                  </a:lnTo>
                  <a:lnTo>
                    <a:pt x="4026" y="733"/>
                  </a:lnTo>
                  <a:lnTo>
                    <a:pt x="4015" y="685"/>
                  </a:lnTo>
                  <a:lnTo>
                    <a:pt x="4002" y="640"/>
                  </a:lnTo>
                  <a:lnTo>
                    <a:pt x="3985" y="595"/>
                  </a:lnTo>
                  <a:lnTo>
                    <a:pt x="3967" y="551"/>
                  </a:lnTo>
                  <a:lnTo>
                    <a:pt x="3947" y="509"/>
                  </a:lnTo>
                  <a:lnTo>
                    <a:pt x="3924" y="469"/>
                  </a:lnTo>
                  <a:lnTo>
                    <a:pt x="3900" y="430"/>
                  </a:lnTo>
                  <a:lnTo>
                    <a:pt x="3874" y="392"/>
                  </a:lnTo>
                  <a:lnTo>
                    <a:pt x="3846" y="356"/>
                  </a:lnTo>
                  <a:lnTo>
                    <a:pt x="3815" y="321"/>
                  </a:lnTo>
                  <a:lnTo>
                    <a:pt x="3784" y="289"/>
                  </a:lnTo>
                  <a:lnTo>
                    <a:pt x="3751" y="257"/>
                  </a:lnTo>
                  <a:lnTo>
                    <a:pt x="3716" y="227"/>
                  </a:lnTo>
                  <a:lnTo>
                    <a:pt x="3679" y="199"/>
                  </a:lnTo>
                  <a:lnTo>
                    <a:pt x="3642" y="173"/>
                  </a:lnTo>
                  <a:lnTo>
                    <a:pt x="3603" y="147"/>
                  </a:lnTo>
                  <a:lnTo>
                    <a:pt x="3562" y="125"/>
                  </a:lnTo>
                  <a:lnTo>
                    <a:pt x="3521" y="104"/>
                  </a:lnTo>
                  <a:lnTo>
                    <a:pt x="3477" y="84"/>
                  </a:lnTo>
                  <a:lnTo>
                    <a:pt x="3433" y="67"/>
                  </a:lnTo>
                  <a:lnTo>
                    <a:pt x="3388" y="52"/>
                  </a:lnTo>
                  <a:lnTo>
                    <a:pt x="3342" y="39"/>
                  </a:lnTo>
                  <a:lnTo>
                    <a:pt x="3295" y="26"/>
                  </a:lnTo>
                  <a:lnTo>
                    <a:pt x="3247" y="17"/>
                  </a:lnTo>
                  <a:lnTo>
                    <a:pt x="3199" y="10"/>
                  </a:lnTo>
                  <a:lnTo>
                    <a:pt x="3149" y="4"/>
                  </a:lnTo>
                  <a:lnTo>
                    <a:pt x="3099" y="1"/>
                  </a:lnTo>
                  <a:lnTo>
                    <a:pt x="3049" y="0"/>
                  </a:lnTo>
                  <a:lnTo>
                    <a:pt x="2999" y="1"/>
                  </a:lnTo>
                  <a:lnTo>
                    <a:pt x="2949" y="4"/>
                  </a:lnTo>
                  <a:lnTo>
                    <a:pt x="2899" y="10"/>
                  </a:lnTo>
                  <a:lnTo>
                    <a:pt x="2851" y="17"/>
                  </a:lnTo>
                  <a:lnTo>
                    <a:pt x="2804" y="26"/>
                  </a:lnTo>
                  <a:lnTo>
                    <a:pt x="2756" y="39"/>
                  </a:lnTo>
                  <a:lnTo>
                    <a:pt x="2710" y="52"/>
                  </a:lnTo>
                  <a:lnTo>
                    <a:pt x="2665" y="67"/>
                  </a:lnTo>
                  <a:lnTo>
                    <a:pt x="2620" y="84"/>
                  </a:lnTo>
                  <a:lnTo>
                    <a:pt x="2578" y="104"/>
                  </a:lnTo>
                  <a:lnTo>
                    <a:pt x="2536" y="125"/>
                  </a:lnTo>
                  <a:lnTo>
                    <a:pt x="2495" y="147"/>
                  </a:lnTo>
                  <a:lnTo>
                    <a:pt x="2457" y="173"/>
                  </a:lnTo>
                  <a:lnTo>
                    <a:pt x="2418" y="199"/>
                  </a:lnTo>
                  <a:lnTo>
                    <a:pt x="2382" y="227"/>
                  </a:lnTo>
                  <a:lnTo>
                    <a:pt x="2347" y="257"/>
                  </a:lnTo>
                  <a:lnTo>
                    <a:pt x="2313" y="289"/>
                  </a:lnTo>
                  <a:lnTo>
                    <a:pt x="2282" y="321"/>
                  </a:lnTo>
                  <a:lnTo>
                    <a:pt x="2252" y="356"/>
                  </a:lnTo>
                  <a:lnTo>
                    <a:pt x="2224" y="392"/>
                  </a:lnTo>
                  <a:lnTo>
                    <a:pt x="2197" y="430"/>
                  </a:lnTo>
                  <a:lnTo>
                    <a:pt x="2173" y="469"/>
                  </a:lnTo>
                  <a:lnTo>
                    <a:pt x="2152" y="509"/>
                  </a:lnTo>
                  <a:lnTo>
                    <a:pt x="2131" y="551"/>
                  </a:lnTo>
                  <a:lnTo>
                    <a:pt x="2113" y="595"/>
                  </a:lnTo>
                  <a:lnTo>
                    <a:pt x="2097" y="640"/>
                  </a:lnTo>
                  <a:lnTo>
                    <a:pt x="2083" y="685"/>
                  </a:lnTo>
                  <a:lnTo>
                    <a:pt x="2071" y="733"/>
                  </a:lnTo>
                  <a:lnTo>
                    <a:pt x="2063" y="781"/>
                  </a:lnTo>
                  <a:lnTo>
                    <a:pt x="2056" y="831"/>
                  </a:lnTo>
                  <a:lnTo>
                    <a:pt x="2052" y="882"/>
                  </a:lnTo>
                  <a:lnTo>
                    <a:pt x="2051" y="933"/>
                  </a:lnTo>
                  <a:lnTo>
                    <a:pt x="2052" y="985"/>
                  </a:lnTo>
                  <a:lnTo>
                    <a:pt x="2056" y="1036"/>
                  </a:lnTo>
                  <a:lnTo>
                    <a:pt x="2063" y="1086"/>
                  </a:lnTo>
                  <a:lnTo>
                    <a:pt x="2071" y="1135"/>
                  </a:lnTo>
                  <a:lnTo>
                    <a:pt x="2083" y="1182"/>
                  </a:lnTo>
                  <a:lnTo>
                    <a:pt x="2097" y="1228"/>
                  </a:lnTo>
                  <a:lnTo>
                    <a:pt x="2113" y="1273"/>
                  </a:lnTo>
                  <a:lnTo>
                    <a:pt x="2131" y="1316"/>
                  </a:lnTo>
                  <a:lnTo>
                    <a:pt x="2152" y="1357"/>
                  </a:lnTo>
                  <a:lnTo>
                    <a:pt x="2173" y="1398"/>
                  </a:lnTo>
                  <a:lnTo>
                    <a:pt x="2197" y="1438"/>
                  </a:lnTo>
                  <a:lnTo>
                    <a:pt x="2224" y="1475"/>
                  </a:lnTo>
                  <a:lnTo>
                    <a:pt x="2252" y="1512"/>
                  </a:lnTo>
                  <a:lnTo>
                    <a:pt x="2282" y="1547"/>
                  </a:lnTo>
                  <a:lnTo>
                    <a:pt x="2313" y="1579"/>
                  </a:lnTo>
                  <a:lnTo>
                    <a:pt x="2347" y="1611"/>
                  </a:lnTo>
                  <a:lnTo>
                    <a:pt x="2382" y="1640"/>
                  </a:lnTo>
                  <a:lnTo>
                    <a:pt x="2418" y="1669"/>
                  </a:lnTo>
                  <a:lnTo>
                    <a:pt x="2457" y="1695"/>
                  </a:lnTo>
                  <a:lnTo>
                    <a:pt x="2495" y="1719"/>
                  </a:lnTo>
                  <a:lnTo>
                    <a:pt x="2536" y="1743"/>
                  </a:lnTo>
                  <a:lnTo>
                    <a:pt x="2578" y="1764"/>
                  </a:lnTo>
                  <a:lnTo>
                    <a:pt x="2620" y="1782"/>
                  </a:lnTo>
                  <a:lnTo>
                    <a:pt x="2665" y="1801"/>
                  </a:lnTo>
                  <a:lnTo>
                    <a:pt x="2710" y="1816"/>
                  </a:lnTo>
                  <a:lnTo>
                    <a:pt x="2756" y="1829"/>
                  </a:lnTo>
                  <a:lnTo>
                    <a:pt x="2804" y="1840"/>
                  </a:lnTo>
                  <a:lnTo>
                    <a:pt x="2851" y="1851"/>
                  </a:lnTo>
                  <a:lnTo>
                    <a:pt x="2899" y="1858"/>
                  </a:lnTo>
                  <a:lnTo>
                    <a:pt x="2949" y="1863"/>
                  </a:lnTo>
                  <a:lnTo>
                    <a:pt x="2999" y="1866"/>
                  </a:lnTo>
                  <a:lnTo>
                    <a:pt x="3049" y="1868"/>
                  </a:lnTo>
                  <a:lnTo>
                    <a:pt x="3099" y="1866"/>
                  </a:lnTo>
                  <a:lnTo>
                    <a:pt x="3149" y="1863"/>
                  </a:lnTo>
                  <a:lnTo>
                    <a:pt x="3199" y="1858"/>
                  </a:lnTo>
                  <a:lnTo>
                    <a:pt x="3247" y="1851"/>
                  </a:lnTo>
                  <a:lnTo>
                    <a:pt x="3295" y="1840"/>
                  </a:lnTo>
                  <a:lnTo>
                    <a:pt x="3342" y="1829"/>
                  </a:lnTo>
                  <a:lnTo>
                    <a:pt x="3388" y="1816"/>
                  </a:lnTo>
                  <a:lnTo>
                    <a:pt x="3433" y="1801"/>
                  </a:lnTo>
                  <a:lnTo>
                    <a:pt x="3477" y="1782"/>
                  </a:lnTo>
                  <a:lnTo>
                    <a:pt x="3521" y="1764"/>
                  </a:lnTo>
                  <a:lnTo>
                    <a:pt x="3562" y="1743"/>
                  </a:lnTo>
                  <a:lnTo>
                    <a:pt x="3603" y="1719"/>
                  </a:lnTo>
                  <a:lnTo>
                    <a:pt x="3642" y="1695"/>
                  </a:lnTo>
                  <a:lnTo>
                    <a:pt x="3679" y="1669"/>
                  </a:lnTo>
                  <a:lnTo>
                    <a:pt x="3716" y="1640"/>
                  </a:lnTo>
                  <a:lnTo>
                    <a:pt x="3751" y="1611"/>
                  </a:lnTo>
                  <a:lnTo>
                    <a:pt x="3784" y="1579"/>
                  </a:lnTo>
                  <a:lnTo>
                    <a:pt x="3815" y="1547"/>
                  </a:lnTo>
                  <a:lnTo>
                    <a:pt x="3846" y="1512"/>
                  </a:lnTo>
                  <a:lnTo>
                    <a:pt x="3874" y="1475"/>
                  </a:lnTo>
                  <a:lnTo>
                    <a:pt x="3900" y="1438"/>
                  </a:lnTo>
                  <a:lnTo>
                    <a:pt x="3924" y="1398"/>
                  </a:lnTo>
                  <a:lnTo>
                    <a:pt x="3947" y="1357"/>
                  </a:lnTo>
                  <a:lnTo>
                    <a:pt x="3967" y="1316"/>
                  </a:lnTo>
                  <a:lnTo>
                    <a:pt x="3985" y="1273"/>
                  </a:lnTo>
                  <a:lnTo>
                    <a:pt x="4002" y="1228"/>
                  </a:lnTo>
                  <a:lnTo>
                    <a:pt x="4015" y="1182"/>
                  </a:lnTo>
                  <a:lnTo>
                    <a:pt x="4026" y="1135"/>
                  </a:lnTo>
                  <a:lnTo>
                    <a:pt x="4035" y="1086"/>
                  </a:lnTo>
                  <a:lnTo>
                    <a:pt x="4042" y="1036"/>
                  </a:lnTo>
                  <a:lnTo>
                    <a:pt x="4046" y="985"/>
                  </a:lnTo>
                  <a:lnTo>
                    <a:pt x="4047" y="933"/>
                  </a:lnTo>
                  <a:close/>
                  <a:moveTo>
                    <a:pt x="4779" y="42"/>
                  </a:moveTo>
                  <a:lnTo>
                    <a:pt x="4540" y="1317"/>
                  </a:lnTo>
                  <a:lnTo>
                    <a:pt x="4535" y="1334"/>
                  </a:lnTo>
                  <a:lnTo>
                    <a:pt x="4530" y="1350"/>
                  </a:lnTo>
                  <a:lnTo>
                    <a:pt x="4524" y="1366"/>
                  </a:lnTo>
                  <a:lnTo>
                    <a:pt x="4517" y="1379"/>
                  </a:lnTo>
                  <a:lnTo>
                    <a:pt x="4510" y="1392"/>
                  </a:lnTo>
                  <a:lnTo>
                    <a:pt x="4501" y="1403"/>
                  </a:lnTo>
                  <a:lnTo>
                    <a:pt x="4491" y="1413"/>
                  </a:lnTo>
                  <a:lnTo>
                    <a:pt x="4481" y="1423"/>
                  </a:lnTo>
                  <a:lnTo>
                    <a:pt x="4469" y="1431"/>
                  </a:lnTo>
                  <a:lnTo>
                    <a:pt x="4457" y="1437"/>
                  </a:lnTo>
                  <a:lnTo>
                    <a:pt x="4444" y="1443"/>
                  </a:lnTo>
                  <a:lnTo>
                    <a:pt x="4430" y="1447"/>
                  </a:lnTo>
                  <a:lnTo>
                    <a:pt x="4415" y="1451"/>
                  </a:lnTo>
                  <a:lnTo>
                    <a:pt x="4399" y="1453"/>
                  </a:lnTo>
                  <a:lnTo>
                    <a:pt x="4383" y="1455"/>
                  </a:lnTo>
                  <a:lnTo>
                    <a:pt x="4366" y="1455"/>
                  </a:lnTo>
                  <a:lnTo>
                    <a:pt x="4172" y="1455"/>
                  </a:lnTo>
                  <a:lnTo>
                    <a:pt x="4172" y="1822"/>
                  </a:lnTo>
                  <a:lnTo>
                    <a:pt x="4385" y="1822"/>
                  </a:lnTo>
                  <a:lnTo>
                    <a:pt x="4412" y="1822"/>
                  </a:lnTo>
                  <a:lnTo>
                    <a:pt x="4439" y="1821"/>
                  </a:lnTo>
                  <a:lnTo>
                    <a:pt x="4465" y="1819"/>
                  </a:lnTo>
                  <a:lnTo>
                    <a:pt x="4491" y="1816"/>
                  </a:lnTo>
                  <a:lnTo>
                    <a:pt x="4515" y="1812"/>
                  </a:lnTo>
                  <a:lnTo>
                    <a:pt x="4540" y="1808"/>
                  </a:lnTo>
                  <a:lnTo>
                    <a:pt x="4563" y="1802"/>
                  </a:lnTo>
                  <a:lnTo>
                    <a:pt x="4586" y="1796"/>
                  </a:lnTo>
                  <a:lnTo>
                    <a:pt x="4609" y="1789"/>
                  </a:lnTo>
                  <a:lnTo>
                    <a:pt x="4630" y="1780"/>
                  </a:lnTo>
                  <a:lnTo>
                    <a:pt x="4651" y="1771"/>
                  </a:lnTo>
                  <a:lnTo>
                    <a:pt x="4672" y="1762"/>
                  </a:lnTo>
                  <a:lnTo>
                    <a:pt x="4692" y="1751"/>
                  </a:lnTo>
                  <a:lnTo>
                    <a:pt x="4710" y="1740"/>
                  </a:lnTo>
                  <a:lnTo>
                    <a:pt x="4730" y="1728"/>
                  </a:lnTo>
                  <a:lnTo>
                    <a:pt x="4747" y="1713"/>
                  </a:lnTo>
                  <a:lnTo>
                    <a:pt x="4764" y="1699"/>
                  </a:lnTo>
                  <a:lnTo>
                    <a:pt x="4781" y="1684"/>
                  </a:lnTo>
                  <a:lnTo>
                    <a:pt x="4796" y="1668"/>
                  </a:lnTo>
                  <a:lnTo>
                    <a:pt x="4811" y="1650"/>
                  </a:lnTo>
                  <a:lnTo>
                    <a:pt x="4825" y="1633"/>
                  </a:lnTo>
                  <a:lnTo>
                    <a:pt x="4839" y="1614"/>
                  </a:lnTo>
                  <a:lnTo>
                    <a:pt x="4852" y="1593"/>
                  </a:lnTo>
                  <a:lnTo>
                    <a:pt x="4864" y="1572"/>
                  </a:lnTo>
                  <a:lnTo>
                    <a:pt x="4875" y="1551"/>
                  </a:lnTo>
                  <a:lnTo>
                    <a:pt x="4885" y="1527"/>
                  </a:lnTo>
                  <a:lnTo>
                    <a:pt x="4895" y="1504"/>
                  </a:lnTo>
                  <a:lnTo>
                    <a:pt x="4905" y="1478"/>
                  </a:lnTo>
                  <a:lnTo>
                    <a:pt x="4913" y="1452"/>
                  </a:lnTo>
                  <a:lnTo>
                    <a:pt x="4920" y="1426"/>
                  </a:lnTo>
                  <a:lnTo>
                    <a:pt x="4927" y="1397"/>
                  </a:lnTo>
                  <a:lnTo>
                    <a:pt x="4932" y="1369"/>
                  </a:lnTo>
                  <a:lnTo>
                    <a:pt x="5113" y="403"/>
                  </a:lnTo>
                  <a:lnTo>
                    <a:pt x="5796" y="403"/>
                  </a:lnTo>
                  <a:lnTo>
                    <a:pt x="5796" y="1822"/>
                  </a:lnTo>
                  <a:lnTo>
                    <a:pt x="6198" y="1822"/>
                  </a:lnTo>
                  <a:lnTo>
                    <a:pt x="6198" y="42"/>
                  </a:lnTo>
                  <a:lnTo>
                    <a:pt x="4779" y="42"/>
                  </a:lnTo>
                  <a:close/>
                  <a:moveTo>
                    <a:pt x="6585" y="42"/>
                  </a:moveTo>
                  <a:lnTo>
                    <a:pt x="6585" y="1822"/>
                  </a:lnTo>
                  <a:lnTo>
                    <a:pt x="6980" y="1822"/>
                  </a:lnTo>
                  <a:lnTo>
                    <a:pt x="6980" y="1069"/>
                  </a:lnTo>
                  <a:lnTo>
                    <a:pt x="7251" y="1069"/>
                  </a:lnTo>
                  <a:lnTo>
                    <a:pt x="7258" y="1116"/>
                  </a:lnTo>
                  <a:lnTo>
                    <a:pt x="7266" y="1162"/>
                  </a:lnTo>
                  <a:lnTo>
                    <a:pt x="7277" y="1207"/>
                  </a:lnTo>
                  <a:lnTo>
                    <a:pt x="7290" y="1251"/>
                  </a:lnTo>
                  <a:lnTo>
                    <a:pt x="7304" y="1292"/>
                  </a:lnTo>
                  <a:lnTo>
                    <a:pt x="7320" y="1333"/>
                  </a:lnTo>
                  <a:lnTo>
                    <a:pt x="7338" y="1372"/>
                  </a:lnTo>
                  <a:lnTo>
                    <a:pt x="7358" y="1409"/>
                  </a:lnTo>
                  <a:lnTo>
                    <a:pt x="7379" y="1446"/>
                  </a:lnTo>
                  <a:lnTo>
                    <a:pt x="7402" y="1482"/>
                  </a:lnTo>
                  <a:lnTo>
                    <a:pt x="7427" y="1514"/>
                  </a:lnTo>
                  <a:lnTo>
                    <a:pt x="7452" y="1547"/>
                  </a:lnTo>
                  <a:lnTo>
                    <a:pt x="7480" y="1577"/>
                  </a:lnTo>
                  <a:lnTo>
                    <a:pt x="7509" y="1607"/>
                  </a:lnTo>
                  <a:lnTo>
                    <a:pt x="7540" y="1634"/>
                  </a:lnTo>
                  <a:lnTo>
                    <a:pt x="7571" y="1660"/>
                  </a:lnTo>
                  <a:lnTo>
                    <a:pt x="7604" y="1685"/>
                  </a:lnTo>
                  <a:lnTo>
                    <a:pt x="7637" y="1708"/>
                  </a:lnTo>
                  <a:lnTo>
                    <a:pt x="7673" y="1730"/>
                  </a:lnTo>
                  <a:lnTo>
                    <a:pt x="7710" y="1750"/>
                  </a:lnTo>
                  <a:lnTo>
                    <a:pt x="7747" y="1768"/>
                  </a:lnTo>
                  <a:lnTo>
                    <a:pt x="7786" y="1786"/>
                  </a:lnTo>
                  <a:lnTo>
                    <a:pt x="7824" y="1801"/>
                  </a:lnTo>
                  <a:lnTo>
                    <a:pt x="7865" y="1815"/>
                  </a:lnTo>
                  <a:lnTo>
                    <a:pt x="7907" y="1827"/>
                  </a:lnTo>
                  <a:lnTo>
                    <a:pt x="7949" y="1837"/>
                  </a:lnTo>
                  <a:lnTo>
                    <a:pt x="7991" y="1847"/>
                  </a:lnTo>
                  <a:lnTo>
                    <a:pt x="8035" y="1854"/>
                  </a:lnTo>
                  <a:lnTo>
                    <a:pt x="8080" y="1860"/>
                  </a:lnTo>
                  <a:lnTo>
                    <a:pt x="8124" y="1864"/>
                  </a:lnTo>
                  <a:lnTo>
                    <a:pt x="8170" y="1867"/>
                  </a:lnTo>
                  <a:lnTo>
                    <a:pt x="8217" y="1868"/>
                  </a:lnTo>
                  <a:lnTo>
                    <a:pt x="8267" y="1867"/>
                  </a:lnTo>
                  <a:lnTo>
                    <a:pt x="8317" y="1864"/>
                  </a:lnTo>
                  <a:lnTo>
                    <a:pt x="8364" y="1859"/>
                  </a:lnTo>
                  <a:lnTo>
                    <a:pt x="8413" y="1852"/>
                  </a:lnTo>
                  <a:lnTo>
                    <a:pt x="8460" y="1842"/>
                  </a:lnTo>
                  <a:lnTo>
                    <a:pt x="8506" y="1832"/>
                  </a:lnTo>
                  <a:lnTo>
                    <a:pt x="8552" y="1820"/>
                  </a:lnTo>
                  <a:lnTo>
                    <a:pt x="8595" y="1805"/>
                  </a:lnTo>
                  <a:lnTo>
                    <a:pt x="8639" y="1789"/>
                  </a:lnTo>
                  <a:lnTo>
                    <a:pt x="8681" y="1771"/>
                  </a:lnTo>
                  <a:lnTo>
                    <a:pt x="8721" y="1751"/>
                  </a:lnTo>
                  <a:lnTo>
                    <a:pt x="8761" y="1729"/>
                  </a:lnTo>
                  <a:lnTo>
                    <a:pt x="8799" y="1705"/>
                  </a:lnTo>
                  <a:lnTo>
                    <a:pt x="8835" y="1680"/>
                  </a:lnTo>
                  <a:lnTo>
                    <a:pt x="8871" y="1653"/>
                  </a:lnTo>
                  <a:lnTo>
                    <a:pt x="8905" y="1624"/>
                  </a:lnTo>
                  <a:lnTo>
                    <a:pt x="8937" y="1593"/>
                  </a:lnTo>
                  <a:lnTo>
                    <a:pt x="8968" y="1561"/>
                  </a:lnTo>
                  <a:lnTo>
                    <a:pt x="8996" y="1526"/>
                  </a:lnTo>
                  <a:lnTo>
                    <a:pt x="9023" y="1491"/>
                  </a:lnTo>
                  <a:lnTo>
                    <a:pt x="9049" y="1453"/>
                  </a:lnTo>
                  <a:lnTo>
                    <a:pt x="9072" y="1414"/>
                  </a:lnTo>
                  <a:lnTo>
                    <a:pt x="9094" y="1374"/>
                  </a:lnTo>
                  <a:lnTo>
                    <a:pt x="9113" y="1331"/>
                  </a:lnTo>
                  <a:lnTo>
                    <a:pt x="9130" y="1287"/>
                  </a:lnTo>
                  <a:lnTo>
                    <a:pt x="9146" y="1242"/>
                  </a:lnTo>
                  <a:lnTo>
                    <a:pt x="9159" y="1194"/>
                  </a:lnTo>
                  <a:lnTo>
                    <a:pt x="9169" y="1145"/>
                  </a:lnTo>
                  <a:lnTo>
                    <a:pt x="9178" y="1094"/>
                  </a:lnTo>
                  <a:lnTo>
                    <a:pt x="9184" y="1042"/>
                  </a:lnTo>
                  <a:lnTo>
                    <a:pt x="9188" y="988"/>
                  </a:lnTo>
                  <a:lnTo>
                    <a:pt x="9189" y="933"/>
                  </a:lnTo>
                  <a:lnTo>
                    <a:pt x="9188" y="879"/>
                  </a:lnTo>
                  <a:lnTo>
                    <a:pt x="9184" y="825"/>
                  </a:lnTo>
                  <a:lnTo>
                    <a:pt x="9178" y="773"/>
                  </a:lnTo>
                  <a:lnTo>
                    <a:pt x="9169" y="723"/>
                  </a:lnTo>
                  <a:lnTo>
                    <a:pt x="9159" y="674"/>
                  </a:lnTo>
                  <a:lnTo>
                    <a:pt x="9146" y="626"/>
                  </a:lnTo>
                  <a:lnTo>
                    <a:pt x="9130" y="581"/>
                  </a:lnTo>
                  <a:lnTo>
                    <a:pt x="9113" y="537"/>
                  </a:lnTo>
                  <a:lnTo>
                    <a:pt x="9094" y="494"/>
                  </a:lnTo>
                  <a:lnTo>
                    <a:pt x="9072" y="453"/>
                  </a:lnTo>
                  <a:lnTo>
                    <a:pt x="9049" y="414"/>
                  </a:lnTo>
                  <a:lnTo>
                    <a:pt x="9023" y="376"/>
                  </a:lnTo>
                  <a:lnTo>
                    <a:pt x="8996" y="341"/>
                  </a:lnTo>
                  <a:lnTo>
                    <a:pt x="8968" y="307"/>
                  </a:lnTo>
                  <a:lnTo>
                    <a:pt x="8937" y="275"/>
                  </a:lnTo>
                  <a:lnTo>
                    <a:pt x="8905" y="244"/>
                  </a:lnTo>
                  <a:lnTo>
                    <a:pt x="8871" y="215"/>
                  </a:lnTo>
                  <a:lnTo>
                    <a:pt x="8835" y="187"/>
                  </a:lnTo>
                  <a:lnTo>
                    <a:pt x="8799" y="162"/>
                  </a:lnTo>
                  <a:lnTo>
                    <a:pt x="8761" y="138"/>
                  </a:lnTo>
                  <a:lnTo>
                    <a:pt x="8721" y="117"/>
                  </a:lnTo>
                  <a:lnTo>
                    <a:pt x="8681" y="97"/>
                  </a:lnTo>
                  <a:lnTo>
                    <a:pt x="8639" y="78"/>
                  </a:lnTo>
                  <a:lnTo>
                    <a:pt x="8595" y="62"/>
                  </a:lnTo>
                  <a:lnTo>
                    <a:pt x="8552" y="48"/>
                  </a:lnTo>
                  <a:lnTo>
                    <a:pt x="8506" y="36"/>
                  </a:lnTo>
                  <a:lnTo>
                    <a:pt x="8460" y="24"/>
                  </a:lnTo>
                  <a:lnTo>
                    <a:pt x="8413" y="16"/>
                  </a:lnTo>
                  <a:lnTo>
                    <a:pt x="8364" y="9"/>
                  </a:lnTo>
                  <a:lnTo>
                    <a:pt x="8317" y="4"/>
                  </a:lnTo>
                  <a:lnTo>
                    <a:pt x="8267" y="1"/>
                  </a:lnTo>
                  <a:lnTo>
                    <a:pt x="8217" y="0"/>
                  </a:lnTo>
                  <a:lnTo>
                    <a:pt x="8173" y="1"/>
                  </a:lnTo>
                  <a:lnTo>
                    <a:pt x="8131" y="3"/>
                  </a:lnTo>
                  <a:lnTo>
                    <a:pt x="8088" y="7"/>
                  </a:lnTo>
                  <a:lnTo>
                    <a:pt x="8046" y="12"/>
                  </a:lnTo>
                  <a:lnTo>
                    <a:pt x="8004" y="18"/>
                  </a:lnTo>
                  <a:lnTo>
                    <a:pt x="7964" y="26"/>
                  </a:lnTo>
                  <a:lnTo>
                    <a:pt x="7924" y="36"/>
                  </a:lnTo>
                  <a:lnTo>
                    <a:pt x="7884" y="47"/>
                  </a:lnTo>
                  <a:lnTo>
                    <a:pt x="7846" y="59"/>
                  </a:lnTo>
                  <a:lnTo>
                    <a:pt x="7808" y="73"/>
                  </a:lnTo>
                  <a:lnTo>
                    <a:pt x="7772" y="88"/>
                  </a:lnTo>
                  <a:lnTo>
                    <a:pt x="7736" y="105"/>
                  </a:lnTo>
                  <a:lnTo>
                    <a:pt x="7700" y="122"/>
                  </a:lnTo>
                  <a:lnTo>
                    <a:pt x="7667" y="141"/>
                  </a:lnTo>
                  <a:lnTo>
                    <a:pt x="7633" y="162"/>
                  </a:lnTo>
                  <a:lnTo>
                    <a:pt x="7602" y="184"/>
                  </a:lnTo>
                  <a:lnTo>
                    <a:pt x="7571" y="207"/>
                  </a:lnTo>
                  <a:lnTo>
                    <a:pt x="7542" y="232"/>
                  </a:lnTo>
                  <a:lnTo>
                    <a:pt x="7512" y="257"/>
                  </a:lnTo>
                  <a:lnTo>
                    <a:pt x="7486" y="285"/>
                  </a:lnTo>
                  <a:lnTo>
                    <a:pt x="7459" y="313"/>
                  </a:lnTo>
                  <a:lnTo>
                    <a:pt x="7435" y="343"/>
                  </a:lnTo>
                  <a:lnTo>
                    <a:pt x="7412" y="374"/>
                  </a:lnTo>
                  <a:lnTo>
                    <a:pt x="7389" y="406"/>
                  </a:lnTo>
                  <a:lnTo>
                    <a:pt x="7369" y="439"/>
                  </a:lnTo>
                  <a:lnTo>
                    <a:pt x="7350" y="475"/>
                  </a:lnTo>
                  <a:lnTo>
                    <a:pt x="7331" y="510"/>
                  </a:lnTo>
                  <a:lnTo>
                    <a:pt x="7315" y="548"/>
                  </a:lnTo>
                  <a:lnTo>
                    <a:pt x="7301" y="586"/>
                  </a:lnTo>
                  <a:lnTo>
                    <a:pt x="7287" y="625"/>
                  </a:lnTo>
                  <a:lnTo>
                    <a:pt x="7276" y="666"/>
                  </a:lnTo>
                  <a:lnTo>
                    <a:pt x="7267" y="709"/>
                  </a:lnTo>
                  <a:lnTo>
                    <a:pt x="6980" y="709"/>
                  </a:lnTo>
                  <a:lnTo>
                    <a:pt x="6980" y="42"/>
                  </a:lnTo>
                  <a:lnTo>
                    <a:pt x="6585" y="42"/>
                  </a:lnTo>
                  <a:close/>
                  <a:moveTo>
                    <a:pt x="7643" y="933"/>
                  </a:moveTo>
                  <a:lnTo>
                    <a:pt x="7644" y="900"/>
                  </a:lnTo>
                  <a:lnTo>
                    <a:pt x="7645" y="866"/>
                  </a:lnTo>
                  <a:lnTo>
                    <a:pt x="7649" y="835"/>
                  </a:lnTo>
                  <a:lnTo>
                    <a:pt x="7653" y="803"/>
                  </a:lnTo>
                  <a:lnTo>
                    <a:pt x="7658" y="773"/>
                  </a:lnTo>
                  <a:lnTo>
                    <a:pt x="7664" y="743"/>
                  </a:lnTo>
                  <a:lnTo>
                    <a:pt x="7672" y="715"/>
                  </a:lnTo>
                  <a:lnTo>
                    <a:pt x="7680" y="686"/>
                  </a:lnTo>
                  <a:lnTo>
                    <a:pt x="7690" y="660"/>
                  </a:lnTo>
                  <a:lnTo>
                    <a:pt x="7700" y="634"/>
                  </a:lnTo>
                  <a:lnTo>
                    <a:pt x="7713" y="610"/>
                  </a:lnTo>
                  <a:lnTo>
                    <a:pt x="7726" y="586"/>
                  </a:lnTo>
                  <a:lnTo>
                    <a:pt x="7740" y="563"/>
                  </a:lnTo>
                  <a:lnTo>
                    <a:pt x="7755" y="542"/>
                  </a:lnTo>
                  <a:lnTo>
                    <a:pt x="7772" y="521"/>
                  </a:lnTo>
                  <a:lnTo>
                    <a:pt x="7789" y="501"/>
                  </a:lnTo>
                  <a:lnTo>
                    <a:pt x="7807" y="483"/>
                  </a:lnTo>
                  <a:lnTo>
                    <a:pt x="7828" y="466"/>
                  </a:lnTo>
                  <a:lnTo>
                    <a:pt x="7848" y="449"/>
                  </a:lnTo>
                  <a:lnTo>
                    <a:pt x="7870" y="434"/>
                  </a:lnTo>
                  <a:lnTo>
                    <a:pt x="7893" y="420"/>
                  </a:lnTo>
                  <a:lnTo>
                    <a:pt x="7917" y="408"/>
                  </a:lnTo>
                  <a:lnTo>
                    <a:pt x="7942" y="396"/>
                  </a:lnTo>
                  <a:lnTo>
                    <a:pt x="7968" y="385"/>
                  </a:lnTo>
                  <a:lnTo>
                    <a:pt x="7995" y="375"/>
                  </a:lnTo>
                  <a:lnTo>
                    <a:pt x="8024" y="367"/>
                  </a:lnTo>
                  <a:lnTo>
                    <a:pt x="8053" y="361"/>
                  </a:lnTo>
                  <a:lnTo>
                    <a:pt x="8084" y="355"/>
                  </a:lnTo>
                  <a:lnTo>
                    <a:pt x="8115" y="351"/>
                  </a:lnTo>
                  <a:lnTo>
                    <a:pt x="8148" y="347"/>
                  </a:lnTo>
                  <a:lnTo>
                    <a:pt x="8182" y="345"/>
                  </a:lnTo>
                  <a:lnTo>
                    <a:pt x="8217" y="345"/>
                  </a:lnTo>
                  <a:lnTo>
                    <a:pt x="8252" y="345"/>
                  </a:lnTo>
                  <a:lnTo>
                    <a:pt x="8285" y="347"/>
                  </a:lnTo>
                  <a:lnTo>
                    <a:pt x="8318" y="351"/>
                  </a:lnTo>
                  <a:lnTo>
                    <a:pt x="8349" y="355"/>
                  </a:lnTo>
                  <a:lnTo>
                    <a:pt x="8380" y="361"/>
                  </a:lnTo>
                  <a:lnTo>
                    <a:pt x="8409" y="367"/>
                  </a:lnTo>
                  <a:lnTo>
                    <a:pt x="8438" y="375"/>
                  </a:lnTo>
                  <a:lnTo>
                    <a:pt x="8465" y="385"/>
                  </a:lnTo>
                  <a:lnTo>
                    <a:pt x="8492" y="396"/>
                  </a:lnTo>
                  <a:lnTo>
                    <a:pt x="8517" y="408"/>
                  </a:lnTo>
                  <a:lnTo>
                    <a:pt x="8540" y="420"/>
                  </a:lnTo>
                  <a:lnTo>
                    <a:pt x="8564" y="434"/>
                  </a:lnTo>
                  <a:lnTo>
                    <a:pt x="8585" y="449"/>
                  </a:lnTo>
                  <a:lnTo>
                    <a:pt x="8607" y="466"/>
                  </a:lnTo>
                  <a:lnTo>
                    <a:pt x="8626" y="483"/>
                  </a:lnTo>
                  <a:lnTo>
                    <a:pt x="8644" y="501"/>
                  </a:lnTo>
                  <a:lnTo>
                    <a:pt x="8662" y="521"/>
                  </a:lnTo>
                  <a:lnTo>
                    <a:pt x="8679" y="542"/>
                  </a:lnTo>
                  <a:lnTo>
                    <a:pt x="8694" y="563"/>
                  </a:lnTo>
                  <a:lnTo>
                    <a:pt x="8708" y="586"/>
                  </a:lnTo>
                  <a:lnTo>
                    <a:pt x="8720" y="610"/>
                  </a:lnTo>
                  <a:lnTo>
                    <a:pt x="8733" y="634"/>
                  </a:lnTo>
                  <a:lnTo>
                    <a:pt x="8744" y="660"/>
                  </a:lnTo>
                  <a:lnTo>
                    <a:pt x="8753" y="686"/>
                  </a:lnTo>
                  <a:lnTo>
                    <a:pt x="8762" y="715"/>
                  </a:lnTo>
                  <a:lnTo>
                    <a:pt x="8769" y="743"/>
                  </a:lnTo>
                  <a:lnTo>
                    <a:pt x="8775" y="773"/>
                  </a:lnTo>
                  <a:lnTo>
                    <a:pt x="8780" y="803"/>
                  </a:lnTo>
                  <a:lnTo>
                    <a:pt x="8785" y="835"/>
                  </a:lnTo>
                  <a:lnTo>
                    <a:pt x="8788" y="866"/>
                  </a:lnTo>
                  <a:lnTo>
                    <a:pt x="8790" y="900"/>
                  </a:lnTo>
                  <a:lnTo>
                    <a:pt x="8790" y="933"/>
                  </a:lnTo>
                  <a:lnTo>
                    <a:pt x="8790" y="968"/>
                  </a:lnTo>
                  <a:lnTo>
                    <a:pt x="8788" y="1001"/>
                  </a:lnTo>
                  <a:lnTo>
                    <a:pt x="8785" y="1033"/>
                  </a:lnTo>
                  <a:lnTo>
                    <a:pt x="8780" y="1065"/>
                  </a:lnTo>
                  <a:lnTo>
                    <a:pt x="8775" y="1095"/>
                  </a:lnTo>
                  <a:lnTo>
                    <a:pt x="8769" y="1125"/>
                  </a:lnTo>
                  <a:lnTo>
                    <a:pt x="8762" y="1153"/>
                  </a:lnTo>
                  <a:lnTo>
                    <a:pt x="8753" y="1181"/>
                  </a:lnTo>
                  <a:lnTo>
                    <a:pt x="8744" y="1207"/>
                  </a:lnTo>
                  <a:lnTo>
                    <a:pt x="8733" y="1233"/>
                  </a:lnTo>
                  <a:lnTo>
                    <a:pt x="8720" y="1258"/>
                  </a:lnTo>
                  <a:lnTo>
                    <a:pt x="8708" y="1281"/>
                  </a:lnTo>
                  <a:lnTo>
                    <a:pt x="8694" y="1305"/>
                  </a:lnTo>
                  <a:lnTo>
                    <a:pt x="8679" y="1326"/>
                  </a:lnTo>
                  <a:lnTo>
                    <a:pt x="8662" y="1346"/>
                  </a:lnTo>
                  <a:lnTo>
                    <a:pt x="8644" y="1366"/>
                  </a:lnTo>
                  <a:lnTo>
                    <a:pt x="8626" y="1385"/>
                  </a:lnTo>
                  <a:lnTo>
                    <a:pt x="8607" y="1402"/>
                  </a:lnTo>
                  <a:lnTo>
                    <a:pt x="8585" y="1418"/>
                  </a:lnTo>
                  <a:lnTo>
                    <a:pt x="8564" y="1434"/>
                  </a:lnTo>
                  <a:lnTo>
                    <a:pt x="8540" y="1447"/>
                  </a:lnTo>
                  <a:lnTo>
                    <a:pt x="8517" y="1460"/>
                  </a:lnTo>
                  <a:lnTo>
                    <a:pt x="8492" y="1472"/>
                  </a:lnTo>
                  <a:lnTo>
                    <a:pt x="8465" y="1483"/>
                  </a:lnTo>
                  <a:lnTo>
                    <a:pt x="8438" y="1492"/>
                  </a:lnTo>
                  <a:lnTo>
                    <a:pt x="8409" y="1500"/>
                  </a:lnTo>
                  <a:lnTo>
                    <a:pt x="8380" y="1507"/>
                  </a:lnTo>
                  <a:lnTo>
                    <a:pt x="8349" y="1513"/>
                  </a:lnTo>
                  <a:lnTo>
                    <a:pt x="8318" y="1517"/>
                  </a:lnTo>
                  <a:lnTo>
                    <a:pt x="8285" y="1520"/>
                  </a:lnTo>
                  <a:lnTo>
                    <a:pt x="8252" y="1522"/>
                  </a:lnTo>
                  <a:lnTo>
                    <a:pt x="8217" y="1523"/>
                  </a:lnTo>
                  <a:lnTo>
                    <a:pt x="8182" y="1522"/>
                  </a:lnTo>
                  <a:lnTo>
                    <a:pt x="8148" y="1520"/>
                  </a:lnTo>
                  <a:lnTo>
                    <a:pt x="8115" y="1517"/>
                  </a:lnTo>
                  <a:lnTo>
                    <a:pt x="8084" y="1513"/>
                  </a:lnTo>
                  <a:lnTo>
                    <a:pt x="8053" y="1507"/>
                  </a:lnTo>
                  <a:lnTo>
                    <a:pt x="8024" y="1500"/>
                  </a:lnTo>
                  <a:lnTo>
                    <a:pt x="7995" y="1492"/>
                  </a:lnTo>
                  <a:lnTo>
                    <a:pt x="7968" y="1483"/>
                  </a:lnTo>
                  <a:lnTo>
                    <a:pt x="7942" y="1472"/>
                  </a:lnTo>
                  <a:lnTo>
                    <a:pt x="7917" y="1460"/>
                  </a:lnTo>
                  <a:lnTo>
                    <a:pt x="7893" y="1447"/>
                  </a:lnTo>
                  <a:lnTo>
                    <a:pt x="7870" y="1434"/>
                  </a:lnTo>
                  <a:lnTo>
                    <a:pt x="7848" y="1418"/>
                  </a:lnTo>
                  <a:lnTo>
                    <a:pt x="7828" y="1402"/>
                  </a:lnTo>
                  <a:lnTo>
                    <a:pt x="7807" y="1385"/>
                  </a:lnTo>
                  <a:lnTo>
                    <a:pt x="7789" y="1366"/>
                  </a:lnTo>
                  <a:lnTo>
                    <a:pt x="7772" y="1346"/>
                  </a:lnTo>
                  <a:lnTo>
                    <a:pt x="7755" y="1326"/>
                  </a:lnTo>
                  <a:lnTo>
                    <a:pt x="7740" y="1305"/>
                  </a:lnTo>
                  <a:lnTo>
                    <a:pt x="7726" y="1281"/>
                  </a:lnTo>
                  <a:lnTo>
                    <a:pt x="7713" y="1258"/>
                  </a:lnTo>
                  <a:lnTo>
                    <a:pt x="7700" y="1233"/>
                  </a:lnTo>
                  <a:lnTo>
                    <a:pt x="7690" y="1207"/>
                  </a:lnTo>
                  <a:lnTo>
                    <a:pt x="7680" y="1181"/>
                  </a:lnTo>
                  <a:lnTo>
                    <a:pt x="7672" y="1153"/>
                  </a:lnTo>
                  <a:lnTo>
                    <a:pt x="7664" y="1125"/>
                  </a:lnTo>
                  <a:lnTo>
                    <a:pt x="7658" y="1095"/>
                  </a:lnTo>
                  <a:lnTo>
                    <a:pt x="7653" y="1065"/>
                  </a:lnTo>
                  <a:lnTo>
                    <a:pt x="7649" y="1033"/>
                  </a:lnTo>
                  <a:lnTo>
                    <a:pt x="7645" y="1001"/>
                  </a:lnTo>
                  <a:lnTo>
                    <a:pt x="7644" y="968"/>
                  </a:lnTo>
                  <a:lnTo>
                    <a:pt x="7643" y="933"/>
                  </a:lnTo>
                  <a:close/>
                  <a:moveTo>
                    <a:pt x="11327" y="477"/>
                  </a:moveTo>
                  <a:lnTo>
                    <a:pt x="11310" y="447"/>
                  </a:lnTo>
                  <a:lnTo>
                    <a:pt x="11291" y="420"/>
                  </a:lnTo>
                  <a:lnTo>
                    <a:pt x="11272" y="392"/>
                  </a:lnTo>
                  <a:lnTo>
                    <a:pt x="11253" y="366"/>
                  </a:lnTo>
                  <a:lnTo>
                    <a:pt x="11232" y="341"/>
                  </a:lnTo>
                  <a:lnTo>
                    <a:pt x="11211" y="316"/>
                  </a:lnTo>
                  <a:lnTo>
                    <a:pt x="11190" y="293"/>
                  </a:lnTo>
                  <a:lnTo>
                    <a:pt x="11167" y="270"/>
                  </a:lnTo>
                  <a:lnTo>
                    <a:pt x="11144" y="248"/>
                  </a:lnTo>
                  <a:lnTo>
                    <a:pt x="11121" y="228"/>
                  </a:lnTo>
                  <a:lnTo>
                    <a:pt x="11096" y="207"/>
                  </a:lnTo>
                  <a:lnTo>
                    <a:pt x="11071" y="188"/>
                  </a:lnTo>
                  <a:lnTo>
                    <a:pt x="11045" y="171"/>
                  </a:lnTo>
                  <a:lnTo>
                    <a:pt x="11018" y="154"/>
                  </a:lnTo>
                  <a:lnTo>
                    <a:pt x="10991" y="136"/>
                  </a:lnTo>
                  <a:lnTo>
                    <a:pt x="10963" y="121"/>
                  </a:lnTo>
                  <a:lnTo>
                    <a:pt x="10934" y="107"/>
                  </a:lnTo>
                  <a:lnTo>
                    <a:pt x="10905" y="93"/>
                  </a:lnTo>
                  <a:lnTo>
                    <a:pt x="10875" y="80"/>
                  </a:lnTo>
                  <a:lnTo>
                    <a:pt x="10845" y="68"/>
                  </a:lnTo>
                  <a:lnTo>
                    <a:pt x="10813" y="58"/>
                  </a:lnTo>
                  <a:lnTo>
                    <a:pt x="10782" y="48"/>
                  </a:lnTo>
                  <a:lnTo>
                    <a:pt x="10749" y="39"/>
                  </a:lnTo>
                  <a:lnTo>
                    <a:pt x="10716" y="30"/>
                  </a:lnTo>
                  <a:lnTo>
                    <a:pt x="10682" y="23"/>
                  </a:lnTo>
                  <a:lnTo>
                    <a:pt x="10648" y="17"/>
                  </a:lnTo>
                  <a:lnTo>
                    <a:pt x="10612" y="12"/>
                  </a:lnTo>
                  <a:lnTo>
                    <a:pt x="10576" y="8"/>
                  </a:lnTo>
                  <a:lnTo>
                    <a:pt x="10540" y="4"/>
                  </a:lnTo>
                  <a:lnTo>
                    <a:pt x="10502" y="2"/>
                  </a:lnTo>
                  <a:lnTo>
                    <a:pt x="10465" y="1"/>
                  </a:lnTo>
                  <a:lnTo>
                    <a:pt x="10426" y="0"/>
                  </a:lnTo>
                  <a:lnTo>
                    <a:pt x="10373" y="1"/>
                  </a:lnTo>
                  <a:lnTo>
                    <a:pt x="10322" y="4"/>
                  </a:lnTo>
                  <a:lnTo>
                    <a:pt x="10271" y="9"/>
                  </a:lnTo>
                  <a:lnTo>
                    <a:pt x="10222" y="16"/>
                  </a:lnTo>
                  <a:lnTo>
                    <a:pt x="10174" y="25"/>
                  </a:lnTo>
                  <a:lnTo>
                    <a:pt x="10126" y="37"/>
                  </a:lnTo>
                  <a:lnTo>
                    <a:pt x="10079" y="50"/>
                  </a:lnTo>
                  <a:lnTo>
                    <a:pt x="10033" y="65"/>
                  </a:lnTo>
                  <a:lnTo>
                    <a:pt x="9990" y="81"/>
                  </a:lnTo>
                  <a:lnTo>
                    <a:pt x="9947" y="101"/>
                  </a:lnTo>
                  <a:lnTo>
                    <a:pt x="9905" y="121"/>
                  </a:lnTo>
                  <a:lnTo>
                    <a:pt x="9865" y="143"/>
                  </a:lnTo>
                  <a:lnTo>
                    <a:pt x="9826" y="168"/>
                  </a:lnTo>
                  <a:lnTo>
                    <a:pt x="9788" y="194"/>
                  </a:lnTo>
                  <a:lnTo>
                    <a:pt x="9753" y="222"/>
                  </a:lnTo>
                  <a:lnTo>
                    <a:pt x="9718" y="251"/>
                  </a:lnTo>
                  <a:lnTo>
                    <a:pt x="9686" y="282"/>
                  </a:lnTo>
                  <a:lnTo>
                    <a:pt x="9654" y="314"/>
                  </a:lnTo>
                  <a:lnTo>
                    <a:pt x="9626" y="349"/>
                  </a:lnTo>
                  <a:lnTo>
                    <a:pt x="9598" y="385"/>
                  </a:lnTo>
                  <a:lnTo>
                    <a:pt x="9572" y="423"/>
                  </a:lnTo>
                  <a:lnTo>
                    <a:pt x="9548" y="462"/>
                  </a:lnTo>
                  <a:lnTo>
                    <a:pt x="9527" y="502"/>
                  </a:lnTo>
                  <a:lnTo>
                    <a:pt x="9508" y="545"/>
                  </a:lnTo>
                  <a:lnTo>
                    <a:pt x="9489" y="589"/>
                  </a:lnTo>
                  <a:lnTo>
                    <a:pt x="9474" y="633"/>
                  </a:lnTo>
                  <a:lnTo>
                    <a:pt x="9461" y="680"/>
                  </a:lnTo>
                  <a:lnTo>
                    <a:pt x="9451" y="728"/>
                  </a:lnTo>
                  <a:lnTo>
                    <a:pt x="9441" y="778"/>
                  </a:lnTo>
                  <a:lnTo>
                    <a:pt x="9435" y="829"/>
                  </a:lnTo>
                  <a:lnTo>
                    <a:pt x="9432" y="881"/>
                  </a:lnTo>
                  <a:lnTo>
                    <a:pt x="9430" y="933"/>
                  </a:lnTo>
                  <a:lnTo>
                    <a:pt x="9431" y="987"/>
                  </a:lnTo>
                  <a:lnTo>
                    <a:pt x="9435" y="1039"/>
                  </a:lnTo>
                  <a:lnTo>
                    <a:pt x="9441" y="1090"/>
                  </a:lnTo>
                  <a:lnTo>
                    <a:pt x="9450" y="1139"/>
                  </a:lnTo>
                  <a:lnTo>
                    <a:pt x="9461" y="1188"/>
                  </a:lnTo>
                  <a:lnTo>
                    <a:pt x="9474" y="1234"/>
                  </a:lnTo>
                  <a:lnTo>
                    <a:pt x="9488" y="1279"/>
                  </a:lnTo>
                  <a:lnTo>
                    <a:pt x="9506" y="1323"/>
                  </a:lnTo>
                  <a:lnTo>
                    <a:pt x="9525" y="1365"/>
                  </a:lnTo>
                  <a:lnTo>
                    <a:pt x="9546" y="1405"/>
                  </a:lnTo>
                  <a:lnTo>
                    <a:pt x="9570" y="1445"/>
                  </a:lnTo>
                  <a:lnTo>
                    <a:pt x="9595" y="1483"/>
                  </a:lnTo>
                  <a:lnTo>
                    <a:pt x="9623" y="1518"/>
                  </a:lnTo>
                  <a:lnTo>
                    <a:pt x="9651" y="1553"/>
                  </a:lnTo>
                  <a:lnTo>
                    <a:pt x="9681" y="1585"/>
                  </a:lnTo>
                  <a:lnTo>
                    <a:pt x="9714" y="1617"/>
                  </a:lnTo>
                  <a:lnTo>
                    <a:pt x="9749" y="1646"/>
                  </a:lnTo>
                  <a:lnTo>
                    <a:pt x="9784" y="1674"/>
                  </a:lnTo>
                  <a:lnTo>
                    <a:pt x="9822" y="1700"/>
                  </a:lnTo>
                  <a:lnTo>
                    <a:pt x="9860" y="1724"/>
                  </a:lnTo>
                  <a:lnTo>
                    <a:pt x="9900" y="1746"/>
                  </a:lnTo>
                  <a:lnTo>
                    <a:pt x="9942" y="1767"/>
                  </a:lnTo>
                  <a:lnTo>
                    <a:pt x="9986" y="1786"/>
                  </a:lnTo>
                  <a:lnTo>
                    <a:pt x="10029" y="1803"/>
                  </a:lnTo>
                  <a:lnTo>
                    <a:pt x="10075" y="1818"/>
                  </a:lnTo>
                  <a:lnTo>
                    <a:pt x="10122" y="1830"/>
                  </a:lnTo>
                  <a:lnTo>
                    <a:pt x="10170" y="1841"/>
                  </a:lnTo>
                  <a:lnTo>
                    <a:pt x="10219" y="1851"/>
                  </a:lnTo>
                  <a:lnTo>
                    <a:pt x="10269" y="1858"/>
                  </a:lnTo>
                  <a:lnTo>
                    <a:pt x="10320" y="1863"/>
                  </a:lnTo>
                  <a:lnTo>
                    <a:pt x="10372" y="1867"/>
                  </a:lnTo>
                  <a:lnTo>
                    <a:pt x="10426" y="1868"/>
                  </a:lnTo>
                  <a:lnTo>
                    <a:pt x="10465" y="1867"/>
                  </a:lnTo>
                  <a:lnTo>
                    <a:pt x="10502" y="1866"/>
                  </a:lnTo>
                  <a:lnTo>
                    <a:pt x="10540" y="1863"/>
                  </a:lnTo>
                  <a:lnTo>
                    <a:pt x="10576" y="1860"/>
                  </a:lnTo>
                  <a:lnTo>
                    <a:pt x="10612" y="1856"/>
                  </a:lnTo>
                  <a:lnTo>
                    <a:pt x="10648" y="1851"/>
                  </a:lnTo>
                  <a:lnTo>
                    <a:pt x="10682" y="1845"/>
                  </a:lnTo>
                  <a:lnTo>
                    <a:pt x="10716" y="1837"/>
                  </a:lnTo>
                  <a:lnTo>
                    <a:pt x="10749" y="1829"/>
                  </a:lnTo>
                  <a:lnTo>
                    <a:pt x="10782" y="1820"/>
                  </a:lnTo>
                  <a:lnTo>
                    <a:pt x="10813" y="1810"/>
                  </a:lnTo>
                  <a:lnTo>
                    <a:pt x="10845" y="1799"/>
                  </a:lnTo>
                  <a:lnTo>
                    <a:pt x="10875" y="1788"/>
                  </a:lnTo>
                  <a:lnTo>
                    <a:pt x="10905" y="1774"/>
                  </a:lnTo>
                  <a:lnTo>
                    <a:pt x="10934" y="1761"/>
                  </a:lnTo>
                  <a:lnTo>
                    <a:pt x="10963" y="1746"/>
                  </a:lnTo>
                  <a:lnTo>
                    <a:pt x="10991" y="1731"/>
                  </a:lnTo>
                  <a:lnTo>
                    <a:pt x="11018" y="1714"/>
                  </a:lnTo>
                  <a:lnTo>
                    <a:pt x="11045" y="1697"/>
                  </a:lnTo>
                  <a:lnTo>
                    <a:pt x="11071" y="1679"/>
                  </a:lnTo>
                  <a:lnTo>
                    <a:pt x="11096" y="1659"/>
                  </a:lnTo>
                  <a:lnTo>
                    <a:pt x="11121" y="1640"/>
                  </a:lnTo>
                  <a:lnTo>
                    <a:pt x="11144" y="1619"/>
                  </a:lnTo>
                  <a:lnTo>
                    <a:pt x="11167" y="1597"/>
                  </a:lnTo>
                  <a:lnTo>
                    <a:pt x="11190" y="1574"/>
                  </a:lnTo>
                  <a:lnTo>
                    <a:pt x="11211" y="1551"/>
                  </a:lnTo>
                  <a:lnTo>
                    <a:pt x="11232" y="1526"/>
                  </a:lnTo>
                  <a:lnTo>
                    <a:pt x="11253" y="1501"/>
                  </a:lnTo>
                  <a:lnTo>
                    <a:pt x="11272" y="1474"/>
                  </a:lnTo>
                  <a:lnTo>
                    <a:pt x="11291" y="1448"/>
                  </a:lnTo>
                  <a:lnTo>
                    <a:pt x="11310" y="1419"/>
                  </a:lnTo>
                  <a:lnTo>
                    <a:pt x="11327" y="1391"/>
                  </a:lnTo>
                  <a:lnTo>
                    <a:pt x="11015" y="1211"/>
                  </a:lnTo>
                  <a:lnTo>
                    <a:pt x="11002" y="1228"/>
                  </a:lnTo>
                  <a:lnTo>
                    <a:pt x="10988" y="1246"/>
                  </a:lnTo>
                  <a:lnTo>
                    <a:pt x="10975" y="1263"/>
                  </a:lnTo>
                  <a:lnTo>
                    <a:pt x="10962" y="1279"/>
                  </a:lnTo>
                  <a:lnTo>
                    <a:pt x="10948" y="1294"/>
                  </a:lnTo>
                  <a:lnTo>
                    <a:pt x="10933" y="1310"/>
                  </a:lnTo>
                  <a:lnTo>
                    <a:pt x="10919" y="1325"/>
                  </a:lnTo>
                  <a:lnTo>
                    <a:pt x="10904" y="1339"/>
                  </a:lnTo>
                  <a:lnTo>
                    <a:pt x="10890" y="1352"/>
                  </a:lnTo>
                  <a:lnTo>
                    <a:pt x="10873" y="1366"/>
                  </a:lnTo>
                  <a:lnTo>
                    <a:pt x="10858" y="1378"/>
                  </a:lnTo>
                  <a:lnTo>
                    <a:pt x="10842" y="1390"/>
                  </a:lnTo>
                  <a:lnTo>
                    <a:pt x="10825" y="1402"/>
                  </a:lnTo>
                  <a:lnTo>
                    <a:pt x="10807" y="1412"/>
                  </a:lnTo>
                  <a:lnTo>
                    <a:pt x="10790" y="1423"/>
                  </a:lnTo>
                  <a:lnTo>
                    <a:pt x="10773" y="1433"/>
                  </a:lnTo>
                  <a:lnTo>
                    <a:pt x="10754" y="1442"/>
                  </a:lnTo>
                  <a:lnTo>
                    <a:pt x="10735" y="1451"/>
                  </a:lnTo>
                  <a:lnTo>
                    <a:pt x="10716" y="1459"/>
                  </a:lnTo>
                  <a:lnTo>
                    <a:pt x="10696" y="1466"/>
                  </a:lnTo>
                  <a:lnTo>
                    <a:pt x="10676" y="1473"/>
                  </a:lnTo>
                  <a:lnTo>
                    <a:pt x="10656" y="1479"/>
                  </a:lnTo>
                  <a:lnTo>
                    <a:pt x="10634" y="1486"/>
                  </a:lnTo>
                  <a:lnTo>
                    <a:pt x="10613" y="1491"/>
                  </a:lnTo>
                  <a:lnTo>
                    <a:pt x="10591" y="1495"/>
                  </a:lnTo>
                  <a:lnTo>
                    <a:pt x="10567" y="1499"/>
                  </a:lnTo>
                  <a:lnTo>
                    <a:pt x="10544" y="1502"/>
                  </a:lnTo>
                  <a:lnTo>
                    <a:pt x="10521" y="1505"/>
                  </a:lnTo>
                  <a:lnTo>
                    <a:pt x="10496" y="1507"/>
                  </a:lnTo>
                  <a:lnTo>
                    <a:pt x="10471" y="1509"/>
                  </a:lnTo>
                  <a:lnTo>
                    <a:pt x="10445" y="1510"/>
                  </a:lnTo>
                  <a:lnTo>
                    <a:pt x="10419" y="1510"/>
                  </a:lnTo>
                  <a:lnTo>
                    <a:pt x="10386" y="1509"/>
                  </a:lnTo>
                  <a:lnTo>
                    <a:pt x="10355" y="1507"/>
                  </a:lnTo>
                  <a:lnTo>
                    <a:pt x="10324" y="1504"/>
                  </a:lnTo>
                  <a:lnTo>
                    <a:pt x="10294" y="1500"/>
                  </a:lnTo>
                  <a:lnTo>
                    <a:pt x="10264" y="1494"/>
                  </a:lnTo>
                  <a:lnTo>
                    <a:pt x="10236" y="1487"/>
                  </a:lnTo>
                  <a:lnTo>
                    <a:pt x="10207" y="1478"/>
                  </a:lnTo>
                  <a:lnTo>
                    <a:pt x="10180" y="1468"/>
                  </a:lnTo>
                  <a:lnTo>
                    <a:pt x="10153" y="1458"/>
                  </a:lnTo>
                  <a:lnTo>
                    <a:pt x="10128" y="1446"/>
                  </a:lnTo>
                  <a:lnTo>
                    <a:pt x="10104" y="1433"/>
                  </a:lnTo>
                  <a:lnTo>
                    <a:pt x="10080" y="1418"/>
                  </a:lnTo>
                  <a:lnTo>
                    <a:pt x="10057" y="1403"/>
                  </a:lnTo>
                  <a:lnTo>
                    <a:pt x="10035" y="1387"/>
                  </a:lnTo>
                  <a:lnTo>
                    <a:pt x="10014" y="1370"/>
                  </a:lnTo>
                  <a:lnTo>
                    <a:pt x="9994" y="1351"/>
                  </a:lnTo>
                  <a:lnTo>
                    <a:pt x="9975" y="1332"/>
                  </a:lnTo>
                  <a:lnTo>
                    <a:pt x="9957" y="1312"/>
                  </a:lnTo>
                  <a:lnTo>
                    <a:pt x="9941" y="1289"/>
                  </a:lnTo>
                  <a:lnTo>
                    <a:pt x="9925" y="1268"/>
                  </a:lnTo>
                  <a:lnTo>
                    <a:pt x="9910" y="1245"/>
                  </a:lnTo>
                  <a:lnTo>
                    <a:pt x="9896" y="1220"/>
                  </a:lnTo>
                  <a:lnTo>
                    <a:pt x="9884" y="1195"/>
                  </a:lnTo>
                  <a:lnTo>
                    <a:pt x="9873" y="1169"/>
                  </a:lnTo>
                  <a:lnTo>
                    <a:pt x="9864" y="1143"/>
                  </a:lnTo>
                  <a:lnTo>
                    <a:pt x="9854" y="1114"/>
                  </a:lnTo>
                  <a:lnTo>
                    <a:pt x="9847" y="1087"/>
                  </a:lnTo>
                  <a:lnTo>
                    <a:pt x="9841" y="1057"/>
                  </a:lnTo>
                  <a:lnTo>
                    <a:pt x="9836" y="1028"/>
                  </a:lnTo>
                  <a:lnTo>
                    <a:pt x="9833" y="998"/>
                  </a:lnTo>
                  <a:lnTo>
                    <a:pt x="9831" y="966"/>
                  </a:lnTo>
                  <a:lnTo>
                    <a:pt x="9830" y="933"/>
                  </a:lnTo>
                  <a:lnTo>
                    <a:pt x="9831" y="901"/>
                  </a:lnTo>
                  <a:lnTo>
                    <a:pt x="9833" y="869"/>
                  </a:lnTo>
                  <a:lnTo>
                    <a:pt x="9836" y="839"/>
                  </a:lnTo>
                  <a:lnTo>
                    <a:pt x="9840" y="808"/>
                  </a:lnTo>
                  <a:lnTo>
                    <a:pt x="9846" y="779"/>
                  </a:lnTo>
                  <a:lnTo>
                    <a:pt x="9853" y="750"/>
                  </a:lnTo>
                  <a:lnTo>
                    <a:pt x="9863" y="723"/>
                  </a:lnTo>
                  <a:lnTo>
                    <a:pt x="9872" y="696"/>
                  </a:lnTo>
                  <a:lnTo>
                    <a:pt x="9883" y="670"/>
                  </a:lnTo>
                  <a:lnTo>
                    <a:pt x="9894" y="645"/>
                  </a:lnTo>
                  <a:lnTo>
                    <a:pt x="9907" y="620"/>
                  </a:lnTo>
                  <a:lnTo>
                    <a:pt x="9923" y="597"/>
                  </a:lnTo>
                  <a:lnTo>
                    <a:pt x="9938" y="575"/>
                  </a:lnTo>
                  <a:lnTo>
                    <a:pt x="9954" y="553"/>
                  </a:lnTo>
                  <a:lnTo>
                    <a:pt x="9971" y="533"/>
                  </a:lnTo>
                  <a:lnTo>
                    <a:pt x="9991" y="513"/>
                  </a:lnTo>
                  <a:lnTo>
                    <a:pt x="10010" y="496"/>
                  </a:lnTo>
                  <a:lnTo>
                    <a:pt x="10031" y="479"/>
                  </a:lnTo>
                  <a:lnTo>
                    <a:pt x="10053" y="463"/>
                  </a:lnTo>
                  <a:lnTo>
                    <a:pt x="10075" y="447"/>
                  </a:lnTo>
                  <a:lnTo>
                    <a:pt x="10099" y="433"/>
                  </a:lnTo>
                  <a:lnTo>
                    <a:pt x="10124" y="420"/>
                  </a:lnTo>
                  <a:lnTo>
                    <a:pt x="10149" y="409"/>
                  </a:lnTo>
                  <a:lnTo>
                    <a:pt x="10176" y="399"/>
                  </a:lnTo>
                  <a:lnTo>
                    <a:pt x="10203" y="388"/>
                  </a:lnTo>
                  <a:lnTo>
                    <a:pt x="10232" y="380"/>
                  </a:lnTo>
                  <a:lnTo>
                    <a:pt x="10261" y="373"/>
                  </a:lnTo>
                  <a:lnTo>
                    <a:pt x="10291" y="368"/>
                  </a:lnTo>
                  <a:lnTo>
                    <a:pt x="10322" y="363"/>
                  </a:lnTo>
                  <a:lnTo>
                    <a:pt x="10354" y="360"/>
                  </a:lnTo>
                  <a:lnTo>
                    <a:pt x="10386" y="358"/>
                  </a:lnTo>
                  <a:lnTo>
                    <a:pt x="10419" y="358"/>
                  </a:lnTo>
                  <a:lnTo>
                    <a:pt x="10445" y="358"/>
                  </a:lnTo>
                  <a:lnTo>
                    <a:pt x="10471" y="359"/>
                  </a:lnTo>
                  <a:lnTo>
                    <a:pt x="10496" y="360"/>
                  </a:lnTo>
                  <a:lnTo>
                    <a:pt x="10521" y="362"/>
                  </a:lnTo>
                  <a:lnTo>
                    <a:pt x="10544" y="365"/>
                  </a:lnTo>
                  <a:lnTo>
                    <a:pt x="10567" y="368"/>
                  </a:lnTo>
                  <a:lnTo>
                    <a:pt x="10591" y="372"/>
                  </a:lnTo>
                  <a:lnTo>
                    <a:pt x="10613" y="377"/>
                  </a:lnTo>
                  <a:lnTo>
                    <a:pt x="10634" y="382"/>
                  </a:lnTo>
                  <a:lnTo>
                    <a:pt x="10656" y="388"/>
                  </a:lnTo>
                  <a:lnTo>
                    <a:pt x="10676" y="395"/>
                  </a:lnTo>
                  <a:lnTo>
                    <a:pt x="10696" y="402"/>
                  </a:lnTo>
                  <a:lnTo>
                    <a:pt x="10716" y="409"/>
                  </a:lnTo>
                  <a:lnTo>
                    <a:pt x="10735" y="417"/>
                  </a:lnTo>
                  <a:lnTo>
                    <a:pt x="10754" y="425"/>
                  </a:lnTo>
                  <a:lnTo>
                    <a:pt x="10773" y="435"/>
                  </a:lnTo>
                  <a:lnTo>
                    <a:pt x="10790" y="444"/>
                  </a:lnTo>
                  <a:lnTo>
                    <a:pt x="10807" y="455"/>
                  </a:lnTo>
                  <a:lnTo>
                    <a:pt x="10825" y="466"/>
                  </a:lnTo>
                  <a:lnTo>
                    <a:pt x="10842" y="477"/>
                  </a:lnTo>
                  <a:lnTo>
                    <a:pt x="10858" y="489"/>
                  </a:lnTo>
                  <a:lnTo>
                    <a:pt x="10873" y="502"/>
                  </a:lnTo>
                  <a:lnTo>
                    <a:pt x="10890" y="515"/>
                  </a:lnTo>
                  <a:lnTo>
                    <a:pt x="10904" y="529"/>
                  </a:lnTo>
                  <a:lnTo>
                    <a:pt x="10919" y="543"/>
                  </a:lnTo>
                  <a:lnTo>
                    <a:pt x="10933" y="557"/>
                  </a:lnTo>
                  <a:lnTo>
                    <a:pt x="10948" y="572"/>
                  </a:lnTo>
                  <a:lnTo>
                    <a:pt x="10962" y="589"/>
                  </a:lnTo>
                  <a:lnTo>
                    <a:pt x="10975" y="605"/>
                  </a:lnTo>
                  <a:lnTo>
                    <a:pt x="10988" y="621"/>
                  </a:lnTo>
                  <a:lnTo>
                    <a:pt x="11002" y="639"/>
                  </a:lnTo>
                  <a:lnTo>
                    <a:pt x="11015" y="657"/>
                  </a:lnTo>
                  <a:lnTo>
                    <a:pt x="11327" y="4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490538" y="487363"/>
              <a:ext cx="466725" cy="455612"/>
            </a:xfrm>
            <a:custGeom>
              <a:avLst/>
              <a:gdLst>
                <a:gd name="T0" fmla="*/ 1853 w 3532"/>
                <a:gd name="T1" fmla="*/ 1336 h 3444"/>
                <a:gd name="T2" fmla="*/ 1828 w 3532"/>
                <a:gd name="T3" fmla="*/ 1351 h 3444"/>
                <a:gd name="T4" fmla="*/ 1795 w 3532"/>
                <a:gd name="T5" fmla="*/ 1349 h 3444"/>
                <a:gd name="T6" fmla="*/ 1104 w 3532"/>
                <a:gd name="T7" fmla="*/ 1069 h 3444"/>
                <a:gd name="T8" fmla="*/ 1071 w 3532"/>
                <a:gd name="T9" fmla="*/ 1010 h 3444"/>
                <a:gd name="T10" fmla="*/ 1204 w 3532"/>
                <a:gd name="T11" fmla="*/ 141 h 3444"/>
                <a:gd name="T12" fmla="*/ 1231 w 3532"/>
                <a:gd name="T13" fmla="*/ 77 h 3444"/>
                <a:gd name="T14" fmla="*/ 1287 w 3532"/>
                <a:gd name="T15" fmla="*/ 37 h 3444"/>
                <a:gd name="T16" fmla="*/ 2026 w 3532"/>
                <a:gd name="T17" fmla="*/ 0 h 3444"/>
                <a:gd name="T18" fmla="*/ 2055 w 3532"/>
                <a:gd name="T19" fmla="*/ 11 h 3444"/>
                <a:gd name="T20" fmla="*/ 2072 w 3532"/>
                <a:gd name="T21" fmla="*/ 37 h 3444"/>
                <a:gd name="T22" fmla="*/ 1399 w 3532"/>
                <a:gd name="T23" fmla="*/ 1554 h 3444"/>
                <a:gd name="T24" fmla="*/ 1417 w 3532"/>
                <a:gd name="T25" fmla="*/ 1578 h 3444"/>
                <a:gd name="T26" fmla="*/ 1414 w 3532"/>
                <a:gd name="T27" fmla="*/ 1610 h 3444"/>
                <a:gd name="T28" fmla="*/ 958 w 3532"/>
                <a:gd name="T29" fmla="*/ 2172 h 3444"/>
                <a:gd name="T30" fmla="*/ 893 w 3532"/>
                <a:gd name="T31" fmla="*/ 2208 h 3444"/>
                <a:gd name="T32" fmla="*/ 826 w 3532"/>
                <a:gd name="T33" fmla="*/ 2201 h 3444"/>
                <a:gd name="T34" fmla="*/ 45 w 3532"/>
                <a:gd name="T35" fmla="*/ 1796 h 3444"/>
                <a:gd name="T36" fmla="*/ 6 w 3532"/>
                <a:gd name="T37" fmla="*/ 1741 h 3444"/>
                <a:gd name="T38" fmla="*/ 4 w 3532"/>
                <a:gd name="T39" fmla="*/ 1664 h 3444"/>
                <a:gd name="T40" fmla="*/ 200 w 3532"/>
                <a:gd name="T41" fmla="*/ 976 h 3444"/>
                <a:gd name="T42" fmla="*/ 226 w 3532"/>
                <a:gd name="T43" fmla="*/ 959 h 3444"/>
                <a:gd name="T44" fmla="*/ 255 w 3532"/>
                <a:gd name="T45" fmla="*/ 963 h 3444"/>
                <a:gd name="T46" fmla="*/ 1491 w 3532"/>
                <a:gd name="T47" fmla="*/ 2055 h 3444"/>
                <a:gd name="T48" fmla="*/ 1521 w 3532"/>
                <a:gd name="T49" fmla="*/ 2057 h 3444"/>
                <a:gd name="T50" fmla="*/ 1546 w 3532"/>
                <a:gd name="T51" fmla="*/ 2077 h 3444"/>
                <a:gd name="T52" fmla="*/ 1940 w 3532"/>
                <a:gd name="T53" fmla="*/ 2711 h 3444"/>
                <a:gd name="T54" fmla="*/ 1933 w 3532"/>
                <a:gd name="T55" fmla="*/ 2779 h 3444"/>
                <a:gd name="T56" fmla="*/ 1315 w 3532"/>
                <a:gd name="T57" fmla="*/ 3402 h 3444"/>
                <a:gd name="T58" fmla="*/ 1256 w 3532"/>
                <a:gd name="T59" fmla="*/ 3439 h 3444"/>
                <a:gd name="T60" fmla="*/ 1187 w 3532"/>
                <a:gd name="T61" fmla="*/ 3439 h 3444"/>
                <a:gd name="T62" fmla="*/ 567 w 3532"/>
                <a:gd name="T63" fmla="*/ 3035 h 3444"/>
                <a:gd name="T64" fmla="*/ 549 w 3532"/>
                <a:gd name="T65" fmla="*/ 3009 h 3444"/>
                <a:gd name="T66" fmla="*/ 551 w 3532"/>
                <a:gd name="T67" fmla="*/ 2978 h 3444"/>
                <a:gd name="T68" fmla="*/ 1987 w 3532"/>
                <a:gd name="T69" fmla="*/ 2144 h 3444"/>
                <a:gd name="T70" fmla="*/ 1988 w 3532"/>
                <a:gd name="T71" fmla="*/ 2114 h 3444"/>
                <a:gd name="T72" fmla="*/ 2009 w 3532"/>
                <a:gd name="T73" fmla="*/ 2091 h 3444"/>
                <a:gd name="T74" fmla="*/ 2707 w 3532"/>
                <a:gd name="T75" fmla="*/ 1899 h 3444"/>
                <a:gd name="T76" fmla="*/ 2780 w 3532"/>
                <a:gd name="T77" fmla="*/ 1910 h 3444"/>
                <a:gd name="T78" fmla="*/ 2832 w 3532"/>
                <a:gd name="T79" fmla="*/ 1953 h 3444"/>
                <a:gd name="T80" fmla="*/ 3229 w 3532"/>
                <a:gd name="T81" fmla="*/ 2739 h 3444"/>
                <a:gd name="T82" fmla="*/ 3227 w 3532"/>
                <a:gd name="T83" fmla="*/ 2806 h 3444"/>
                <a:gd name="T84" fmla="*/ 3184 w 3532"/>
                <a:gd name="T85" fmla="*/ 2871 h 3444"/>
                <a:gd name="T86" fmla="*/ 2624 w 3532"/>
                <a:gd name="T87" fmla="*/ 3314 h 3444"/>
                <a:gd name="T88" fmla="*/ 2593 w 3532"/>
                <a:gd name="T89" fmla="*/ 3313 h 3444"/>
                <a:gd name="T90" fmla="*/ 2570 w 3532"/>
                <a:gd name="T91" fmla="*/ 3292 h 3444"/>
                <a:gd name="T92" fmla="*/ 2206 w 3532"/>
                <a:gd name="T93" fmla="*/ 1686 h 3444"/>
                <a:gd name="T94" fmla="*/ 2183 w 3532"/>
                <a:gd name="T95" fmla="*/ 1667 h 3444"/>
                <a:gd name="T96" fmla="*/ 2176 w 3532"/>
                <a:gd name="T97" fmla="*/ 1635 h 3444"/>
                <a:gd name="T98" fmla="*/ 2229 w 3532"/>
                <a:gd name="T99" fmla="*/ 892 h 3444"/>
                <a:gd name="T100" fmla="*/ 2275 w 3532"/>
                <a:gd name="T101" fmla="*/ 841 h 3444"/>
                <a:gd name="T102" fmla="*/ 3142 w 3532"/>
                <a:gd name="T103" fmla="*/ 700 h 3444"/>
                <a:gd name="T104" fmla="*/ 3211 w 3532"/>
                <a:gd name="T105" fmla="*/ 706 h 3444"/>
                <a:gd name="T106" fmla="*/ 3268 w 3532"/>
                <a:gd name="T107" fmla="*/ 746 h 3444"/>
                <a:gd name="T108" fmla="*/ 3530 w 3532"/>
                <a:gd name="T109" fmla="*/ 1438 h 3444"/>
                <a:gd name="T110" fmla="*/ 3529 w 3532"/>
                <a:gd name="T111" fmla="*/ 1469 h 3444"/>
                <a:gd name="T112" fmla="*/ 3510 w 3532"/>
                <a:gd name="T113" fmla="*/ 1493 h 3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32" h="3444">
                  <a:moveTo>
                    <a:pt x="2072" y="52"/>
                  </a:moveTo>
                  <a:lnTo>
                    <a:pt x="1861" y="1317"/>
                  </a:lnTo>
                  <a:lnTo>
                    <a:pt x="1860" y="1322"/>
                  </a:lnTo>
                  <a:lnTo>
                    <a:pt x="1858" y="1327"/>
                  </a:lnTo>
                  <a:lnTo>
                    <a:pt x="1856" y="1332"/>
                  </a:lnTo>
                  <a:lnTo>
                    <a:pt x="1853" y="1336"/>
                  </a:lnTo>
                  <a:lnTo>
                    <a:pt x="1849" y="1340"/>
                  </a:lnTo>
                  <a:lnTo>
                    <a:pt x="1846" y="1343"/>
                  </a:lnTo>
                  <a:lnTo>
                    <a:pt x="1842" y="1346"/>
                  </a:lnTo>
                  <a:lnTo>
                    <a:pt x="1837" y="1348"/>
                  </a:lnTo>
                  <a:lnTo>
                    <a:pt x="1833" y="1350"/>
                  </a:lnTo>
                  <a:lnTo>
                    <a:pt x="1828" y="1351"/>
                  </a:lnTo>
                  <a:lnTo>
                    <a:pt x="1822" y="1352"/>
                  </a:lnTo>
                  <a:lnTo>
                    <a:pt x="1817" y="1353"/>
                  </a:lnTo>
                  <a:lnTo>
                    <a:pt x="1811" y="1352"/>
                  </a:lnTo>
                  <a:lnTo>
                    <a:pt x="1806" y="1352"/>
                  </a:lnTo>
                  <a:lnTo>
                    <a:pt x="1801" y="1351"/>
                  </a:lnTo>
                  <a:lnTo>
                    <a:pt x="1795" y="1349"/>
                  </a:lnTo>
                  <a:lnTo>
                    <a:pt x="1163" y="1105"/>
                  </a:lnTo>
                  <a:lnTo>
                    <a:pt x="1149" y="1099"/>
                  </a:lnTo>
                  <a:lnTo>
                    <a:pt x="1136" y="1092"/>
                  </a:lnTo>
                  <a:lnTo>
                    <a:pt x="1125" y="1085"/>
                  </a:lnTo>
                  <a:lnTo>
                    <a:pt x="1114" y="1077"/>
                  </a:lnTo>
                  <a:lnTo>
                    <a:pt x="1104" y="1069"/>
                  </a:lnTo>
                  <a:lnTo>
                    <a:pt x="1096" y="1060"/>
                  </a:lnTo>
                  <a:lnTo>
                    <a:pt x="1089" y="1050"/>
                  </a:lnTo>
                  <a:lnTo>
                    <a:pt x="1083" y="1041"/>
                  </a:lnTo>
                  <a:lnTo>
                    <a:pt x="1078" y="1031"/>
                  </a:lnTo>
                  <a:lnTo>
                    <a:pt x="1074" y="1020"/>
                  </a:lnTo>
                  <a:lnTo>
                    <a:pt x="1071" y="1010"/>
                  </a:lnTo>
                  <a:lnTo>
                    <a:pt x="1068" y="999"/>
                  </a:lnTo>
                  <a:lnTo>
                    <a:pt x="1067" y="986"/>
                  </a:lnTo>
                  <a:lnTo>
                    <a:pt x="1067" y="975"/>
                  </a:lnTo>
                  <a:lnTo>
                    <a:pt x="1068" y="963"/>
                  </a:lnTo>
                  <a:lnTo>
                    <a:pt x="1069" y="951"/>
                  </a:lnTo>
                  <a:lnTo>
                    <a:pt x="1204" y="141"/>
                  </a:lnTo>
                  <a:lnTo>
                    <a:pt x="1206" y="130"/>
                  </a:lnTo>
                  <a:lnTo>
                    <a:pt x="1209" y="118"/>
                  </a:lnTo>
                  <a:lnTo>
                    <a:pt x="1213" y="107"/>
                  </a:lnTo>
                  <a:lnTo>
                    <a:pt x="1218" y="97"/>
                  </a:lnTo>
                  <a:lnTo>
                    <a:pt x="1224" y="86"/>
                  </a:lnTo>
                  <a:lnTo>
                    <a:pt x="1231" y="77"/>
                  </a:lnTo>
                  <a:lnTo>
                    <a:pt x="1238" y="69"/>
                  </a:lnTo>
                  <a:lnTo>
                    <a:pt x="1246" y="61"/>
                  </a:lnTo>
                  <a:lnTo>
                    <a:pt x="1255" y="54"/>
                  </a:lnTo>
                  <a:lnTo>
                    <a:pt x="1265" y="47"/>
                  </a:lnTo>
                  <a:lnTo>
                    <a:pt x="1275" y="42"/>
                  </a:lnTo>
                  <a:lnTo>
                    <a:pt x="1287" y="37"/>
                  </a:lnTo>
                  <a:lnTo>
                    <a:pt x="1300" y="33"/>
                  </a:lnTo>
                  <a:lnTo>
                    <a:pt x="1313" y="29"/>
                  </a:lnTo>
                  <a:lnTo>
                    <a:pt x="1327" y="27"/>
                  </a:lnTo>
                  <a:lnTo>
                    <a:pt x="1342" y="26"/>
                  </a:lnTo>
                  <a:lnTo>
                    <a:pt x="2020" y="0"/>
                  </a:lnTo>
                  <a:lnTo>
                    <a:pt x="2026" y="0"/>
                  </a:lnTo>
                  <a:lnTo>
                    <a:pt x="2031" y="1"/>
                  </a:lnTo>
                  <a:lnTo>
                    <a:pt x="2036" y="2"/>
                  </a:lnTo>
                  <a:lnTo>
                    <a:pt x="2042" y="3"/>
                  </a:lnTo>
                  <a:lnTo>
                    <a:pt x="2046" y="5"/>
                  </a:lnTo>
                  <a:lnTo>
                    <a:pt x="2051" y="8"/>
                  </a:lnTo>
                  <a:lnTo>
                    <a:pt x="2055" y="11"/>
                  </a:lnTo>
                  <a:lnTo>
                    <a:pt x="2059" y="14"/>
                  </a:lnTo>
                  <a:lnTo>
                    <a:pt x="2062" y="18"/>
                  </a:lnTo>
                  <a:lnTo>
                    <a:pt x="2066" y="22"/>
                  </a:lnTo>
                  <a:lnTo>
                    <a:pt x="2068" y="26"/>
                  </a:lnTo>
                  <a:lnTo>
                    <a:pt x="2070" y="32"/>
                  </a:lnTo>
                  <a:lnTo>
                    <a:pt x="2072" y="37"/>
                  </a:lnTo>
                  <a:lnTo>
                    <a:pt x="2072" y="42"/>
                  </a:lnTo>
                  <a:lnTo>
                    <a:pt x="2073" y="47"/>
                  </a:lnTo>
                  <a:lnTo>
                    <a:pt x="2072" y="52"/>
                  </a:lnTo>
                  <a:close/>
                  <a:moveTo>
                    <a:pt x="255" y="963"/>
                  </a:moveTo>
                  <a:lnTo>
                    <a:pt x="1394" y="1551"/>
                  </a:lnTo>
                  <a:lnTo>
                    <a:pt x="1399" y="1554"/>
                  </a:lnTo>
                  <a:lnTo>
                    <a:pt x="1403" y="1557"/>
                  </a:lnTo>
                  <a:lnTo>
                    <a:pt x="1408" y="1561"/>
                  </a:lnTo>
                  <a:lnTo>
                    <a:pt x="1411" y="1565"/>
                  </a:lnTo>
                  <a:lnTo>
                    <a:pt x="1413" y="1569"/>
                  </a:lnTo>
                  <a:lnTo>
                    <a:pt x="1415" y="1574"/>
                  </a:lnTo>
                  <a:lnTo>
                    <a:pt x="1417" y="1578"/>
                  </a:lnTo>
                  <a:lnTo>
                    <a:pt x="1418" y="1583"/>
                  </a:lnTo>
                  <a:lnTo>
                    <a:pt x="1418" y="1588"/>
                  </a:lnTo>
                  <a:lnTo>
                    <a:pt x="1418" y="1593"/>
                  </a:lnTo>
                  <a:lnTo>
                    <a:pt x="1417" y="1599"/>
                  </a:lnTo>
                  <a:lnTo>
                    <a:pt x="1416" y="1605"/>
                  </a:lnTo>
                  <a:lnTo>
                    <a:pt x="1414" y="1610"/>
                  </a:lnTo>
                  <a:lnTo>
                    <a:pt x="1412" y="1614"/>
                  </a:lnTo>
                  <a:lnTo>
                    <a:pt x="1409" y="1619"/>
                  </a:lnTo>
                  <a:lnTo>
                    <a:pt x="1405" y="1624"/>
                  </a:lnTo>
                  <a:lnTo>
                    <a:pt x="978" y="2151"/>
                  </a:lnTo>
                  <a:lnTo>
                    <a:pt x="969" y="2162"/>
                  </a:lnTo>
                  <a:lnTo>
                    <a:pt x="958" y="2172"/>
                  </a:lnTo>
                  <a:lnTo>
                    <a:pt x="948" y="2181"/>
                  </a:lnTo>
                  <a:lnTo>
                    <a:pt x="938" y="2188"/>
                  </a:lnTo>
                  <a:lnTo>
                    <a:pt x="926" y="2195"/>
                  </a:lnTo>
                  <a:lnTo>
                    <a:pt x="915" y="2200"/>
                  </a:lnTo>
                  <a:lnTo>
                    <a:pt x="904" y="2204"/>
                  </a:lnTo>
                  <a:lnTo>
                    <a:pt x="893" y="2208"/>
                  </a:lnTo>
                  <a:lnTo>
                    <a:pt x="882" y="2209"/>
                  </a:lnTo>
                  <a:lnTo>
                    <a:pt x="871" y="2210"/>
                  </a:lnTo>
                  <a:lnTo>
                    <a:pt x="859" y="2209"/>
                  </a:lnTo>
                  <a:lnTo>
                    <a:pt x="848" y="2208"/>
                  </a:lnTo>
                  <a:lnTo>
                    <a:pt x="837" y="2206"/>
                  </a:lnTo>
                  <a:lnTo>
                    <a:pt x="826" y="2201"/>
                  </a:lnTo>
                  <a:lnTo>
                    <a:pt x="815" y="2197"/>
                  </a:lnTo>
                  <a:lnTo>
                    <a:pt x="803" y="2192"/>
                  </a:lnTo>
                  <a:lnTo>
                    <a:pt x="74" y="1816"/>
                  </a:lnTo>
                  <a:lnTo>
                    <a:pt x="64" y="1810"/>
                  </a:lnTo>
                  <a:lnTo>
                    <a:pt x="54" y="1803"/>
                  </a:lnTo>
                  <a:lnTo>
                    <a:pt x="45" y="1796"/>
                  </a:lnTo>
                  <a:lnTo>
                    <a:pt x="37" y="1789"/>
                  </a:lnTo>
                  <a:lnTo>
                    <a:pt x="28" y="1779"/>
                  </a:lnTo>
                  <a:lnTo>
                    <a:pt x="21" y="1771"/>
                  </a:lnTo>
                  <a:lnTo>
                    <a:pt x="15" y="1761"/>
                  </a:lnTo>
                  <a:lnTo>
                    <a:pt x="10" y="1751"/>
                  </a:lnTo>
                  <a:lnTo>
                    <a:pt x="6" y="1741"/>
                  </a:lnTo>
                  <a:lnTo>
                    <a:pt x="3" y="1729"/>
                  </a:lnTo>
                  <a:lnTo>
                    <a:pt x="1" y="1717"/>
                  </a:lnTo>
                  <a:lnTo>
                    <a:pt x="0" y="1704"/>
                  </a:lnTo>
                  <a:lnTo>
                    <a:pt x="0" y="1691"/>
                  </a:lnTo>
                  <a:lnTo>
                    <a:pt x="1" y="1678"/>
                  </a:lnTo>
                  <a:lnTo>
                    <a:pt x="4" y="1664"/>
                  </a:lnTo>
                  <a:lnTo>
                    <a:pt x="7" y="1648"/>
                  </a:lnTo>
                  <a:lnTo>
                    <a:pt x="190" y="995"/>
                  </a:lnTo>
                  <a:lnTo>
                    <a:pt x="192" y="990"/>
                  </a:lnTo>
                  <a:lnTo>
                    <a:pt x="194" y="985"/>
                  </a:lnTo>
                  <a:lnTo>
                    <a:pt x="197" y="980"/>
                  </a:lnTo>
                  <a:lnTo>
                    <a:pt x="200" y="976"/>
                  </a:lnTo>
                  <a:lnTo>
                    <a:pt x="203" y="972"/>
                  </a:lnTo>
                  <a:lnTo>
                    <a:pt x="207" y="969"/>
                  </a:lnTo>
                  <a:lnTo>
                    <a:pt x="212" y="965"/>
                  </a:lnTo>
                  <a:lnTo>
                    <a:pt x="216" y="963"/>
                  </a:lnTo>
                  <a:lnTo>
                    <a:pt x="221" y="961"/>
                  </a:lnTo>
                  <a:lnTo>
                    <a:pt x="226" y="959"/>
                  </a:lnTo>
                  <a:lnTo>
                    <a:pt x="230" y="958"/>
                  </a:lnTo>
                  <a:lnTo>
                    <a:pt x="235" y="958"/>
                  </a:lnTo>
                  <a:lnTo>
                    <a:pt x="240" y="958"/>
                  </a:lnTo>
                  <a:lnTo>
                    <a:pt x="245" y="959"/>
                  </a:lnTo>
                  <a:lnTo>
                    <a:pt x="250" y="960"/>
                  </a:lnTo>
                  <a:lnTo>
                    <a:pt x="255" y="963"/>
                  </a:lnTo>
                  <a:close/>
                  <a:moveTo>
                    <a:pt x="560" y="2966"/>
                  </a:moveTo>
                  <a:lnTo>
                    <a:pt x="1474" y="2066"/>
                  </a:lnTo>
                  <a:lnTo>
                    <a:pt x="1478" y="2062"/>
                  </a:lnTo>
                  <a:lnTo>
                    <a:pt x="1482" y="2059"/>
                  </a:lnTo>
                  <a:lnTo>
                    <a:pt x="1487" y="2057"/>
                  </a:lnTo>
                  <a:lnTo>
                    <a:pt x="1491" y="2055"/>
                  </a:lnTo>
                  <a:lnTo>
                    <a:pt x="1496" y="2054"/>
                  </a:lnTo>
                  <a:lnTo>
                    <a:pt x="1501" y="2053"/>
                  </a:lnTo>
                  <a:lnTo>
                    <a:pt x="1506" y="2054"/>
                  </a:lnTo>
                  <a:lnTo>
                    <a:pt x="1511" y="2054"/>
                  </a:lnTo>
                  <a:lnTo>
                    <a:pt x="1516" y="2055"/>
                  </a:lnTo>
                  <a:lnTo>
                    <a:pt x="1521" y="2057"/>
                  </a:lnTo>
                  <a:lnTo>
                    <a:pt x="1526" y="2059"/>
                  </a:lnTo>
                  <a:lnTo>
                    <a:pt x="1531" y="2062"/>
                  </a:lnTo>
                  <a:lnTo>
                    <a:pt x="1535" y="2065"/>
                  </a:lnTo>
                  <a:lnTo>
                    <a:pt x="1539" y="2069"/>
                  </a:lnTo>
                  <a:lnTo>
                    <a:pt x="1543" y="2073"/>
                  </a:lnTo>
                  <a:lnTo>
                    <a:pt x="1546" y="2077"/>
                  </a:lnTo>
                  <a:lnTo>
                    <a:pt x="1914" y="2647"/>
                  </a:lnTo>
                  <a:lnTo>
                    <a:pt x="1922" y="2660"/>
                  </a:lnTo>
                  <a:lnTo>
                    <a:pt x="1928" y="2673"/>
                  </a:lnTo>
                  <a:lnTo>
                    <a:pt x="1933" y="2685"/>
                  </a:lnTo>
                  <a:lnTo>
                    <a:pt x="1937" y="2699"/>
                  </a:lnTo>
                  <a:lnTo>
                    <a:pt x="1940" y="2711"/>
                  </a:lnTo>
                  <a:lnTo>
                    <a:pt x="1941" y="2723"/>
                  </a:lnTo>
                  <a:lnTo>
                    <a:pt x="1942" y="2734"/>
                  </a:lnTo>
                  <a:lnTo>
                    <a:pt x="1941" y="2745"/>
                  </a:lnTo>
                  <a:lnTo>
                    <a:pt x="1939" y="2758"/>
                  </a:lnTo>
                  <a:lnTo>
                    <a:pt x="1936" y="2768"/>
                  </a:lnTo>
                  <a:lnTo>
                    <a:pt x="1933" y="2779"/>
                  </a:lnTo>
                  <a:lnTo>
                    <a:pt x="1928" y="2789"/>
                  </a:lnTo>
                  <a:lnTo>
                    <a:pt x="1922" y="2799"/>
                  </a:lnTo>
                  <a:lnTo>
                    <a:pt x="1915" y="2808"/>
                  </a:lnTo>
                  <a:lnTo>
                    <a:pt x="1908" y="2818"/>
                  </a:lnTo>
                  <a:lnTo>
                    <a:pt x="1900" y="2827"/>
                  </a:lnTo>
                  <a:lnTo>
                    <a:pt x="1315" y="3402"/>
                  </a:lnTo>
                  <a:lnTo>
                    <a:pt x="1307" y="3410"/>
                  </a:lnTo>
                  <a:lnTo>
                    <a:pt x="1297" y="3419"/>
                  </a:lnTo>
                  <a:lnTo>
                    <a:pt x="1288" y="3425"/>
                  </a:lnTo>
                  <a:lnTo>
                    <a:pt x="1277" y="3431"/>
                  </a:lnTo>
                  <a:lnTo>
                    <a:pt x="1267" y="3435"/>
                  </a:lnTo>
                  <a:lnTo>
                    <a:pt x="1256" y="3439"/>
                  </a:lnTo>
                  <a:lnTo>
                    <a:pt x="1245" y="3442"/>
                  </a:lnTo>
                  <a:lnTo>
                    <a:pt x="1234" y="3443"/>
                  </a:lnTo>
                  <a:lnTo>
                    <a:pt x="1222" y="3444"/>
                  </a:lnTo>
                  <a:lnTo>
                    <a:pt x="1211" y="3443"/>
                  </a:lnTo>
                  <a:lnTo>
                    <a:pt x="1199" y="3442"/>
                  </a:lnTo>
                  <a:lnTo>
                    <a:pt x="1187" y="3439"/>
                  </a:lnTo>
                  <a:lnTo>
                    <a:pt x="1174" y="3435"/>
                  </a:lnTo>
                  <a:lnTo>
                    <a:pt x="1161" y="3430"/>
                  </a:lnTo>
                  <a:lnTo>
                    <a:pt x="1148" y="3423"/>
                  </a:lnTo>
                  <a:lnTo>
                    <a:pt x="1136" y="3415"/>
                  </a:lnTo>
                  <a:lnTo>
                    <a:pt x="572" y="3038"/>
                  </a:lnTo>
                  <a:lnTo>
                    <a:pt x="567" y="3035"/>
                  </a:lnTo>
                  <a:lnTo>
                    <a:pt x="563" y="3031"/>
                  </a:lnTo>
                  <a:lnTo>
                    <a:pt x="559" y="3027"/>
                  </a:lnTo>
                  <a:lnTo>
                    <a:pt x="556" y="3023"/>
                  </a:lnTo>
                  <a:lnTo>
                    <a:pt x="553" y="3018"/>
                  </a:lnTo>
                  <a:lnTo>
                    <a:pt x="551" y="3014"/>
                  </a:lnTo>
                  <a:lnTo>
                    <a:pt x="549" y="3009"/>
                  </a:lnTo>
                  <a:lnTo>
                    <a:pt x="548" y="3004"/>
                  </a:lnTo>
                  <a:lnTo>
                    <a:pt x="548" y="2999"/>
                  </a:lnTo>
                  <a:lnTo>
                    <a:pt x="548" y="2994"/>
                  </a:lnTo>
                  <a:lnTo>
                    <a:pt x="548" y="2988"/>
                  </a:lnTo>
                  <a:lnTo>
                    <a:pt x="549" y="2983"/>
                  </a:lnTo>
                  <a:lnTo>
                    <a:pt x="551" y="2978"/>
                  </a:lnTo>
                  <a:lnTo>
                    <a:pt x="553" y="2974"/>
                  </a:lnTo>
                  <a:lnTo>
                    <a:pt x="556" y="2970"/>
                  </a:lnTo>
                  <a:lnTo>
                    <a:pt x="560" y="2966"/>
                  </a:lnTo>
                  <a:close/>
                  <a:moveTo>
                    <a:pt x="2570" y="3292"/>
                  </a:moveTo>
                  <a:lnTo>
                    <a:pt x="1990" y="2150"/>
                  </a:lnTo>
                  <a:lnTo>
                    <a:pt x="1987" y="2144"/>
                  </a:lnTo>
                  <a:lnTo>
                    <a:pt x="1986" y="2139"/>
                  </a:lnTo>
                  <a:lnTo>
                    <a:pt x="1985" y="2134"/>
                  </a:lnTo>
                  <a:lnTo>
                    <a:pt x="1985" y="2128"/>
                  </a:lnTo>
                  <a:lnTo>
                    <a:pt x="1986" y="2124"/>
                  </a:lnTo>
                  <a:lnTo>
                    <a:pt x="1987" y="2119"/>
                  </a:lnTo>
                  <a:lnTo>
                    <a:pt x="1988" y="2114"/>
                  </a:lnTo>
                  <a:lnTo>
                    <a:pt x="1990" y="2110"/>
                  </a:lnTo>
                  <a:lnTo>
                    <a:pt x="1993" y="2105"/>
                  </a:lnTo>
                  <a:lnTo>
                    <a:pt x="1996" y="2101"/>
                  </a:lnTo>
                  <a:lnTo>
                    <a:pt x="2000" y="2098"/>
                  </a:lnTo>
                  <a:lnTo>
                    <a:pt x="2003" y="2094"/>
                  </a:lnTo>
                  <a:lnTo>
                    <a:pt x="2009" y="2091"/>
                  </a:lnTo>
                  <a:lnTo>
                    <a:pt x="2013" y="2088"/>
                  </a:lnTo>
                  <a:lnTo>
                    <a:pt x="2018" y="2086"/>
                  </a:lnTo>
                  <a:lnTo>
                    <a:pt x="2024" y="2084"/>
                  </a:lnTo>
                  <a:lnTo>
                    <a:pt x="2678" y="1906"/>
                  </a:lnTo>
                  <a:lnTo>
                    <a:pt x="2693" y="1902"/>
                  </a:lnTo>
                  <a:lnTo>
                    <a:pt x="2707" y="1899"/>
                  </a:lnTo>
                  <a:lnTo>
                    <a:pt x="2720" y="1898"/>
                  </a:lnTo>
                  <a:lnTo>
                    <a:pt x="2734" y="1898"/>
                  </a:lnTo>
                  <a:lnTo>
                    <a:pt x="2746" y="1900"/>
                  </a:lnTo>
                  <a:lnTo>
                    <a:pt x="2758" y="1902"/>
                  </a:lnTo>
                  <a:lnTo>
                    <a:pt x="2769" y="1906"/>
                  </a:lnTo>
                  <a:lnTo>
                    <a:pt x="2780" y="1910"/>
                  </a:lnTo>
                  <a:lnTo>
                    <a:pt x="2791" y="1915"/>
                  </a:lnTo>
                  <a:lnTo>
                    <a:pt x="2800" y="1921"/>
                  </a:lnTo>
                  <a:lnTo>
                    <a:pt x="2809" y="1928"/>
                  </a:lnTo>
                  <a:lnTo>
                    <a:pt x="2817" y="1936"/>
                  </a:lnTo>
                  <a:lnTo>
                    <a:pt x="2825" y="1944"/>
                  </a:lnTo>
                  <a:lnTo>
                    <a:pt x="2832" y="1953"/>
                  </a:lnTo>
                  <a:lnTo>
                    <a:pt x="2838" y="1963"/>
                  </a:lnTo>
                  <a:lnTo>
                    <a:pt x="2845" y="1974"/>
                  </a:lnTo>
                  <a:lnTo>
                    <a:pt x="3216" y="2706"/>
                  </a:lnTo>
                  <a:lnTo>
                    <a:pt x="3221" y="2717"/>
                  </a:lnTo>
                  <a:lnTo>
                    <a:pt x="3225" y="2727"/>
                  </a:lnTo>
                  <a:lnTo>
                    <a:pt x="3229" y="2739"/>
                  </a:lnTo>
                  <a:lnTo>
                    <a:pt x="3231" y="2751"/>
                  </a:lnTo>
                  <a:lnTo>
                    <a:pt x="3232" y="2762"/>
                  </a:lnTo>
                  <a:lnTo>
                    <a:pt x="3233" y="2773"/>
                  </a:lnTo>
                  <a:lnTo>
                    <a:pt x="3232" y="2784"/>
                  </a:lnTo>
                  <a:lnTo>
                    <a:pt x="3230" y="2795"/>
                  </a:lnTo>
                  <a:lnTo>
                    <a:pt x="3227" y="2806"/>
                  </a:lnTo>
                  <a:lnTo>
                    <a:pt x="3223" y="2818"/>
                  </a:lnTo>
                  <a:lnTo>
                    <a:pt x="3218" y="2829"/>
                  </a:lnTo>
                  <a:lnTo>
                    <a:pt x="3212" y="2839"/>
                  </a:lnTo>
                  <a:lnTo>
                    <a:pt x="3204" y="2850"/>
                  </a:lnTo>
                  <a:lnTo>
                    <a:pt x="3194" y="2860"/>
                  </a:lnTo>
                  <a:lnTo>
                    <a:pt x="3184" y="2871"/>
                  </a:lnTo>
                  <a:lnTo>
                    <a:pt x="3173" y="2881"/>
                  </a:lnTo>
                  <a:lnTo>
                    <a:pt x="2643" y="3304"/>
                  </a:lnTo>
                  <a:lnTo>
                    <a:pt x="2638" y="3307"/>
                  </a:lnTo>
                  <a:lnTo>
                    <a:pt x="2633" y="3310"/>
                  </a:lnTo>
                  <a:lnTo>
                    <a:pt x="2629" y="3312"/>
                  </a:lnTo>
                  <a:lnTo>
                    <a:pt x="2624" y="3314"/>
                  </a:lnTo>
                  <a:lnTo>
                    <a:pt x="2619" y="3315"/>
                  </a:lnTo>
                  <a:lnTo>
                    <a:pt x="2613" y="3316"/>
                  </a:lnTo>
                  <a:lnTo>
                    <a:pt x="2608" y="3316"/>
                  </a:lnTo>
                  <a:lnTo>
                    <a:pt x="2603" y="3315"/>
                  </a:lnTo>
                  <a:lnTo>
                    <a:pt x="2598" y="3314"/>
                  </a:lnTo>
                  <a:lnTo>
                    <a:pt x="2593" y="3313"/>
                  </a:lnTo>
                  <a:lnTo>
                    <a:pt x="2588" y="3311"/>
                  </a:lnTo>
                  <a:lnTo>
                    <a:pt x="2584" y="3308"/>
                  </a:lnTo>
                  <a:lnTo>
                    <a:pt x="2580" y="3305"/>
                  </a:lnTo>
                  <a:lnTo>
                    <a:pt x="2576" y="3302"/>
                  </a:lnTo>
                  <a:lnTo>
                    <a:pt x="2573" y="3297"/>
                  </a:lnTo>
                  <a:lnTo>
                    <a:pt x="2570" y="3292"/>
                  </a:lnTo>
                  <a:close/>
                  <a:moveTo>
                    <a:pt x="3494" y="1498"/>
                  </a:moveTo>
                  <a:lnTo>
                    <a:pt x="2227" y="1688"/>
                  </a:lnTo>
                  <a:lnTo>
                    <a:pt x="2222" y="1688"/>
                  </a:lnTo>
                  <a:lnTo>
                    <a:pt x="2216" y="1688"/>
                  </a:lnTo>
                  <a:lnTo>
                    <a:pt x="2211" y="1687"/>
                  </a:lnTo>
                  <a:lnTo>
                    <a:pt x="2206" y="1686"/>
                  </a:lnTo>
                  <a:lnTo>
                    <a:pt x="2202" y="1684"/>
                  </a:lnTo>
                  <a:lnTo>
                    <a:pt x="2198" y="1681"/>
                  </a:lnTo>
                  <a:lnTo>
                    <a:pt x="2194" y="1678"/>
                  </a:lnTo>
                  <a:lnTo>
                    <a:pt x="2190" y="1675"/>
                  </a:lnTo>
                  <a:lnTo>
                    <a:pt x="2187" y="1671"/>
                  </a:lnTo>
                  <a:lnTo>
                    <a:pt x="2183" y="1667"/>
                  </a:lnTo>
                  <a:lnTo>
                    <a:pt x="2181" y="1661"/>
                  </a:lnTo>
                  <a:lnTo>
                    <a:pt x="2179" y="1657"/>
                  </a:lnTo>
                  <a:lnTo>
                    <a:pt x="2177" y="1652"/>
                  </a:lnTo>
                  <a:lnTo>
                    <a:pt x="2176" y="1646"/>
                  </a:lnTo>
                  <a:lnTo>
                    <a:pt x="2176" y="1641"/>
                  </a:lnTo>
                  <a:lnTo>
                    <a:pt x="2176" y="1635"/>
                  </a:lnTo>
                  <a:lnTo>
                    <a:pt x="2213" y="959"/>
                  </a:lnTo>
                  <a:lnTo>
                    <a:pt x="2214" y="944"/>
                  </a:lnTo>
                  <a:lnTo>
                    <a:pt x="2217" y="929"/>
                  </a:lnTo>
                  <a:lnTo>
                    <a:pt x="2220" y="915"/>
                  </a:lnTo>
                  <a:lnTo>
                    <a:pt x="2224" y="903"/>
                  </a:lnTo>
                  <a:lnTo>
                    <a:pt x="2229" y="892"/>
                  </a:lnTo>
                  <a:lnTo>
                    <a:pt x="2235" y="881"/>
                  </a:lnTo>
                  <a:lnTo>
                    <a:pt x="2241" y="871"/>
                  </a:lnTo>
                  <a:lnTo>
                    <a:pt x="2250" y="862"/>
                  </a:lnTo>
                  <a:lnTo>
                    <a:pt x="2257" y="854"/>
                  </a:lnTo>
                  <a:lnTo>
                    <a:pt x="2266" y="847"/>
                  </a:lnTo>
                  <a:lnTo>
                    <a:pt x="2275" y="841"/>
                  </a:lnTo>
                  <a:lnTo>
                    <a:pt x="2285" y="836"/>
                  </a:lnTo>
                  <a:lnTo>
                    <a:pt x="2296" y="831"/>
                  </a:lnTo>
                  <a:lnTo>
                    <a:pt x="2307" y="827"/>
                  </a:lnTo>
                  <a:lnTo>
                    <a:pt x="2319" y="824"/>
                  </a:lnTo>
                  <a:lnTo>
                    <a:pt x="2331" y="822"/>
                  </a:lnTo>
                  <a:lnTo>
                    <a:pt x="3142" y="700"/>
                  </a:lnTo>
                  <a:lnTo>
                    <a:pt x="3154" y="699"/>
                  </a:lnTo>
                  <a:lnTo>
                    <a:pt x="3166" y="699"/>
                  </a:lnTo>
                  <a:lnTo>
                    <a:pt x="3177" y="699"/>
                  </a:lnTo>
                  <a:lnTo>
                    <a:pt x="3189" y="700"/>
                  </a:lnTo>
                  <a:lnTo>
                    <a:pt x="3200" y="702"/>
                  </a:lnTo>
                  <a:lnTo>
                    <a:pt x="3211" y="706"/>
                  </a:lnTo>
                  <a:lnTo>
                    <a:pt x="3222" y="710"/>
                  </a:lnTo>
                  <a:lnTo>
                    <a:pt x="3232" y="715"/>
                  </a:lnTo>
                  <a:lnTo>
                    <a:pt x="3241" y="721"/>
                  </a:lnTo>
                  <a:lnTo>
                    <a:pt x="3250" y="728"/>
                  </a:lnTo>
                  <a:lnTo>
                    <a:pt x="3259" y="737"/>
                  </a:lnTo>
                  <a:lnTo>
                    <a:pt x="3268" y="746"/>
                  </a:lnTo>
                  <a:lnTo>
                    <a:pt x="3275" y="758"/>
                  </a:lnTo>
                  <a:lnTo>
                    <a:pt x="3282" y="769"/>
                  </a:lnTo>
                  <a:lnTo>
                    <a:pt x="3289" y="782"/>
                  </a:lnTo>
                  <a:lnTo>
                    <a:pt x="3294" y="796"/>
                  </a:lnTo>
                  <a:lnTo>
                    <a:pt x="3529" y="1433"/>
                  </a:lnTo>
                  <a:lnTo>
                    <a:pt x="3530" y="1438"/>
                  </a:lnTo>
                  <a:lnTo>
                    <a:pt x="3531" y="1443"/>
                  </a:lnTo>
                  <a:lnTo>
                    <a:pt x="3532" y="1449"/>
                  </a:lnTo>
                  <a:lnTo>
                    <a:pt x="3532" y="1454"/>
                  </a:lnTo>
                  <a:lnTo>
                    <a:pt x="3531" y="1459"/>
                  </a:lnTo>
                  <a:lnTo>
                    <a:pt x="3530" y="1464"/>
                  </a:lnTo>
                  <a:lnTo>
                    <a:pt x="3529" y="1469"/>
                  </a:lnTo>
                  <a:lnTo>
                    <a:pt x="3527" y="1474"/>
                  </a:lnTo>
                  <a:lnTo>
                    <a:pt x="3525" y="1478"/>
                  </a:lnTo>
                  <a:lnTo>
                    <a:pt x="3522" y="1483"/>
                  </a:lnTo>
                  <a:lnTo>
                    <a:pt x="3518" y="1487"/>
                  </a:lnTo>
                  <a:lnTo>
                    <a:pt x="3515" y="1490"/>
                  </a:lnTo>
                  <a:lnTo>
                    <a:pt x="3510" y="1493"/>
                  </a:lnTo>
                  <a:lnTo>
                    <a:pt x="3506" y="1495"/>
                  </a:lnTo>
                  <a:lnTo>
                    <a:pt x="3501" y="1497"/>
                  </a:lnTo>
                  <a:lnTo>
                    <a:pt x="3494" y="1498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32761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Вертикальный заголовок и текст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3"/>
          <p:cNvSpPr>
            <a:spLocks noChangeAspect="1" noChangeArrowheads="1" noTextEdit="1"/>
          </p:cNvSpPr>
          <p:nvPr userDrawn="1"/>
        </p:nvSpPr>
        <p:spPr bwMode="auto">
          <a:xfrm>
            <a:off x="15" y="393700"/>
            <a:ext cx="9906000" cy="646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Freeform 8"/>
          <p:cNvSpPr>
            <a:spLocks/>
          </p:cNvSpPr>
          <p:nvPr userDrawn="1"/>
        </p:nvSpPr>
        <p:spPr bwMode="auto">
          <a:xfrm>
            <a:off x="9102939" y="3473452"/>
            <a:ext cx="803143" cy="1114425"/>
          </a:xfrm>
          <a:custGeom>
            <a:avLst/>
            <a:gdLst>
              <a:gd name="T0" fmla="*/ 0 w 1401"/>
              <a:gd name="T1" fmla="*/ 2106 h 2106"/>
              <a:gd name="T2" fmla="*/ 81 w 1401"/>
              <a:gd name="T3" fmla="*/ 638 h 2106"/>
              <a:gd name="T4" fmla="*/ 82 w 1401"/>
              <a:gd name="T5" fmla="*/ 609 h 2106"/>
              <a:gd name="T6" fmla="*/ 86 w 1401"/>
              <a:gd name="T7" fmla="*/ 581 h 2106"/>
              <a:gd name="T8" fmla="*/ 90 w 1401"/>
              <a:gd name="T9" fmla="*/ 555 h 2106"/>
              <a:gd name="T10" fmla="*/ 94 w 1401"/>
              <a:gd name="T11" fmla="*/ 529 h 2106"/>
              <a:gd name="T12" fmla="*/ 100 w 1401"/>
              <a:gd name="T13" fmla="*/ 504 h 2106"/>
              <a:gd name="T14" fmla="*/ 106 w 1401"/>
              <a:gd name="T15" fmla="*/ 480 h 2106"/>
              <a:gd name="T16" fmla="*/ 114 w 1401"/>
              <a:gd name="T17" fmla="*/ 456 h 2106"/>
              <a:gd name="T18" fmla="*/ 122 w 1401"/>
              <a:gd name="T19" fmla="*/ 433 h 2106"/>
              <a:gd name="T20" fmla="*/ 131 w 1401"/>
              <a:gd name="T21" fmla="*/ 412 h 2106"/>
              <a:gd name="T22" fmla="*/ 141 w 1401"/>
              <a:gd name="T23" fmla="*/ 391 h 2106"/>
              <a:gd name="T24" fmla="*/ 151 w 1401"/>
              <a:gd name="T25" fmla="*/ 371 h 2106"/>
              <a:gd name="T26" fmla="*/ 162 w 1401"/>
              <a:gd name="T27" fmla="*/ 351 h 2106"/>
              <a:gd name="T28" fmla="*/ 174 w 1401"/>
              <a:gd name="T29" fmla="*/ 333 h 2106"/>
              <a:gd name="T30" fmla="*/ 187 w 1401"/>
              <a:gd name="T31" fmla="*/ 316 h 2106"/>
              <a:gd name="T32" fmla="*/ 200 w 1401"/>
              <a:gd name="T33" fmla="*/ 299 h 2106"/>
              <a:gd name="T34" fmla="*/ 214 w 1401"/>
              <a:gd name="T35" fmla="*/ 283 h 2106"/>
              <a:gd name="T36" fmla="*/ 229 w 1401"/>
              <a:gd name="T37" fmla="*/ 268 h 2106"/>
              <a:gd name="T38" fmla="*/ 244 w 1401"/>
              <a:gd name="T39" fmla="*/ 253 h 2106"/>
              <a:gd name="T40" fmla="*/ 259 w 1401"/>
              <a:gd name="T41" fmla="*/ 240 h 2106"/>
              <a:gd name="T42" fmla="*/ 277 w 1401"/>
              <a:gd name="T43" fmla="*/ 227 h 2106"/>
              <a:gd name="T44" fmla="*/ 294 w 1401"/>
              <a:gd name="T45" fmla="*/ 215 h 2106"/>
              <a:gd name="T46" fmla="*/ 311 w 1401"/>
              <a:gd name="T47" fmla="*/ 203 h 2106"/>
              <a:gd name="T48" fmla="*/ 330 w 1401"/>
              <a:gd name="T49" fmla="*/ 194 h 2106"/>
              <a:gd name="T50" fmla="*/ 348 w 1401"/>
              <a:gd name="T51" fmla="*/ 184 h 2106"/>
              <a:gd name="T52" fmla="*/ 367 w 1401"/>
              <a:gd name="T53" fmla="*/ 174 h 2106"/>
              <a:gd name="T54" fmla="*/ 387 w 1401"/>
              <a:gd name="T55" fmla="*/ 167 h 2106"/>
              <a:gd name="T56" fmla="*/ 407 w 1401"/>
              <a:gd name="T57" fmla="*/ 159 h 2106"/>
              <a:gd name="T58" fmla="*/ 428 w 1401"/>
              <a:gd name="T59" fmla="*/ 153 h 2106"/>
              <a:gd name="T60" fmla="*/ 450 w 1401"/>
              <a:gd name="T61" fmla="*/ 146 h 2106"/>
              <a:gd name="T62" fmla="*/ 471 w 1401"/>
              <a:gd name="T63" fmla="*/ 141 h 2106"/>
              <a:gd name="T64" fmla="*/ 493 w 1401"/>
              <a:gd name="T65" fmla="*/ 136 h 2106"/>
              <a:gd name="T66" fmla="*/ 515 w 1401"/>
              <a:gd name="T67" fmla="*/ 133 h 2106"/>
              <a:gd name="T68" fmla="*/ 1401 w 1401"/>
              <a:gd name="T69" fmla="*/ 0 h 2106"/>
              <a:gd name="T70" fmla="*/ 1401 w 1401"/>
              <a:gd name="T71" fmla="*/ 348 h 2106"/>
              <a:gd name="T72" fmla="*/ 837 w 1401"/>
              <a:gd name="T73" fmla="*/ 525 h 2106"/>
              <a:gd name="T74" fmla="*/ 813 w 1401"/>
              <a:gd name="T75" fmla="*/ 534 h 2106"/>
              <a:gd name="T76" fmla="*/ 789 w 1401"/>
              <a:gd name="T77" fmla="*/ 543 h 2106"/>
              <a:gd name="T78" fmla="*/ 765 w 1401"/>
              <a:gd name="T79" fmla="*/ 554 h 2106"/>
              <a:gd name="T80" fmla="*/ 740 w 1401"/>
              <a:gd name="T81" fmla="*/ 566 h 2106"/>
              <a:gd name="T82" fmla="*/ 717 w 1401"/>
              <a:gd name="T83" fmla="*/ 580 h 2106"/>
              <a:gd name="T84" fmla="*/ 695 w 1401"/>
              <a:gd name="T85" fmla="*/ 594 h 2106"/>
              <a:gd name="T86" fmla="*/ 672 w 1401"/>
              <a:gd name="T87" fmla="*/ 609 h 2106"/>
              <a:gd name="T88" fmla="*/ 650 w 1401"/>
              <a:gd name="T89" fmla="*/ 627 h 2106"/>
              <a:gd name="T90" fmla="*/ 631 w 1401"/>
              <a:gd name="T91" fmla="*/ 644 h 2106"/>
              <a:gd name="T92" fmla="*/ 612 w 1401"/>
              <a:gd name="T93" fmla="*/ 662 h 2106"/>
              <a:gd name="T94" fmla="*/ 593 w 1401"/>
              <a:gd name="T95" fmla="*/ 682 h 2106"/>
              <a:gd name="T96" fmla="*/ 576 w 1401"/>
              <a:gd name="T97" fmla="*/ 702 h 2106"/>
              <a:gd name="T98" fmla="*/ 561 w 1401"/>
              <a:gd name="T99" fmla="*/ 724 h 2106"/>
              <a:gd name="T100" fmla="*/ 547 w 1401"/>
              <a:gd name="T101" fmla="*/ 745 h 2106"/>
              <a:gd name="T102" fmla="*/ 535 w 1401"/>
              <a:gd name="T103" fmla="*/ 768 h 2106"/>
              <a:gd name="T104" fmla="*/ 524 w 1401"/>
              <a:gd name="T105" fmla="*/ 792 h 2106"/>
              <a:gd name="T106" fmla="*/ 0 w 1401"/>
              <a:gd name="T107" fmla="*/ 2106 h 2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401" h="2106">
                <a:moveTo>
                  <a:pt x="0" y="2106"/>
                </a:moveTo>
                <a:lnTo>
                  <a:pt x="81" y="638"/>
                </a:lnTo>
                <a:lnTo>
                  <a:pt x="82" y="609"/>
                </a:lnTo>
                <a:lnTo>
                  <a:pt x="86" y="581"/>
                </a:lnTo>
                <a:lnTo>
                  <a:pt x="90" y="555"/>
                </a:lnTo>
                <a:lnTo>
                  <a:pt x="94" y="529"/>
                </a:lnTo>
                <a:lnTo>
                  <a:pt x="100" y="504"/>
                </a:lnTo>
                <a:lnTo>
                  <a:pt x="106" y="480"/>
                </a:lnTo>
                <a:lnTo>
                  <a:pt x="114" y="456"/>
                </a:lnTo>
                <a:lnTo>
                  <a:pt x="122" y="433"/>
                </a:lnTo>
                <a:lnTo>
                  <a:pt x="131" y="412"/>
                </a:lnTo>
                <a:lnTo>
                  <a:pt x="141" y="391"/>
                </a:lnTo>
                <a:lnTo>
                  <a:pt x="151" y="371"/>
                </a:lnTo>
                <a:lnTo>
                  <a:pt x="162" y="351"/>
                </a:lnTo>
                <a:lnTo>
                  <a:pt x="174" y="333"/>
                </a:lnTo>
                <a:lnTo>
                  <a:pt x="187" y="316"/>
                </a:lnTo>
                <a:lnTo>
                  <a:pt x="200" y="299"/>
                </a:lnTo>
                <a:lnTo>
                  <a:pt x="214" y="283"/>
                </a:lnTo>
                <a:lnTo>
                  <a:pt x="229" y="268"/>
                </a:lnTo>
                <a:lnTo>
                  <a:pt x="244" y="253"/>
                </a:lnTo>
                <a:lnTo>
                  <a:pt x="259" y="240"/>
                </a:lnTo>
                <a:lnTo>
                  <a:pt x="277" y="227"/>
                </a:lnTo>
                <a:lnTo>
                  <a:pt x="294" y="215"/>
                </a:lnTo>
                <a:lnTo>
                  <a:pt x="311" y="203"/>
                </a:lnTo>
                <a:lnTo>
                  <a:pt x="330" y="194"/>
                </a:lnTo>
                <a:lnTo>
                  <a:pt x="348" y="184"/>
                </a:lnTo>
                <a:lnTo>
                  <a:pt x="367" y="174"/>
                </a:lnTo>
                <a:lnTo>
                  <a:pt x="387" y="167"/>
                </a:lnTo>
                <a:lnTo>
                  <a:pt x="407" y="159"/>
                </a:lnTo>
                <a:lnTo>
                  <a:pt x="428" y="153"/>
                </a:lnTo>
                <a:lnTo>
                  <a:pt x="450" y="146"/>
                </a:lnTo>
                <a:lnTo>
                  <a:pt x="471" y="141"/>
                </a:lnTo>
                <a:lnTo>
                  <a:pt x="493" y="136"/>
                </a:lnTo>
                <a:lnTo>
                  <a:pt x="515" y="133"/>
                </a:lnTo>
                <a:lnTo>
                  <a:pt x="1401" y="0"/>
                </a:lnTo>
                <a:lnTo>
                  <a:pt x="1401" y="348"/>
                </a:lnTo>
                <a:lnTo>
                  <a:pt x="837" y="525"/>
                </a:lnTo>
                <a:lnTo>
                  <a:pt x="813" y="534"/>
                </a:lnTo>
                <a:lnTo>
                  <a:pt x="789" y="543"/>
                </a:lnTo>
                <a:lnTo>
                  <a:pt x="765" y="554"/>
                </a:lnTo>
                <a:lnTo>
                  <a:pt x="740" y="566"/>
                </a:lnTo>
                <a:lnTo>
                  <a:pt x="717" y="580"/>
                </a:lnTo>
                <a:lnTo>
                  <a:pt x="695" y="594"/>
                </a:lnTo>
                <a:lnTo>
                  <a:pt x="672" y="609"/>
                </a:lnTo>
                <a:lnTo>
                  <a:pt x="650" y="627"/>
                </a:lnTo>
                <a:lnTo>
                  <a:pt x="631" y="644"/>
                </a:lnTo>
                <a:lnTo>
                  <a:pt x="612" y="662"/>
                </a:lnTo>
                <a:lnTo>
                  <a:pt x="593" y="682"/>
                </a:lnTo>
                <a:lnTo>
                  <a:pt x="576" y="702"/>
                </a:lnTo>
                <a:lnTo>
                  <a:pt x="561" y="724"/>
                </a:lnTo>
                <a:lnTo>
                  <a:pt x="547" y="745"/>
                </a:lnTo>
                <a:lnTo>
                  <a:pt x="535" y="768"/>
                </a:lnTo>
                <a:lnTo>
                  <a:pt x="524" y="792"/>
                </a:lnTo>
                <a:lnTo>
                  <a:pt x="0" y="2106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0" name="Freeform 9"/>
          <p:cNvSpPr>
            <a:spLocks/>
          </p:cNvSpPr>
          <p:nvPr userDrawn="1"/>
        </p:nvSpPr>
        <p:spPr bwMode="auto">
          <a:xfrm>
            <a:off x="8666046" y="5721350"/>
            <a:ext cx="1239970" cy="1136650"/>
          </a:xfrm>
          <a:custGeom>
            <a:avLst/>
            <a:gdLst>
              <a:gd name="T0" fmla="*/ 705 w 2162"/>
              <a:gd name="T1" fmla="*/ 2147 h 2147"/>
              <a:gd name="T2" fmla="*/ 17 w 2162"/>
              <a:gd name="T3" fmla="*/ 792 h 2147"/>
              <a:gd name="T4" fmla="*/ 13 w 2162"/>
              <a:gd name="T5" fmla="*/ 782 h 2147"/>
              <a:gd name="T6" fmla="*/ 8 w 2162"/>
              <a:gd name="T7" fmla="*/ 773 h 2147"/>
              <a:gd name="T8" fmla="*/ 5 w 2162"/>
              <a:gd name="T9" fmla="*/ 764 h 2147"/>
              <a:gd name="T10" fmla="*/ 3 w 2162"/>
              <a:gd name="T11" fmla="*/ 754 h 2147"/>
              <a:gd name="T12" fmla="*/ 1 w 2162"/>
              <a:gd name="T13" fmla="*/ 744 h 2147"/>
              <a:gd name="T14" fmla="*/ 0 w 2162"/>
              <a:gd name="T15" fmla="*/ 735 h 2147"/>
              <a:gd name="T16" fmla="*/ 0 w 2162"/>
              <a:gd name="T17" fmla="*/ 726 h 2147"/>
              <a:gd name="T18" fmla="*/ 0 w 2162"/>
              <a:gd name="T19" fmla="*/ 716 h 2147"/>
              <a:gd name="T20" fmla="*/ 0 w 2162"/>
              <a:gd name="T21" fmla="*/ 707 h 2147"/>
              <a:gd name="T22" fmla="*/ 1 w 2162"/>
              <a:gd name="T23" fmla="*/ 698 h 2147"/>
              <a:gd name="T24" fmla="*/ 3 w 2162"/>
              <a:gd name="T25" fmla="*/ 688 h 2147"/>
              <a:gd name="T26" fmla="*/ 5 w 2162"/>
              <a:gd name="T27" fmla="*/ 680 h 2147"/>
              <a:gd name="T28" fmla="*/ 12 w 2162"/>
              <a:gd name="T29" fmla="*/ 662 h 2147"/>
              <a:gd name="T30" fmla="*/ 19 w 2162"/>
              <a:gd name="T31" fmla="*/ 645 h 2147"/>
              <a:gd name="T32" fmla="*/ 29 w 2162"/>
              <a:gd name="T33" fmla="*/ 629 h 2147"/>
              <a:gd name="T34" fmla="*/ 41 w 2162"/>
              <a:gd name="T35" fmla="*/ 614 h 2147"/>
              <a:gd name="T36" fmla="*/ 54 w 2162"/>
              <a:gd name="T37" fmla="*/ 600 h 2147"/>
              <a:gd name="T38" fmla="*/ 69 w 2162"/>
              <a:gd name="T39" fmla="*/ 587 h 2147"/>
              <a:gd name="T40" fmla="*/ 85 w 2162"/>
              <a:gd name="T41" fmla="*/ 576 h 2147"/>
              <a:gd name="T42" fmla="*/ 102 w 2162"/>
              <a:gd name="T43" fmla="*/ 565 h 2147"/>
              <a:gd name="T44" fmla="*/ 121 w 2162"/>
              <a:gd name="T45" fmla="*/ 558 h 2147"/>
              <a:gd name="T46" fmla="*/ 141 w 2162"/>
              <a:gd name="T47" fmla="*/ 551 h 2147"/>
              <a:gd name="T48" fmla="*/ 2162 w 2162"/>
              <a:gd name="T49" fmla="*/ 0 h 2147"/>
              <a:gd name="T50" fmla="*/ 2162 w 2162"/>
              <a:gd name="T51" fmla="*/ 2147 h 2147"/>
              <a:gd name="T52" fmla="*/ 705 w 2162"/>
              <a:gd name="T53" fmla="*/ 2147 h 2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2162" h="2147">
                <a:moveTo>
                  <a:pt x="705" y="2147"/>
                </a:moveTo>
                <a:lnTo>
                  <a:pt x="17" y="792"/>
                </a:lnTo>
                <a:lnTo>
                  <a:pt x="13" y="782"/>
                </a:lnTo>
                <a:lnTo>
                  <a:pt x="8" y="773"/>
                </a:lnTo>
                <a:lnTo>
                  <a:pt x="5" y="764"/>
                </a:lnTo>
                <a:lnTo>
                  <a:pt x="3" y="754"/>
                </a:lnTo>
                <a:lnTo>
                  <a:pt x="1" y="744"/>
                </a:lnTo>
                <a:lnTo>
                  <a:pt x="0" y="735"/>
                </a:lnTo>
                <a:lnTo>
                  <a:pt x="0" y="726"/>
                </a:lnTo>
                <a:lnTo>
                  <a:pt x="0" y="716"/>
                </a:lnTo>
                <a:lnTo>
                  <a:pt x="0" y="707"/>
                </a:lnTo>
                <a:lnTo>
                  <a:pt x="1" y="698"/>
                </a:lnTo>
                <a:lnTo>
                  <a:pt x="3" y="688"/>
                </a:lnTo>
                <a:lnTo>
                  <a:pt x="5" y="680"/>
                </a:lnTo>
                <a:lnTo>
                  <a:pt x="12" y="662"/>
                </a:lnTo>
                <a:lnTo>
                  <a:pt x="19" y="645"/>
                </a:lnTo>
                <a:lnTo>
                  <a:pt x="29" y="629"/>
                </a:lnTo>
                <a:lnTo>
                  <a:pt x="41" y="614"/>
                </a:lnTo>
                <a:lnTo>
                  <a:pt x="54" y="600"/>
                </a:lnTo>
                <a:lnTo>
                  <a:pt x="69" y="587"/>
                </a:lnTo>
                <a:lnTo>
                  <a:pt x="85" y="576"/>
                </a:lnTo>
                <a:lnTo>
                  <a:pt x="102" y="565"/>
                </a:lnTo>
                <a:lnTo>
                  <a:pt x="121" y="558"/>
                </a:lnTo>
                <a:lnTo>
                  <a:pt x="141" y="551"/>
                </a:lnTo>
                <a:lnTo>
                  <a:pt x="2162" y="0"/>
                </a:lnTo>
                <a:lnTo>
                  <a:pt x="2162" y="2147"/>
                </a:lnTo>
                <a:lnTo>
                  <a:pt x="705" y="2147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2" name="Freeform 11"/>
          <p:cNvSpPr>
            <a:spLocks/>
          </p:cNvSpPr>
          <p:nvPr userDrawn="1"/>
        </p:nvSpPr>
        <p:spPr bwMode="auto">
          <a:xfrm>
            <a:off x="6614319" y="5953304"/>
            <a:ext cx="1721512" cy="904875"/>
          </a:xfrm>
          <a:custGeom>
            <a:avLst/>
            <a:gdLst>
              <a:gd name="T0" fmla="*/ 0 w 3003"/>
              <a:gd name="T1" fmla="*/ 1709 h 1709"/>
              <a:gd name="T2" fmla="*/ 1688 w 3003"/>
              <a:gd name="T3" fmla="*/ 45 h 1709"/>
              <a:gd name="T4" fmla="*/ 1695 w 3003"/>
              <a:gd name="T5" fmla="*/ 39 h 1709"/>
              <a:gd name="T6" fmla="*/ 1704 w 3003"/>
              <a:gd name="T7" fmla="*/ 32 h 1709"/>
              <a:gd name="T8" fmla="*/ 1711 w 3003"/>
              <a:gd name="T9" fmla="*/ 26 h 1709"/>
              <a:gd name="T10" fmla="*/ 1720 w 3003"/>
              <a:gd name="T11" fmla="*/ 20 h 1709"/>
              <a:gd name="T12" fmla="*/ 1729 w 3003"/>
              <a:gd name="T13" fmla="*/ 16 h 1709"/>
              <a:gd name="T14" fmla="*/ 1737 w 3003"/>
              <a:gd name="T15" fmla="*/ 12 h 1709"/>
              <a:gd name="T16" fmla="*/ 1746 w 3003"/>
              <a:gd name="T17" fmla="*/ 8 h 1709"/>
              <a:gd name="T18" fmla="*/ 1755 w 3003"/>
              <a:gd name="T19" fmla="*/ 6 h 1709"/>
              <a:gd name="T20" fmla="*/ 1764 w 3003"/>
              <a:gd name="T21" fmla="*/ 3 h 1709"/>
              <a:gd name="T22" fmla="*/ 1773 w 3003"/>
              <a:gd name="T23" fmla="*/ 2 h 1709"/>
              <a:gd name="T24" fmla="*/ 1783 w 3003"/>
              <a:gd name="T25" fmla="*/ 1 h 1709"/>
              <a:gd name="T26" fmla="*/ 1791 w 3003"/>
              <a:gd name="T27" fmla="*/ 0 h 1709"/>
              <a:gd name="T28" fmla="*/ 1811 w 3003"/>
              <a:gd name="T29" fmla="*/ 0 h 1709"/>
              <a:gd name="T30" fmla="*/ 1829 w 3003"/>
              <a:gd name="T31" fmla="*/ 3 h 1709"/>
              <a:gd name="T32" fmla="*/ 1847 w 3003"/>
              <a:gd name="T33" fmla="*/ 7 h 1709"/>
              <a:gd name="T34" fmla="*/ 1865 w 3003"/>
              <a:gd name="T35" fmla="*/ 14 h 1709"/>
              <a:gd name="T36" fmla="*/ 1882 w 3003"/>
              <a:gd name="T37" fmla="*/ 22 h 1709"/>
              <a:gd name="T38" fmla="*/ 1899 w 3003"/>
              <a:gd name="T39" fmla="*/ 32 h 1709"/>
              <a:gd name="T40" fmla="*/ 1914 w 3003"/>
              <a:gd name="T41" fmla="*/ 44 h 1709"/>
              <a:gd name="T42" fmla="*/ 1930 w 3003"/>
              <a:gd name="T43" fmla="*/ 58 h 1709"/>
              <a:gd name="T44" fmla="*/ 1944 w 3003"/>
              <a:gd name="T45" fmla="*/ 73 h 1709"/>
              <a:gd name="T46" fmla="*/ 1955 w 3003"/>
              <a:gd name="T47" fmla="*/ 90 h 1709"/>
              <a:gd name="T48" fmla="*/ 3003 w 3003"/>
              <a:gd name="T49" fmla="*/ 1709 h 1709"/>
              <a:gd name="T50" fmla="*/ 0 w 3003"/>
              <a:gd name="T51" fmla="*/ 1709 h 17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003" h="1709">
                <a:moveTo>
                  <a:pt x="0" y="1709"/>
                </a:moveTo>
                <a:lnTo>
                  <a:pt x="1688" y="45"/>
                </a:lnTo>
                <a:lnTo>
                  <a:pt x="1695" y="39"/>
                </a:lnTo>
                <a:lnTo>
                  <a:pt x="1704" y="32"/>
                </a:lnTo>
                <a:lnTo>
                  <a:pt x="1711" y="26"/>
                </a:lnTo>
                <a:lnTo>
                  <a:pt x="1720" y="20"/>
                </a:lnTo>
                <a:lnTo>
                  <a:pt x="1729" y="16"/>
                </a:lnTo>
                <a:lnTo>
                  <a:pt x="1737" y="12"/>
                </a:lnTo>
                <a:lnTo>
                  <a:pt x="1746" y="8"/>
                </a:lnTo>
                <a:lnTo>
                  <a:pt x="1755" y="6"/>
                </a:lnTo>
                <a:lnTo>
                  <a:pt x="1764" y="3"/>
                </a:lnTo>
                <a:lnTo>
                  <a:pt x="1773" y="2"/>
                </a:lnTo>
                <a:lnTo>
                  <a:pt x="1783" y="1"/>
                </a:lnTo>
                <a:lnTo>
                  <a:pt x="1791" y="0"/>
                </a:lnTo>
                <a:lnTo>
                  <a:pt x="1811" y="0"/>
                </a:lnTo>
                <a:lnTo>
                  <a:pt x="1829" y="3"/>
                </a:lnTo>
                <a:lnTo>
                  <a:pt x="1847" y="7"/>
                </a:lnTo>
                <a:lnTo>
                  <a:pt x="1865" y="14"/>
                </a:lnTo>
                <a:lnTo>
                  <a:pt x="1882" y="22"/>
                </a:lnTo>
                <a:lnTo>
                  <a:pt x="1899" y="32"/>
                </a:lnTo>
                <a:lnTo>
                  <a:pt x="1914" y="44"/>
                </a:lnTo>
                <a:lnTo>
                  <a:pt x="1930" y="58"/>
                </a:lnTo>
                <a:lnTo>
                  <a:pt x="1944" y="73"/>
                </a:lnTo>
                <a:lnTo>
                  <a:pt x="1955" y="90"/>
                </a:lnTo>
                <a:lnTo>
                  <a:pt x="3003" y="1709"/>
                </a:lnTo>
                <a:lnTo>
                  <a:pt x="0" y="1709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4" name="Freeform 13"/>
          <p:cNvSpPr>
            <a:spLocks/>
          </p:cNvSpPr>
          <p:nvPr userDrawn="1"/>
        </p:nvSpPr>
        <p:spPr bwMode="auto">
          <a:xfrm>
            <a:off x="4459475" y="3810008"/>
            <a:ext cx="3004477" cy="2447925"/>
          </a:xfrm>
          <a:custGeom>
            <a:avLst/>
            <a:gdLst>
              <a:gd name="T0" fmla="*/ 5156 w 5241"/>
              <a:gd name="T1" fmla="*/ 2193 h 4627"/>
              <a:gd name="T2" fmla="*/ 5173 w 5241"/>
              <a:gd name="T3" fmla="*/ 2204 h 4627"/>
              <a:gd name="T4" fmla="*/ 5190 w 5241"/>
              <a:gd name="T5" fmla="*/ 2216 h 4627"/>
              <a:gd name="T6" fmla="*/ 5203 w 5241"/>
              <a:gd name="T7" fmla="*/ 2230 h 4627"/>
              <a:gd name="T8" fmla="*/ 5214 w 5241"/>
              <a:gd name="T9" fmla="*/ 2244 h 4627"/>
              <a:gd name="T10" fmla="*/ 5224 w 5241"/>
              <a:gd name="T11" fmla="*/ 2260 h 4627"/>
              <a:gd name="T12" fmla="*/ 5232 w 5241"/>
              <a:gd name="T13" fmla="*/ 2278 h 4627"/>
              <a:gd name="T14" fmla="*/ 5240 w 5241"/>
              <a:gd name="T15" fmla="*/ 2314 h 4627"/>
              <a:gd name="T16" fmla="*/ 5241 w 5241"/>
              <a:gd name="T17" fmla="*/ 2352 h 4627"/>
              <a:gd name="T18" fmla="*/ 5234 w 5241"/>
              <a:gd name="T19" fmla="*/ 2390 h 4627"/>
              <a:gd name="T20" fmla="*/ 5219 w 5241"/>
              <a:gd name="T21" fmla="*/ 2427 h 4627"/>
              <a:gd name="T22" fmla="*/ 5196 w 5241"/>
              <a:gd name="T23" fmla="*/ 2461 h 4627"/>
              <a:gd name="T24" fmla="*/ 3600 w 5241"/>
              <a:gd name="T25" fmla="*/ 4431 h 4627"/>
              <a:gd name="T26" fmla="*/ 3563 w 5241"/>
              <a:gd name="T27" fmla="*/ 4471 h 4627"/>
              <a:gd name="T28" fmla="*/ 3524 w 5241"/>
              <a:gd name="T29" fmla="*/ 4506 h 4627"/>
              <a:gd name="T30" fmla="*/ 3485 w 5241"/>
              <a:gd name="T31" fmla="*/ 4537 h 4627"/>
              <a:gd name="T32" fmla="*/ 3445 w 5241"/>
              <a:gd name="T33" fmla="*/ 4562 h 4627"/>
              <a:gd name="T34" fmla="*/ 3405 w 5241"/>
              <a:gd name="T35" fmla="*/ 4584 h 4627"/>
              <a:gd name="T36" fmla="*/ 3364 w 5241"/>
              <a:gd name="T37" fmla="*/ 4601 h 4627"/>
              <a:gd name="T38" fmla="*/ 3323 w 5241"/>
              <a:gd name="T39" fmla="*/ 4614 h 4627"/>
              <a:gd name="T40" fmla="*/ 3281 w 5241"/>
              <a:gd name="T41" fmla="*/ 4623 h 4627"/>
              <a:gd name="T42" fmla="*/ 3240 w 5241"/>
              <a:gd name="T43" fmla="*/ 4627 h 4627"/>
              <a:gd name="T44" fmla="*/ 3198 w 5241"/>
              <a:gd name="T45" fmla="*/ 4627 h 4627"/>
              <a:gd name="T46" fmla="*/ 3157 w 5241"/>
              <a:gd name="T47" fmla="*/ 4624 h 4627"/>
              <a:gd name="T48" fmla="*/ 3115 w 5241"/>
              <a:gd name="T49" fmla="*/ 4616 h 4627"/>
              <a:gd name="T50" fmla="*/ 3073 w 5241"/>
              <a:gd name="T51" fmla="*/ 4606 h 4627"/>
              <a:gd name="T52" fmla="*/ 3032 w 5241"/>
              <a:gd name="T53" fmla="*/ 4592 h 4627"/>
              <a:gd name="T54" fmla="*/ 2991 w 5241"/>
              <a:gd name="T55" fmla="*/ 4574 h 4627"/>
              <a:gd name="T56" fmla="*/ 277 w 5241"/>
              <a:gd name="T57" fmla="*/ 3172 h 4627"/>
              <a:gd name="T58" fmla="*/ 237 w 5241"/>
              <a:gd name="T59" fmla="*/ 3150 h 4627"/>
              <a:gd name="T60" fmla="*/ 200 w 5241"/>
              <a:gd name="T61" fmla="*/ 3125 h 4627"/>
              <a:gd name="T62" fmla="*/ 166 w 5241"/>
              <a:gd name="T63" fmla="*/ 3099 h 4627"/>
              <a:gd name="T64" fmla="*/ 134 w 5241"/>
              <a:gd name="T65" fmla="*/ 3070 h 4627"/>
              <a:gd name="T66" fmla="*/ 106 w 5241"/>
              <a:gd name="T67" fmla="*/ 3039 h 4627"/>
              <a:gd name="T68" fmla="*/ 81 w 5241"/>
              <a:gd name="T69" fmla="*/ 3006 h 4627"/>
              <a:gd name="T70" fmla="*/ 58 w 5241"/>
              <a:gd name="T71" fmla="*/ 2971 h 4627"/>
              <a:gd name="T72" fmla="*/ 40 w 5241"/>
              <a:gd name="T73" fmla="*/ 2933 h 4627"/>
              <a:gd name="T74" fmla="*/ 24 w 5241"/>
              <a:gd name="T75" fmla="*/ 2893 h 4627"/>
              <a:gd name="T76" fmla="*/ 13 w 5241"/>
              <a:gd name="T77" fmla="*/ 2851 h 4627"/>
              <a:gd name="T78" fmla="*/ 4 w 5241"/>
              <a:gd name="T79" fmla="*/ 2807 h 4627"/>
              <a:gd name="T80" fmla="*/ 1 w 5241"/>
              <a:gd name="T81" fmla="*/ 2761 h 4627"/>
              <a:gd name="T82" fmla="*/ 1 w 5241"/>
              <a:gd name="T83" fmla="*/ 2713 h 4627"/>
              <a:gd name="T84" fmla="*/ 6 w 5241"/>
              <a:gd name="T85" fmla="*/ 2662 h 4627"/>
              <a:gd name="T86" fmla="*/ 14 w 5241"/>
              <a:gd name="T87" fmla="*/ 2609 h 4627"/>
              <a:gd name="T88" fmla="*/ 28 w 5241"/>
              <a:gd name="T89" fmla="*/ 2554 h 4627"/>
              <a:gd name="T90" fmla="*/ 711 w 5241"/>
              <a:gd name="T91" fmla="*/ 121 h 4627"/>
              <a:gd name="T92" fmla="*/ 729 w 5241"/>
              <a:gd name="T93" fmla="*/ 84 h 4627"/>
              <a:gd name="T94" fmla="*/ 753 w 5241"/>
              <a:gd name="T95" fmla="*/ 54 h 4627"/>
              <a:gd name="T96" fmla="*/ 782 w 5241"/>
              <a:gd name="T97" fmla="*/ 29 h 4627"/>
              <a:gd name="T98" fmla="*/ 816 w 5241"/>
              <a:gd name="T99" fmla="*/ 11 h 4627"/>
              <a:gd name="T100" fmla="*/ 843 w 5241"/>
              <a:gd name="T101" fmla="*/ 3 h 4627"/>
              <a:gd name="T102" fmla="*/ 861 w 5241"/>
              <a:gd name="T103" fmla="*/ 1 h 4627"/>
              <a:gd name="T104" fmla="*/ 879 w 5241"/>
              <a:gd name="T105" fmla="*/ 0 h 4627"/>
              <a:gd name="T106" fmla="*/ 899 w 5241"/>
              <a:gd name="T107" fmla="*/ 2 h 4627"/>
              <a:gd name="T108" fmla="*/ 917 w 5241"/>
              <a:gd name="T109" fmla="*/ 7 h 4627"/>
              <a:gd name="T110" fmla="*/ 937 w 5241"/>
              <a:gd name="T111" fmla="*/ 13 h 46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241" h="4627">
                <a:moveTo>
                  <a:pt x="946" y="19"/>
                </a:moveTo>
                <a:lnTo>
                  <a:pt x="5156" y="2193"/>
                </a:lnTo>
                <a:lnTo>
                  <a:pt x="5165" y="2199"/>
                </a:lnTo>
                <a:lnTo>
                  <a:pt x="5173" y="2204"/>
                </a:lnTo>
                <a:lnTo>
                  <a:pt x="5182" y="2210"/>
                </a:lnTo>
                <a:lnTo>
                  <a:pt x="5190" y="2216"/>
                </a:lnTo>
                <a:lnTo>
                  <a:pt x="5196" y="2223"/>
                </a:lnTo>
                <a:lnTo>
                  <a:pt x="5203" y="2230"/>
                </a:lnTo>
                <a:lnTo>
                  <a:pt x="5209" y="2237"/>
                </a:lnTo>
                <a:lnTo>
                  <a:pt x="5214" y="2244"/>
                </a:lnTo>
                <a:lnTo>
                  <a:pt x="5220" y="2253"/>
                </a:lnTo>
                <a:lnTo>
                  <a:pt x="5224" y="2260"/>
                </a:lnTo>
                <a:lnTo>
                  <a:pt x="5228" y="2269"/>
                </a:lnTo>
                <a:lnTo>
                  <a:pt x="5232" y="2278"/>
                </a:lnTo>
                <a:lnTo>
                  <a:pt x="5237" y="2296"/>
                </a:lnTo>
                <a:lnTo>
                  <a:pt x="5240" y="2314"/>
                </a:lnTo>
                <a:lnTo>
                  <a:pt x="5241" y="2333"/>
                </a:lnTo>
                <a:lnTo>
                  <a:pt x="5241" y="2352"/>
                </a:lnTo>
                <a:lnTo>
                  <a:pt x="5238" y="2370"/>
                </a:lnTo>
                <a:lnTo>
                  <a:pt x="5234" y="2390"/>
                </a:lnTo>
                <a:lnTo>
                  <a:pt x="5227" y="2408"/>
                </a:lnTo>
                <a:lnTo>
                  <a:pt x="5219" y="2427"/>
                </a:lnTo>
                <a:lnTo>
                  <a:pt x="5209" y="2445"/>
                </a:lnTo>
                <a:lnTo>
                  <a:pt x="5196" y="2461"/>
                </a:lnTo>
                <a:lnTo>
                  <a:pt x="3619" y="4409"/>
                </a:lnTo>
                <a:lnTo>
                  <a:pt x="3600" y="4431"/>
                </a:lnTo>
                <a:lnTo>
                  <a:pt x="3581" y="4451"/>
                </a:lnTo>
                <a:lnTo>
                  <a:pt x="3563" y="4471"/>
                </a:lnTo>
                <a:lnTo>
                  <a:pt x="3544" y="4489"/>
                </a:lnTo>
                <a:lnTo>
                  <a:pt x="3524" y="4506"/>
                </a:lnTo>
                <a:lnTo>
                  <a:pt x="3505" y="4523"/>
                </a:lnTo>
                <a:lnTo>
                  <a:pt x="3485" y="4537"/>
                </a:lnTo>
                <a:lnTo>
                  <a:pt x="3466" y="4551"/>
                </a:lnTo>
                <a:lnTo>
                  <a:pt x="3445" y="4562"/>
                </a:lnTo>
                <a:lnTo>
                  <a:pt x="3426" y="4574"/>
                </a:lnTo>
                <a:lnTo>
                  <a:pt x="3405" y="4584"/>
                </a:lnTo>
                <a:lnTo>
                  <a:pt x="3385" y="4594"/>
                </a:lnTo>
                <a:lnTo>
                  <a:pt x="3364" y="4601"/>
                </a:lnTo>
                <a:lnTo>
                  <a:pt x="3344" y="4608"/>
                </a:lnTo>
                <a:lnTo>
                  <a:pt x="3323" y="4614"/>
                </a:lnTo>
                <a:lnTo>
                  <a:pt x="3303" y="4619"/>
                </a:lnTo>
                <a:lnTo>
                  <a:pt x="3281" y="4623"/>
                </a:lnTo>
                <a:lnTo>
                  <a:pt x="3261" y="4625"/>
                </a:lnTo>
                <a:lnTo>
                  <a:pt x="3240" y="4627"/>
                </a:lnTo>
                <a:lnTo>
                  <a:pt x="3220" y="4627"/>
                </a:lnTo>
                <a:lnTo>
                  <a:pt x="3198" y="4627"/>
                </a:lnTo>
                <a:lnTo>
                  <a:pt x="3178" y="4626"/>
                </a:lnTo>
                <a:lnTo>
                  <a:pt x="3157" y="4624"/>
                </a:lnTo>
                <a:lnTo>
                  <a:pt x="3135" y="4621"/>
                </a:lnTo>
                <a:lnTo>
                  <a:pt x="3115" y="4616"/>
                </a:lnTo>
                <a:lnTo>
                  <a:pt x="3094" y="4612"/>
                </a:lnTo>
                <a:lnTo>
                  <a:pt x="3073" y="4606"/>
                </a:lnTo>
                <a:lnTo>
                  <a:pt x="3052" y="4599"/>
                </a:lnTo>
                <a:lnTo>
                  <a:pt x="3032" y="4592"/>
                </a:lnTo>
                <a:lnTo>
                  <a:pt x="3011" y="4583"/>
                </a:lnTo>
                <a:lnTo>
                  <a:pt x="2991" y="4574"/>
                </a:lnTo>
                <a:lnTo>
                  <a:pt x="2970" y="4564"/>
                </a:lnTo>
                <a:lnTo>
                  <a:pt x="277" y="3172"/>
                </a:lnTo>
                <a:lnTo>
                  <a:pt x="256" y="3161"/>
                </a:lnTo>
                <a:lnTo>
                  <a:pt x="237" y="3150"/>
                </a:lnTo>
                <a:lnTo>
                  <a:pt x="218" y="3138"/>
                </a:lnTo>
                <a:lnTo>
                  <a:pt x="200" y="3125"/>
                </a:lnTo>
                <a:lnTo>
                  <a:pt x="183" y="3112"/>
                </a:lnTo>
                <a:lnTo>
                  <a:pt x="166" y="3099"/>
                </a:lnTo>
                <a:lnTo>
                  <a:pt x="150" y="3085"/>
                </a:lnTo>
                <a:lnTo>
                  <a:pt x="134" y="3070"/>
                </a:lnTo>
                <a:lnTo>
                  <a:pt x="120" y="3055"/>
                </a:lnTo>
                <a:lnTo>
                  <a:pt x="106" y="3039"/>
                </a:lnTo>
                <a:lnTo>
                  <a:pt x="93" y="3023"/>
                </a:lnTo>
                <a:lnTo>
                  <a:pt x="81" y="3006"/>
                </a:lnTo>
                <a:lnTo>
                  <a:pt x="69" y="2989"/>
                </a:lnTo>
                <a:lnTo>
                  <a:pt x="58" y="2971"/>
                </a:lnTo>
                <a:lnTo>
                  <a:pt x="49" y="2952"/>
                </a:lnTo>
                <a:lnTo>
                  <a:pt x="40" y="2933"/>
                </a:lnTo>
                <a:lnTo>
                  <a:pt x="31" y="2914"/>
                </a:lnTo>
                <a:lnTo>
                  <a:pt x="24" y="2893"/>
                </a:lnTo>
                <a:lnTo>
                  <a:pt x="17" y="2873"/>
                </a:lnTo>
                <a:lnTo>
                  <a:pt x="13" y="2851"/>
                </a:lnTo>
                <a:lnTo>
                  <a:pt x="8" y="2829"/>
                </a:lnTo>
                <a:lnTo>
                  <a:pt x="4" y="2807"/>
                </a:lnTo>
                <a:lnTo>
                  <a:pt x="2" y="2784"/>
                </a:lnTo>
                <a:lnTo>
                  <a:pt x="1" y="2761"/>
                </a:lnTo>
                <a:lnTo>
                  <a:pt x="0" y="2737"/>
                </a:lnTo>
                <a:lnTo>
                  <a:pt x="1" y="2713"/>
                </a:lnTo>
                <a:lnTo>
                  <a:pt x="2" y="2687"/>
                </a:lnTo>
                <a:lnTo>
                  <a:pt x="6" y="2662"/>
                </a:lnTo>
                <a:lnTo>
                  <a:pt x="10" y="2635"/>
                </a:lnTo>
                <a:lnTo>
                  <a:pt x="14" y="2609"/>
                </a:lnTo>
                <a:lnTo>
                  <a:pt x="21" y="2582"/>
                </a:lnTo>
                <a:lnTo>
                  <a:pt x="28" y="2554"/>
                </a:lnTo>
                <a:lnTo>
                  <a:pt x="704" y="141"/>
                </a:lnTo>
                <a:lnTo>
                  <a:pt x="711" y="121"/>
                </a:lnTo>
                <a:lnTo>
                  <a:pt x="718" y="102"/>
                </a:lnTo>
                <a:lnTo>
                  <a:pt x="729" y="84"/>
                </a:lnTo>
                <a:lnTo>
                  <a:pt x="740" y="68"/>
                </a:lnTo>
                <a:lnTo>
                  <a:pt x="753" y="54"/>
                </a:lnTo>
                <a:lnTo>
                  <a:pt x="767" y="40"/>
                </a:lnTo>
                <a:lnTo>
                  <a:pt x="782" y="29"/>
                </a:lnTo>
                <a:lnTo>
                  <a:pt x="798" y="20"/>
                </a:lnTo>
                <a:lnTo>
                  <a:pt x="816" y="11"/>
                </a:lnTo>
                <a:lnTo>
                  <a:pt x="833" y="6"/>
                </a:lnTo>
                <a:lnTo>
                  <a:pt x="843" y="3"/>
                </a:lnTo>
                <a:lnTo>
                  <a:pt x="851" y="2"/>
                </a:lnTo>
                <a:lnTo>
                  <a:pt x="861" y="1"/>
                </a:lnTo>
                <a:lnTo>
                  <a:pt x="871" y="0"/>
                </a:lnTo>
                <a:lnTo>
                  <a:pt x="879" y="0"/>
                </a:lnTo>
                <a:lnTo>
                  <a:pt x="889" y="1"/>
                </a:lnTo>
                <a:lnTo>
                  <a:pt x="899" y="2"/>
                </a:lnTo>
                <a:lnTo>
                  <a:pt x="908" y="5"/>
                </a:lnTo>
                <a:lnTo>
                  <a:pt x="917" y="7"/>
                </a:lnTo>
                <a:lnTo>
                  <a:pt x="927" y="10"/>
                </a:lnTo>
                <a:lnTo>
                  <a:pt x="937" y="13"/>
                </a:lnTo>
                <a:lnTo>
                  <a:pt x="946" y="19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Freeform 5"/>
          <p:cNvSpPr>
            <a:spLocks/>
          </p:cNvSpPr>
          <p:nvPr userDrawn="1"/>
        </p:nvSpPr>
        <p:spPr bwMode="auto">
          <a:xfrm>
            <a:off x="6720953" y="1936754"/>
            <a:ext cx="2130822" cy="2646363"/>
          </a:xfrm>
          <a:custGeom>
            <a:avLst/>
            <a:gdLst>
              <a:gd name="T0" fmla="*/ 2936 w 3717"/>
              <a:gd name="T1" fmla="*/ 4866 h 5000"/>
              <a:gd name="T2" fmla="*/ 2932 w 3717"/>
              <a:gd name="T3" fmla="*/ 4886 h 5000"/>
              <a:gd name="T4" fmla="*/ 2924 w 3717"/>
              <a:gd name="T5" fmla="*/ 4905 h 5000"/>
              <a:gd name="T6" fmla="*/ 2915 w 3717"/>
              <a:gd name="T7" fmla="*/ 4922 h 5000"/>
              <a:gd name="T8" fmla="*/ 2905 w 3717"/>
              <a:gd name="T9" fmla="*/ 4938 h 5000"/>
              <a:gd name="T10" fmla="*/ 2893 w 3717"/>
              <a:gd name="T11" fmla="*/ 4952 h 5000"/>
              <a:gd name="T12" fmla="*/ 2879 w 3717"/>
              <a:gd name="T13" fmla="*/ 4964 h 5000"/>
              <a:gd name="T14" fmla="*/ 2847 w 3717"/>
              <a:gd name="T15" fmla="*/ 4983 h 5000"/>
              <a:gd name="T16" fmla="*/ 2811 w 3717"/>
              <a:gd name="T17" fmla="*/ 4996 h 5000"/>
              <a:gd name="T18" fmla="*/ 2773 w 3717"/>
              <a:gd name="T19" fmla="*/ 5000 h 5000"/>
              <a:gd name="T20" fmla="*/ 2733 w 3717"/>
              <a:gd name="T21" fmla="*/ 4998 h 5000"/>
              <a:gd name="T22" fmla="*/ 2693 w 3717"/>
              <a:gd name="T23" fmla="*/ 4987 h 5000"/>
              <a:gd name="T24" fmla="*/ 329 w 3717"/>
              <a:gd name="T25" fmla="*/ 4073 h 5000"/>
              <a:gd name="T26" fmla="*/ 279 w 3717"/>
              <a:gd name="T27" fmla="*/ 4049 h 5000"/>
              <a:gd name="T28" fmla="*/ 233 w 3717"/>
              <a:gd name="T29" fmla="*/ 4024 h 5000"/>
              <a:gd name="T30" fmla="*/ 192 w 3717"/>
              <a:gd name="T31" fmla="*/ 3996 h 5000"/>
              <a:gd name="T32" fmla="*/ 155 w 3717"/>
              <a:gd name="T33" fmla="*/ 3966 h 5000"/>
              <a:gd name="T34" fmla="*/ 122 w 3717"/>
              <a:gd name="T35" fmla="*/ 3934 h 5000"/>
              <a:gd name="T36" fmla="*/ 93 w 3717"/>
              <a:gd name="T37" fmla="*/ 3900 h 5000"/>
              <a:gd name="T38" fmla="*/ 70 w 3717"/>
              <a:gd name="T39" fmla="*/ 3865 h 5000"/>
              <a:gd name="T40" fmla="*/ 48 w 3717"/>
              <a:gd name="T41" fmla="*/ 3829 h 5000"/>
              <a:gd name="T42" fmla="*/ 32 w 3717"/>
              <a:gd name="T43" fmla="*/ 3790 h 5000"/>
              <a:gd name="T44" fmla="*/ 18 w 3717"/>
              <a:gd name="T45" fmla="*/ 3750 h 5000"/>
              <a:gd name="T46" fmla="*/ 8 w 3717"/>
              <a:gd name="T47" fmla="*/ 3710 h 5000"/>
              <a:gd name="T48" fmla="*/ 3 w 3717"/>
              <a:gd name="T49" fmla="*/ 3668 h 5000"/>
              <a:gd name="T50" fmla="*/ 0 w 3717"/>
              <a:gd name="T51" fmla="*/ 3625 h 5000"/>
              <a:gd name="T52" fmla="*/ 0 w 3717"/>
              <a:gd name="T53" fmla="*/ 3581 h 5000"/>
              <a:gd name="T54" fmla="*/ 5 w 3717"/>
              <a:gd name="T55" fmla="*/ 3537 h 5000"/>
              <a:gd name="T56" fmla="*/ 507 w 3717"/>
              <a:gd name="T57" fmla="*/ 523 h 5000"/>
              <a:gd name="T58" fmla="*/ 516 w 3717"/>
              <a:gd name="T59" fmla="*/ 479 h 5000"/>
              <a:gd name="T60" fmla="*/ 527 w 3717"/>
              <a:gd name="T61" fmla="*/ 437 h 5000"/>
              <a:gd name="T62" fmla="*/ 541 w 3717"/>
              <a:gd name="T63" fmla="*/ 396 h 5000"/>
              <a:gd name="T64" fmla="*/ 560 w 3717"/>
              <a:gd name="T65" fmla="*/ 357 h 5000"/>
              <a:gd name="T66" fmla="*/ 580 w 3717"/>
              <a:gd name="T67" fmla="*/ 320 h 5000"/>
              <a:gd name="T68" fmla="*/ 604 w 3717"/>
              <a:gd name="T69" fmla="*/ 286 h 5000"/>
              <a:gd name="T70" fmla="*/ 631 w 3717"/>
              <a:gd name="T71" fmla="*/ 254 h 5000"/>
              <a:gd name="T72" fmla="*/ 661 w 3717"/>
              <a:gd name="T73" fmla="*/ 224 h 5000"/>
              <a:gd name="T74" fmla="*/ 694 w 3717"/>
              <a:gd name="T75" fmla="*/ 198 h 5000"/>
              <a:gd name="T76" fmla="*/ 730 w 3717"/>
              <a:gd name="T77" fmla="*/ 173 h 5000"/>
              <a:gd name="T78" fmla="*/ 770 w 3717"/>
              <a:gd name="T79" fmla="*/ 153 h 5000"/>
              <a:gd name="T80" fmla="*/ 814 w 3717"/>
              <a:gd name="T81" fmla="*/ 135 h 5000"/>
              <a:gd name="T82" fmla="*/ 859 w 3717"/>
              <a:gd name="T83" fmla="*/ 121 h 5000"/>
              <a:gd name="T84" fmla="*/ 909 w 3717"/>
              <a:gd name="T85" fmla="*/ 109 h 5000"/>
              <a:gd name="T86" fmla="*/ 962 w 3717"/>
              <a:gd name="T87" fmla="*/ 101 h 5000"/>
              <a:gd name="T88" fmla="*/ 1019 w 3717"/>
              <a:gd name="T89" fmla="*/ 97 h 5000"/>
              <a:gd name="T90" fmla="*/ 3544 w 3717"/>
              <a:gd name="T91" fmla="*/ 0 h 5000"/>
              <a:gd name="T92" fmla="*/ 3584 w 3717"/>
              <a:gd name="T93" fmla="*/ 6 h 5000"/>
              <a:gd name="T94" fmla="*/ 3622 w 3717"/>
              <a:gd name="T95" fmla="*/ 20 h 5000"/>
              <a:gd name="T96" fmla="*/ 3654 w 3717"/>
              <a:gd name="T97" fmla="*/ 41 h 5000"/>
              <a:gd name="T98" fmla="*/ 3680 w 3717"/>
              <a:gd name="T99" fmla="*/ 67 h 5000"/>
              <a:gd name="T100" fmla="*/ 3696 w 3717"/>
              <a:gd name="T101" fmla="*/ 89 h 5000"/>
              <a:gd name="T102" fmla="*/ 3705 w 3717"/>
              <a:gd name="T103" fmla="*/ 106 h 5000"/>
              <a:gd name="T104" fmla="*/ 3710 w 3717"/>
              <a:gd name="T105" fmla="*/ 124 h 5000"/>
              <a:gd name="T106" fmla="*/ 3715 w 3717"/>
              <a:gd name="T107" fmla="*/ 142 h 5000"/>
              <a:gd name="T108" fmla="*/ 3717 w 3717"/>
              <a:gd name="T109" fmla="*/ 162 h 5000"/>
              <a:gd name="T110" fmla="*/ 3716 w 3717"/>
              <a:gd name="T111" fmla="*/ 182 h 5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717" h="5000">
                <a:moveTo>
                  <a:pt x="3715" y="192"/>
                </a:moveTo>
                <a:lnTo>
                  <a:pt x="2936" y="4866"/>
                </a:lnTo>
                <a:lnTo>
                  <a:pt x="2934" y="4876"/>
                </a:lnTo>
                <a:lnTo>
                  <a:pt x="2932" y="4886"/>
                </a:lnTo>
                <a:lnTo>
                  <a:pt x="2928" y="4895"/>
                </a:lnTo>
                <a:lnTo>
                  <a:pt x="2924" y="4905"/>
                </a:lnTo>
                <a:lnTo>
                  <a:pt x="2921" y="4914"/>
                </a:lnTo>
                <a:lnTo>
                  <a:pt x="2915" y="4922"/>
                </a:lnTo>
                <a:lnTo>
                  <a:pt x="2911" y="4930"/>
                </a:lnTo>
                <a:lnTo>
                  <a:pt x="2905" y="4938"/>
                </a:lnTo>
                <a:lnTo>
                  <a:pt x="2899" y="4945"/>
                </a:lnTo>
                <a:lnTo>
                  <a:pt x="2893" y="4952"/>
                </a:lnTo>
                <a:lnTo>
                  <a:pt x="2886" y="4958"/>
                </a:lnTo>
                <a:lnTo>
                  <a:pt x="2879" y="4964"/>
                </a:lnTo>
                <a:lnTo>
                  <a:pt x="2863" y="4974"/>
                </a:lnTo>
                <a:lnTo>
                  <a:pt x="2847" y="4983"/>
                </a:lnTo>
                <a:lnTo>
                  <a:pt x="2829" y="4991"/>
                </a:lnTo>
                <a:lnTo>
                  <a:pt x="2811" y="4996"/>
                </a:lnTo>
                <a:lnTo>
                  <a:pt x="2792" y="4999"/>
                </a:lnTo>
                <a:lnTo>
                  <a:pt x="2773" y="5000"/>
                </a:lnTo>
                <a:lnTo>
                  <a:pt x="2752" y="5000"/>
                </a:lnTo>
                <a:lnTo>
                  <a:pt x="2733" y="4998"/>
                </a:lnTo>
                <a:lnTo>
                  <a:pt x="2713" y="4994"/>
                </a:lnTo>
                <a:lnTo>
                  <a:pt x="2693" y="4987"/>
                </a:lnTo>
                <a:lnTo>
                  <a:pt x="355" y="4083"/>
                </a:lnTo>
                <a:lnTo>
                  <a:pt x="329" y="4073"/>
                </a:lnTo>
                <a:lnTo>
                  <a:pt x="303" y="4061"/>
                </a:lnTo>
                <a:lnTo>
                  <a:pt x="279" y="4049"/>
                </a:lnTo>
                <a:lnTo>
                  <a:pt x="255" y="4037"/>
                </a:lnTo>
                <a:lnTo>
                  <a:pt x="233" y="4024"/>
                </a:lnTo>
                <a:lnTo>
                  <a:pt x="212" y="4010"/>
                </a:lnTo>
                <a:lnTo>
                  <a:pt x="192" y="3996"/>
                </a:lnTo>
                <a:lnTo>
                  <a:pt x="173" y="3981"/>
                </a:lnTo>
                <a:lnTo>
                  <a:pt x="155" y="3966"/>
                </a:lnTo>
                <a:lnTo>
                  <a:pt x="139" y="3951"/>
                </a:lnTo>
                <a:lnTo>
                  <a:pt x="122" y="3934"/>
                </a:lnTo>
                <a:lnTo>
                  <a:pt x="107" y="3917"/>
                </a:lnTo>
                <a:lnTo>
                  <a:pt x="93" y="3900"/>
                </a:lnTo>
                <a:lnTo>
                  <a:pt x="81" y="3883"/>
                </a:lnTo>
                <a:lnTo>
                  <a:pt x="70" y="3865"/>
                </a:lnTo>
                <a:lnTo>
                  <a:pt x="58" y="3847"/>
                </a:lnTo>
                <a:lnTo>
                  <a:pt x="48" y="3829"/>
                </a:lnTo>
                <a:lnTo>
                  <a:pt x="39" y="3809"/>
                </a:lnTo>
                <a:lnTo>
                  <a:pt x="32" y="3790"/>
                </a:lnTo>
                <a:lnTo>
                  <a:pt x="24" y="3770"/>
                </a:lnTo>
                <a:lnTo>
                  <a:pt x="18" y="3750"/>
                </a:lnTo>
                <a:lnTo>
                  <a:pt x="12" y="3730"/>
                </a:lnTo>
                <a:lnTo>
                  <a:pt x="8" y="3710"/>
                </a:lnTo>
                <a:lnTo>
                  <a:pt x="5" y="3688"/>
                </a:lnTo>
                <a:lnTo>
                  <a:pt x="3" y="3668"/>
                </a:lnTo>
                <a:lnTo>
                  <a:pt x="0" y="3646"/>
                </a:lnTo>
                <a:lnTo>
                  <a:pt x="0" y="3625"/>
                </a:lnTo>
                <a:lnTo>
                  <a:pt x="0" y="3603"/>
                </a:lnTo>
                <a:lnTo>
                  <a:pt x="0" y="3581"/>
                </a:lnTo>
                <a:lnTo>
                  <a:pt x="3" y="3559"/>
                </a:lnTo>
                <a:lnTo>
                  <a:pt x="5" y="3537"/>
                </a:lnTo>
                <a:lnTo>
                  <a:pt x="8" y="3514"/>
                </a:lnTo>
                <a:lnTo>
                  <a:pt x="507" y="523"/>
                </a:lnTo>
                <a:lnTo>
                  <a:pt x="510" y="501"/>
                </a:lnTo>
                <a:lnTo>
                  <a:pt x="516" y="479"/>
                </a:lnTo>
                <a:lnTo>
                  <a:pt x="521" y="457"/>
                </a:lnTo>
                <a:lnTo>
                  <a:pt x="527" y="437"/>
                </a:lnTo>
                <a:lnTo>
                  <a:pt x="534" y="416"/>
                </a:lnTo>
                <a:lnTo>
                  <a:pt x="541" y="396"/>
                </a:lnTo>
                <a:lnTo>
                  <a:pt x="550" y="376"/>
                </a:lnTo>
                <a:lnTo>
                  <a:pt x="560" y="357"/>
                </a:lnTo>
                <a:lnTo>
                  <a:pt x="570" y="339"/>
                </a:lnTo>
                <a:lnTo>
                  <a:pt x="580" y="320"/>
                </a:lnTo>
                <a:lnTo>
                  <a:pt x="592" y="303"/>
                </a:lnTo>
                <a:lnTo>
                  <a:pt x="604" y="286"/>
                </a:lnTo>
                <a:lnTo>
                  <a:pt x="617" y="270"/>
                </a:lnTo>
                <a:lnTo>
                  <a:pt x="631" y="254"/>
                </a:lnTo>
                <a:lnTo>
                  <a:pt x="646" y="239"/>
                </a:lnTo>
                <a:lnTo>
                  <a:pt x="661" y="224"/>
                </a:lnTo>
                <a:lnTo>
                  <a:pt x="678" y="211"/>
                </a:lnTo>
                <a:lnTo>
                  <a:pt x="694" y="198"/>
                </a:lnTo>
                <a:lnTo>
                  <a:pt x="712" y="185"/>
                </a:lnTo>
                <a:lnTo>
                  <a:pt x="730" y="173"/>
                </a:lnTo>
                <a:lnTo>
                  <a:pt x="750" y="163"/>
                </a:lnTo>
                <a:lnTo>
                  <a:pt x="770" y="153"/>
                </a:lnTo>
                <a:lnTo>
                  <a:pt x="791" y="143"/>
                </a:lnTo>
                <a:lnTo>
                  <a:pt x="814" y="135"/>
                </a:lnTo>
                <a:lnTo>
                  <a:pt x="836" y="127"/>
                </a:lnTo>
                <a:lnTo>
                  <a:pt x="859" y="121"/>
                </a:lnTo>
                <a:lnTo>
                  <a:pt x="884" y="114"/>
                </a:lnTo>
                <a:lnTo>
                  <a:pt x="909" y="109"/>
                </a:lnTo>
                <a:lnTo>
                  <a:pt x="936" y="104"/>
                </a:lnTo>
                <a:lnTo>
                  <a:pt x="962" y="101"/>
                </a:lnTo>
                <a:lnTo>
                  <a:pt x="990" y="99"/>
                </a:lnTo>
                <a:lnTo>
                  <a:pt x="1019" y="97"/>
                </a:lnTo>
                <a:lnTo>
                  <a:pt x="3523" y="0"/>
                </a:lnTo>
                <a:lnTo>
                  <a:pt x="3544" y="0"/>
                </a:lnTo>
                <a:lnTo>
                  <a:pt x="3564" y="2"/>
                </a:lnTo>
                <a:lnTo>
                  <a:pt x="3584" y="6"/>
                </a:lnTo>
                <a:lnTo>
                  <a:pt x="3603" y="13"/>
                </a:lnTo>
                <a:lnTo>
                  <a:pt x="3622" y="20"/>
                </a:lnTo>
                <a:lnTo>
                  <a:pt x="3638" y="30"/>
                </a:lnTo>
                <a:lnTo>
                  <a:pt x="3654" y="41"/>
                </a:lnTo>
                <a:lnTo>
                  <a:pt x="3668" y="53"/>
                </a:lnTo>
                <a:lnTo>
                  <a:pt x="3680" y="67"/>
                </a:lnTo>
                <a:lnTo>
                  <a:pt x="3692" y="82"/>
                </a:lnTo>
                <a:lnTo>
                  <a:pt x="3696" y="89"/>
                </a:lnTo>
                <a:lnTo>
                  <a:pt x="3700" y="98"/>
                </a:lnTo>
                <a:lnTo>
                  <a:pt x="3705" y="106"/>
                </a:lnTo>
                <a:lnTo>
                  <a:pt x="3708" y="115"/>
                </a:lnTo>
                <a:lnTo>
                  <a:pt x="3710" y="124"/>
                </a:lnTo>
                <a:lnTo>
                  <a:pt x="3713" y="132"/>
                </a:lnTo>
                <a:lnTo>
                  <a:pt x="3715" y="142"/>
                </a:lnTo>
                <a:lnTo>
                  <a:pt x="3716" y="152"/>
                </a:lnTo>
                <a:lnTo>
                  <a:pt x="3717" y="162"/>
                </a:lnTo>
                <a:lnTo>
                  <a:pt x="3717" y="171"/>
                </a:lnTo>
                <a:lnTo>
                  <a:pt x="3716" y="182"/>
                </a:lnTo>
                <a:lnTo>
                  <a:pt x="3715" y="192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Freeform 7"/>
          <p:cNvSpPr>
            <a:spLocks/>
          </p:cNvSpPr>
          <p:nvPr userDrawn="1"/>
        </p:nvSpPr>
        <p:spPr bwMode="auto">
          <a:xfrm>
            <a:off x="9070277" y="3473450"/>
            <a:ext cx="835819" cy="1765300"/>
          </a:xfrm>
          <a:custGeom>
            <a:avLst/>
            <a:gdLst>
              <a:gd name="T0" fmla="*/ 1458 w 1458"/>
              <a:gd name="T1" fmla="*/ 3144 h 3336"/>
              <a:gd name="T2" fmla="*/ 190 w 1458"/>
              <a:gd name="T3" fmla="*/ 3335 h 3336"/>
              <a:gd name="T4" fmla="*/ 180 w 1458"/>
              <a:gd name="T5" fmla="*/ 3336 h 3336"/>
              <a:gd name="T6" fmla="*/ 170 w 1458"/>
              <a:gd name="T7" fmla="*/ 3336 h 3336"/>
              <a:gd name="T8" fmla="*/ 160 w 1458"/>
              <a:gd name="T9" fmla="*/ 3336 h 3336"/>
              <a:gd name="T10" fmla="*/ 150 w 1458"/>
              <a:gd name="T11" fmla="*/ 3336 h 3336"/>
              <a:gd name="T12" fmla="*/ 140 w 1458"/>
              <a:gd name="T13" fmla="*/ 3334 h 3336"/>
              <a:gd name="T14" fmla="*/ 131 w 1458"/>
              <a:gd name="T15" fmla="*/ 3333 h 3336"/>
              <a:gd name="T16" fmla="*/ 122 w 1458"/>
              <a:gd name="T17" fmla="*/ 3329 h 3336"/>
              <a:gd name="T18" fmla="*/ 112 w 1458"/>
              <a:gd name="T19" fmla="*/ 3327 h 3336"/>
              <a:gd name="T20" fmla="*/ 104 w 1458"/>
              <a:gd name="T21" fmla="*/ 3323 h 3336"/>
              <a:gd name="T22" fmla="*/ 96 w 1458"/>
              <a:gd name="T23" fmla="*/ 3320 h 3336"/>
              <a:gd name="T24" fmla="*/ 87 w 1458"/>
              <a:gd name="T25" fmla="*/ 3315 h 3336"/>
              <a:gd name="T26" fmla="*/ 80 w 1458"/>
              <a:gd name="T27" fmla="*/ 3310 h 3336"/>
              <a:gd name="T28" fmla="*/ 65 w 1458"/>
              <a:gd name="T29" fmla="*/ 3299 h 3336"/>
              <a:gd name="T30" fmla="*/ 52 w 1458"/>
              <a:gd name="T31" fmla="*/ 3286 h 3336"/>
              <a:gd name="T32" fmla="*/ 39 w 1458"/>
              <a:gd name="T33" fmla="*/ 3271 h 3336"/>
              <a:gd name="T34" fmla="*/ 28 w 1458"/>
              <a:gd name="T35" fmla="*/ 3256 h 3336"/>
              <a:gd name="T36" fmla="*/ 19 w 1458"/>
              <a:gd name="T37" fmla="*/ 3239 h 3336"/>
              <a:gd name="T38" fmla="*/ 12 w 1458"/>
              <a:gd name="T39" fmla="*/ 3220 h 3336"/>
              <a:gd name="T40" fmla="*/ 6 w 1458"/>
              <a:gd name="T41" fmla="*/ 3202 h 3336"/>
              <a:gd name="T42" fmla="*/ 2 w 1458"/>
              <a:gd name="T43" fmla="*/ 3181 h 3336"/>
              <a:gd name="T44" fmla="*/ 0 w 1458"/>
              <a:gd name="T45" fmla="*/ 3162 h 3336"/>
              <a:gd name="T46" fmla="*/ 0 w 1458"/>
              <a:gd name="T47" fmla="*/ 3140 h 3336"/>
              <a:gd name="T48" fmla="*/ 138 w 1458"/>
              <a:gd name="T49" fmla="*/ 638 h 3336"/>
              <a:gd name="T50" fmla="*/ 139 w 1458"/>
              <a:gd name="T51" fmla="*/ 609 h 3336"/>
              <a:gd name="T52" fmla="*/ 143 w 1458"/>
              <a:gd name="T53" fmla="*/ 582 h 3336"/>
              <a:gd name="T54" fmla="*/ 147 w 1458"/>
              <a:gd name="T55" fmla="*/ 555 h 3336"/>
              <a:gd name="T56" fmla="*/ 151 w 1458"/>
              <a:gd name="T57" fmla="*/ 529 h 3336"/>
              <a:gd name="T58" fmla="*/ 157 w 1458"/>
              <a:gd name="T59" fmla="*/ 504 h 3336"/>
              <a:gd name="T60" fmla="*/ 163 w 1458"/>
              <a:gd name="T61" fmla="*/ 480 h 3336"/>
              <a:gd name="T62" fmla="*/ 171 w 1458"/>
              <a:gd name="T63" fmla="*/ 456 h 3336"/>
              <a:gd name="T64" fmla="*/ 179 w 1458"/>
              <a:gd name="T65" fmla="*/ 433 h 3336"/>
              <a:gd name="T66" fmla="*/ 188 w 1458"/>
              <a:gd name="T67" fmla="*/ 412 h 3336"/>
              <a:gd name="T68" fmla="*/ 198 w 1458"/>
              <a:gd name="T69" fmla="*/ 391 h 3336"/>
              <a:gd name="T70" fmla="*/ 208 w 1458"/>
              <a:gd name="T71" fmla="*/ 371 h 3336"/>
              <a:gd name="T72" fmla="*/ 219 w 1458"/>
              <a:gd name="T73" fmla="*/ 351 h 3336"/>
              <a:gd name="T74" fmla="*/ 231 w 1458"/>
              <a:gd name="T75" fmla="*/ 333 h 3336"/>
              <a:gd name="T76" fmla="*/ 244 w 1458"/>
              <a:gd name="T77" fmla="*/ 316 h 3336"/>
              <a:gd name="T78" fmla="*/ 257 w 1458"/>
              <a:gd name="T79" fmla="*/ 299 h 3336"/>
              <a:gd name="T80" fmla="*/ 271 w 1458"/>
              <a:gd name="T81" fmla="*/ 283 h 3336"/>
              <a:gd name="T82" fmla="*/ 286 w 1458"/>
              <a:gd name="T83" fmla="*/ 268 h 3336"/>
              <a:gd name="T84" fmla="*/ 301 w 1458"/>
              <a:gd name="T85" fmla="*/ 253 h 3336"/>
              <a:gd name="T86" fmla="*/ 318 w 1458"/>
              <a:gd name="T87" fmla="*/ 240 h 3336"/>
              <a:gd name="T88" fmla="*/ 334 w 1458"/>
              <a:gd name="T89" fmla="*/ 227 h 3336"/>
              <a:gd name="T90" fmla="*/ 351 w 1458"/>
              <a:gd name="T91" fmla="*/ 215 h 3336"/>
              <a:gd name="T92" fmla="*/ 368 w 1458"/>
              <a:gd name="T93" fmla="*/ 203 h 3336"/>
              <a:gd name="T94" fmla="*/ 387 w 1458"/>
              <a:gd name="T95" fmla="*/ 194 h 3336"/>
              <a:gd name="T96" fmla="*/ 405 w 1458"/>
              <a:gd name="T97" fmla="*/ 184 h 3336"/>
              <a:gd name="T98" fmla="*/ 424 w 1458"/>
              <a:gd name="T99" fmla="*/ 174 h 3336"/>
              <a:gd name="T100" fmla="*/ 444 w 1458"/>
              <a:gd name="T101" fmla="*/ 167 h 3336"/>
              <a:gd name="T102" fmla="*/ 464 w 1458"/>
              <a:gd name="T103" fmla="*/ 159 h 3336"/>
              <a:gd name="T104" fmla="*/ 485 w 1458"/>
              <a:gd name="T105" fmla="*/ 153 h 3336"/>
              <a:gd name="T106" fmla="*/ 507 w 1458"/>
              <a:gd name="T107" fmla="*/ 146 h 3336"/>
              <a:gd name="T108" fmla="*/ 528 w 1458"/>
              <a:gd name="T109" fmla="*/ 141 h 3336"/>
              <a:gd name="T110" fmla="*/ 550 w 1458"/>
              <a:gd name="T111" fmla="*/ 136 h 3336"/>
              <a:gd name="T112" fmla="*/ 572 w 1458"/>
              <a:gd name="T113" fmla="*/ 133 h 3336"/>
              <a:gd name="T114" fmla="*/ 1458 w 1458"/>
              <a:gd name="T115" fmla="*/ 0 h 3336"/>
              <a:gd name="T116" fmla="*/ 1458 w 1458"/>
              <a:gd name="T117" fmla="*/ 3144 h 33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458" h="3336">
                <a:moveTo>
                  <a:pt x="1458" y="3144"/>
                </a:moveTo>
                <a:lnTo>
                  <a:pt x="190" y="3335"/>
                </a:lnTo>
                <a:lnTo>
                  <a:pt x="180" y="3336"/>
                </a:lnTo>
                <a:lnTo>
                  <a:pt x="170" y="3336"/>
                </a:lnTo>
                <a:lnTo>
                  <a:pt x="160" y="3336"/>
                </a:lnTo>
                <a:lnTo>
                  <a:pt x="150" y="3336"/>
                </a:lnTo>
                <a:lnTo>
                  <a:pt x="140" y="3334"/>
                </a:lnTo>
                <a:lnTo>
                  <a:pt x="131" y="3333"/>
                </a:lnTo>
                <a:lnTo>
                  <a:pt x="122" y="3329"/>
                </a:lnTo>
                <a:lnTo>
                  <a:pt x="112" y="3327"/>
                </a:lnTo>
                <a:lnTo>
                  <a:pt x="104" y="3323"/>
                </a:lnTo>
                <a:lnTo>
                  <a:pt x="96" y="3320"/>
                </a:lnTo>
                <a:lnTo>
                  <a:pt x="87" y="3315"/>
                </a:lnTo>
                <a:lnTo>
                  <a:pt x="80" y="3310"/>
                </a:lnTo>
                <a:lnTo>
                  <a:pt x="65" y="3299"/>
                </a:lnTo>
                <a:lnTo>
                  <a:pt x="52" y="3286"/>
                </a:lnTo>
                <a:lnTo>
                  <a:pt x="39" y="3271"/>
                </a:lnTo>
                <a:lnTo>
                  <a:pt x="28" y="3256"/>
                </a:lnTo>
                <a:lnTo>
                  <a:pt x="19" y="3239"/>
                </a:lnTo>
                <a:lnTo>
                  <a:pt x="12" y="3220"/>
                </a:lnTo>
                <a:lnTo>
                  <a:pt x="6" y="3202"/>
                </a:lnTo>
                <a:lnTo>
                  <a:pt x="2" y="3181"/>
                </a:lnTo>
                <a:lnTo>
                  <a:pt x="0" y="3162"/>
                </a:lnTo>
                <a:lnTo>
                  <a:pt x="0" y="3140"/>
                </a:lnTo>
                <a:lnTo>
                  <a:pt x="138" y="638"/>
                </a:lnTo>
                <a:lnTo>
                  <a:pt x="139" y="609"/>
                </a:lnTo>
                <a:lnTo>
                  <a:pt x="143" y="582"/>
                </a:lnTo>
                <a:lnTo>
                  <a:pt x="147" y="555"/>
                </a:lnTo>
                <a:lnTo>
                  <a:pt x="151" y="529"/>
                </a:lnTo>
                <a:lnTo>
                  <a:pt x="157" y="504"/>
                </a:lnTo>
                <a:lnTo>
                  <a:pt x="163" y="480"/>
                </a:lnTo>
                <a:lnTo>
                  <a:pt x="171" y="456"/>
                </a:lnTo>
                <a:lnTo>
                  <a:pt x="179" y="433"/>
                </a:lnTo>
                <a:lnTo>
                  <a:pt x="188" y="412"/>
                </a:lnTo>
                <a:lnTo>
                  <a:pt x="198" y="391"/>
                </a:lnTo>
                <a:lnTo>
                  <a:pt x="208" y="371"/>
                </a:lnTo>
                <a:lnTo>
                  <a:pt x="219" y="351"/>
                </a:lnTo>
                <a:lnTo>
                  <a:pt x="231" y="333"/>
                </a:lnTo>
                <a:lnTo>
                  <a:pt x="244" y="316"/>
                </a:lnTo>
                <a:lnTo>
                  <a:pt x="257" y="299"/>
                </a:lnTo>
                <a:lnTo>
                  <a:pt x="271" y="283"/>
                </a:lnTo>
                <a:lnTo>
                  <a:pt x="286" y="268"/>
                </a:lnTo>
                <a:lnTo>
                  <a:pt x="301" y="253"/>
                </a:lnTo>
                <a:lnTo>
                  <a:pt x="318" y="240"/>
                </a:lnTo>
                <a:lnTo>
                  <a:pt x="334" y="227"/>
                </a:lnTo>
                <a:lnTo>
                  <a:pt x="351" y="215"/>
                </a:lnTo>
                <a:lnTo>
                  <a:pt x="368" y="203"/>
                </a:lnTo>
                <a:lnTo>
                  <a:pt x="387" y="194"/>
                </a:lnTo>
                <a:lnTo>
                  <a:pt x="405" y="184"/>
                </a:lnTo>
                <a:lnTo>
                  <a:pt x="424" y="174"/>
                </a:lnTo>
                <a:lnTo>
                  <a:pt x="444" y="167"/>
                </a:lnTo>
                <a:lnTo>
                  <a:pt x="464" y="159"/>
                </a:lnTo>
                <a:lnTo>
                  <a:pt x="485" y="153"/>
                </a:lnTo>
                <a:lnTo>
                  <a:pt x="507" y="146"/>
                </a:lnTo>
                <a:lnTo>
                  <a:pt x="528" y="141"/>
                </a:lnTo>
                <a:lnTo>
                  <a:pt x="550" y="136"/>
                </a:lnTo>
                <a:lnTo>
                  <a:pt x="572" y="133"/>
                </a:lnTo>
                <a:lnTo>
                  <a:pt x="1458" y="0"/>
                </a:lnTo>
                <a:lnTo>
                  <a:pt x="1458" y="3144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1" name="AutoShape 21"/>
          <p:cNvSpPr>
            <a:spLocks noChangeAspect="1" noChangeArrowheads="1" noTextEdit="1"/>
          </p:cNvSpPr>
          <p:nvPr userDrawn="1"/>
        </p:nvSpPr>
        <p:spPr bwMode="auto">
          <a:xfrm>
            <a:off x="540015" y="490538"/>
            <a:ext cx="2247768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25" name="Группа 24"/>
          <p:cNvGrpSpPr/>
          <p:nvPr userDrawn="1"/>
        </p:nvGrpSpPr>
        <p:grpSpPr>
          <a:xfrm>
            <a:off x="531416" y="487363"/>
            <a:ext cx="2332038" cy="455612"/>
            <a:chOff x="490538" y="487363"/>
            <a:chExt cx="2152650" cy="455612"/>
          </a:xfrm>
        </p:grpSpPr>
        <p:sp>
          <p:nvSpPr>
            <p:cNvPr id="26" name="Freeform 5"/>
            <p:cNvSpPr>
              <a:spLocks noEditPoints="1"/>
            </p:cNvSpPr>
            <p:nvPr userDrawn="1"/>
          </p:nvSpPr>
          <p:spPr bwMode="auto">
            <a:xfrm>
              <a:off x="1144588" y="590550"/>
              <a:ext cx="1498600" cy="247650"/>
            </a:xfrm>
            <a:custGeom>
              <a:avLst/>
              <a:gdLst>
                <a:gd name="T0" fmla="*/ 2465 w 11327"/>
                <a:gd name="T1" fmla="*/ 803 h 1868"/>
                <a:gd name="T2" fmla="*/ 2667 w 11327"/>
                <a:gd name="T3" fmla="*/ 466 h 1868"/>
                <a:gd name="T4" fmla="*/ 3049 w 11327"/>
                <a:gd name="T5" fmla="*/ 345 h 1868"/>
                <a:gd name="T6" fmla="*/ 3430 w 11327"/>
                <a:gd name="T7" fmla="*/ 466 h 1868"/>
                <a:gd name="T8" fmla="*/ 3632 w 11327"/>
                <a:gd name="T9" fmla="*/ 803 h 1868"/>
                <a:gd name="T10" fmla="*/ 3574 w 11327"/>
                <a:gd name="T11" fmla="*/ 1233 h 1868"/>
                <a:gd name="T12" fmla="*/ 3284 w 11327"/>
                <a:gd name="T13" fmla="*/ 1483 h 1868"/>
                <a:gd name="T14" fmla="*/ 2870 w 11327"/>
                <a:gd name="T15" fmla="*/ 1500 h 1868"/>
                <a:gd name="T16" fmla="*/ 2553 w 11327"/>
                <a:gd name="T17" fmla="*/ 1281 h 1868"/>
                <a:gd name="T18" fmla="*/ 4046 w 11327"/>
                <a:gd name="T19" fmla="*/ 882 h 1868"/>
                <a:gd name="T20" fmla="*/ 3784 w 11327"/>
                <a:gd name="T21" fmla="*/ 289 h 1868"/>
                <a:gd name="T22" fmla="*/ 3199 w 11327"/>
                <a:gd name="T23" fmla="*/ 10 h 1868"/>
                <a:gd name="T24" fmla="*/ 2536 w 11327"/>
                <a:gd name="T25" fmla="*/ 125 h 1868"/>
                <a:gd name="T26" fmla="*/ 2113 w 11327"/>
                <a:gd name="T27" fmla="*/ 595 h 1868"/>
                <a:gd name="T28" fmla="*/ 2113 w 11327"/>
                <a:gd name="T29" fmla="*/ 1273 h 1868"/>
                <a:gd name="T30" fmla="*/ 2536 w 11327"/>
                <a:gd name="T31" fmla="*/ 1743 h 1868"/>
                <a:gd name="T32" fmla="*/ 3199 w 11327"/>
                <a:gd name="T33" fmla="*/ 1858 h 1868"/>
                <a:gd name="T34" fmla="*/ 3784 w 11327"/>
                <a:gd name="T35" fmla="*/ 1579 h 1868"/>
                <a:gd name="T36" fmla="*/ 4046 w 11327"/>
                <a:gd name="T37" fmla="*/ 985 h 1868"/>
                <a:gd name="T38" fmla="*/ 4444 w 11327"/>
                <a:gd name="T39" fmla="*/ 1443 h 1868"/>
                <a:gd name="T40" fmla="*/ 4540 w 11327"/>
                <a:gd name="T41" fmla="*/ 1808 h 1868"/>
                <a:gd name="T42" fmla="*/ 4811 w 11327"/>
                <a:gd name="T43" fmla="*/ 1650 h 1868"/>
                <a:gd name="T44" fmla="*/ 5796 w 11327"/>
                <a:gd name="T45" fmla="*/ 403 h 1868"/>
                <a:gd name="T46" fmla="*/ 7304 w 11327"/>
                <a:gd name="T47" fmla="*/ 1292 h 1868"/>
                <a:gd name="T48" fmla="*/ 7673 w 11327"/>
                <a:gd name="T49" fmla="*/ 1730 h 1868"/>
                <a:gd name="T50" fmla="*/ 8267 w 11327"/>
                <a:gd name="T51" fmla="*/ 1867 h 1868"/>
                <a:gd name="T52" fmla="*/ 8871 w 11327"/>
                <a:gd name="T53" fmla="*/ 1653 h 1868"/>
                <a:gd name="T54" fmla="*/ 9178 w 11327"/>
                <a:gd name="T55" fmla="*/ 1094 h 1868"/>
                <a:gd name="T56" fmla="*/ 9049 w 11327"/>
                <a:gd name="T57" fmla="*/ 414 h 1868"/>
                <a:gd name="T58" fmla="*/ 8552 w 11327"/>
                <a:gd name="T59" fmla="*/ 48 h 1868"/>
                <a:gd name="T60" fmla="*/ 7924 w 11327"/>
                <a:gd name="T61" fmla="*/ 36 h 1868"/>
                <a:gd name="T62" fmla="*/ 7459 w 11327"/>
                <a:gd name="T63" fmla="*/ 313 h 1868"/>
                <a:gd name="T64" fmla="*/ 6585 w 11327"/>
                <a:gd name="T65" fmla="*/ 42 h 1868"/>
                <a:gd name="T66" fmla="*/ 7740 w 11327"/>
                <a:gd name="T67" fmla="*/ 563 h 1868"/>
                <a:gd name="T68" fmla="*/ 8053 w 11327"/>
                <a:gd name="T69" fmla="*/ 361 h 1868"/>
                <a:gd name="T70" fmla="*/ 8492 w 11327"/>
                <a:gd name="T71" fmla="*/ 396 h 1868"/>
                <a:gd name="T72" fmla="*/ 8744 w 11327"/>
                <a:gd name="T73" fmla="*/ 660 h 1868"/>
                <a:gd name="T74" fmla="*/ 8775 w 11327"/>
                <a:gd name="T75" fmla="*/ 1095 h 1868"/>
                <a:gd name="T76" fmla="*/ 8585 w 11327"/>
                <a:gd name="T77" fmla="*/ 1418 h 1868"/>
                <a:gd name="T78" fmla="*/ 8182 w 11327"/>
                <a:gd name="T79" fmla="*/ 1522 h 1868"/>
                <a:gd name="T80" fmla="*/ 7807 w 11327"/>
                <a:gd name="T81" fmla="*/ 1385 h 1868"/>
                <a:gd name="T82" fmla="*/ 7649 w 11327"/>
                <a:gd name="T83" fmla="*/ 1033 h 1868"/>
                <a:gd name="T84" fmla="*/ 11121 w 11327"/>
                <a:gd name="T85" fmla="*/ 228 h 1868"/>
                <a:gd name="T86" fmla="*/ 10716 w 11327"/>
                <a:gd name="T87" fmla="*/ 30 h 1868"/>
                <a:gd name="T88" fmla="*/ 10126 w 11327"/>
                <a:gd name="T89" fmla="*/ 37 h 1868"/>
                <a:gd name="T90" fmla="*/ 9598 w 11327"/>
                <a:gd name="T91" fmla="*/ 385 h 1868"/>
                <a:gd name="T92" fmla="*/ 9435 w 11327"/>
                <a:gd name="T93" fmla="*/ 1039 h 1868"/>
                <a:gd name="T94" fmla="*/ 9714 w 11327"/>
                <a:gd name="T95" fmla="*/ 1617 h 1868"/>
                <a:gd name="T96" fmla="*/ 10320 w 11327"/>
                <a:gd name="T97" fmla="*/ 1863 h 1868"/>
                <a:gd name="T98" fmla="*/ 10845 w 11327"/>
                <a:gd name="T99" fmla="*/ 1799 h 1868"/>
                <a:gd name="T100" fmla="*/ 11211 w 11327"/>
                <a:gd name="T101" fmla="*/ 1551 h 1868"/>
                <a:gd name="T102" fmla="*/ 10919 w 11327"/>
                <a:gd name="T103" fmla="*/ 1325 h 1868"/>
                <a:gd name="T104" fmla="*/ 10676 w 11327"/>
                <a:gd name="T105" fmla="*/ 1473 h 1868"/>
                <a:gd name="T106" fmla="*/ 10324 w 11327"/>
                <a:gd name="T107" fmla="*/ 1504 h 1868"/>
                <a:gd name="T108" fmla="*/ 9975 w 11327"/>
                <a:gd name="T109" fmla="*/ 1332 h 1868"/>
                <a:gd name="T110" fmla="*/ 9831 w 11327"/>
                <a:gd name="T111" fmla="*/ 966 h 1868"/>
                <a:gd name="T112" fmla="*/ 9938 w 11327"/>
                <a:gd name="T113" fmla="*/ 575 h 1868"/>
                <a:gd name="T114" fmla="*/ 10261 w 11327"/>
                <a:gd name="T115" fmla="*/ 373 h 1868"/>
                <a:gd name="T116" fmla="*/ 10634 w 11327"/>
                <a:gd name="T117" fmla="*/ 382 h 1868"/>
                <a:gd name="T118" fmla="*/ 10890 w 11327"/>
                <a:gd name="T119" fmla="*/ 515 h 1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27" h="1868">
                  <a:moveTo>
                    <a:pt x="0" y="42"/>
                  </a:moveTo>
                  <a:lnTo>
                    <a:pt x="0" y="1822"/>
                  </a:lnTo>
                  <a:lnTo>
                    <a:pt x="399" y="1822"/>
                  </a:lnTo>
                  <a:lnTo>
                    <a:pt x="399" y="400"/>
                  </a:lnTo>
                  <a:lnTo>
                    <a:pt x="1352" y="400"/>
                  </a:lnTo>
                  <a:lnTo>
                    <a:pt x="1352" y="1822"/>
                  </a:lnTo>
                  <a:lnTo>
                    <a:pt x="1755" y="1822"/>
                  </a:lnTo>
                  <a:lnTo>
                    <a:pt x="1755" y="42"/>
                  </a:lnTo>
                  <a:lnTo>
                    <a:pt x="0" y="42"/>
                  </a:lnTo>
                  <a:close/>
                  <a:moveTo>
                    <a:pt x="2454" y="933"/>
                  </a:moveTo>
                  <a:lnTo>
                    <a:pt x="2454" y="900"/>
                  </a:lnTo>
                  <a:lnTo>
                    <a:pt x="2457" y="866"/>
                  </a:lnTo>
                  <a:lnTo>
                    <a:pt x="2460" y="835"/>
                  </a:lnTo>
                  <a:lnTo>
                    <a:pt x="2465" y="803"/>
                  </a:lnTo>
                  <a:lnTo>
                    <a:pt x="2472" y="773"/>
                  </a:lnTo>
                  <a:lnTo>
                    <a:pt x="2480" y="743"/>
                  </a:lnTo>
                  <a:lnTo>
                    <a:pt x="2489" y="715"/>
                  </a:lnTo>
                  <a:lnTo>
                    <a:pt x="2499" y="686"/>
                  </a:lnTo>
                  <a:lnTo>
                    <a:pt x="2511" y="660"/>
                  </a:lnTo>
                  <a:lnTo>
                    <a:pt x="2524" y="634"/>
                  </a:lnTo>
                  <a:lnTo>
                    <a:pt x="2538" y="610"/>
                  </a:lnTo>
                  <a:lnTo>
                    <a:pt x="2553" y="586"/>
                  </a:lnTo>
                  <a:lnTo>
                    <a:pt x="2570" y="563"/>
                  </a:lnTo>
                  <a:lnTo>
                    <a:pt x="2588" y="542"/>
                  </a:lnTo>
                  <a:lnTo>
                    <a:pt x="2606" y="521"/>
                  </a:lnTo>
                  <a:lnTo>
                    <a:pt x="2626" y="501"/>
                  </a:lnTo>
                  <a:lnTo>
                    <a:pt x="2646" y="483"/>
                  </a:lnTo>
                  <a:lnTo>
                    <a:pt x="2667" y="466"/>
                  </a:lnTo>
                  <a:lnTo>
                    <a:pt x="2691" y="449"/>
                  </a:lnTo>
                  <a:lnTo>
                    <a:pt x="2713" y="434"/>
                  </a:lnTo>
                  <a:lnTo>
                    <a:pt x="2737" y="420"/>
                  </a:lnTo>
                  <a:lnTo>
                    <a:pt x="2763" y="408"/>
                  </a:lnTo>
                  <a:lnTo>
                    <a:pt x="2788" y="396"/>
                  </a:lnTo>
                  <a:lnTo>
                    <a:pt x="2815" y="385"/>
                  </a:lnTo>
                  <a:lnTo>
                    <a:pt x="2842" y="375"/>
                  </a:lnTo>
                  <a:lnTo>
                    <a:pt x="2870" y="367"/>
                  </a:lnTo>
                  <a:lnTo>
                    <a:pt x="2898" y="361"/>
                  </a:lnTo>
                  <a:lnTo>
                    <a:pt x="2928" y="355"/>
                  </a:lnTo>
                  <a:lnTo>
                    <a:pt x="2957" y="351"/>
                  </a:lnTo>
                  <a:lnTo>
                    <a:pt x="2988" y="347"/>
                  </a:lnTo>
                  <a:lnTo>
                    <a:pt x="3018" y="345"/>
                  </a:lnTo>
                  <a:lnTo>
                    <a:pt x="3049" y="345"/>
                  </a:lnTo>
                  <a:lnTo>
                    <a:pt x="3080" y="345"/>
                  </a:lnTo>
                  <a:lnTo>
                    <a:pt x="3111" y="347"/>
                  </a:lnTo>
                  <a:lnTo>
                    <a:pt x="3141" y="351"/>
                  </a:lnTo>
                  <a:lnTo>
                    <a:pt x="3171" y="355"/>
                  </a:lnTo>
                  <a:lnTo>
                    <a:pt x="3200" y="361"/>
                  </a:lnTo>
                  <a:lnTo>
                    <a:pt x="3229" y="367"/>
                  </a:lnTo>
                  <a:lnTo>
                    <a:pt x="3256" y="375"/>
                  </a:lnTo>
                  <a:lnTo>
                    <a:pt x="3284" y="385"/>
                  </a:lnTo>
                  <a:lnTo>
                    <a:pt x="3310" y="396"/>
                  </a:lnTo>
                  <a:lnTo>
                    <a:pt x="3335" y="408"/>
                  </a:lnTo>
                  <a:lnTo>
                    <a:pt x="3361" y="420"/>
                  </a:lnTo>
                  <a:lnTo>
                    <a:pt x="3384" y="434"/>
                  </a:lnTo>
                  <a:lnTo>
                    <a:pt x="3408" y="449"/>
                  </a:lnTo>
                  <a:lnTo>
                    <a:pt x="3430" y="466"/>
                  </a:lnTo>
                  <a:lnTo>
                    <a:pt x="3452" y="483"/>
                  </a:lnTo>
                  <a:lnTo>
                    <a:pt x="3473" y="501"/>
                  </a:lnTo>
                  <a:lnTo>
                    <a:pt x="3492" y="521"/>
                  </a:lnTo>
                  <a:lnTo>
                    <a:pt x="3510" y="542"/>
                  </a:lnTo>
                  <a:lnTo>
                    <a:pt x="3528" y="563"/>
                  </a:lnTo>
                  <a:lnTo>
                    <a:pt x="3545" y="586"/>
                  </a:lnTo>
                  <a:lnTo>
                    <a:pt x="3560" y="610"/>
                  </a:lnTo>
                  <a:lnTo>
                    <a:pt x="3574" y="634"/>
                  </a:lnTo>
                  <a:lnTo>
                    <a:pt x="3587" y="660"/>
                  </a:lnTo>
                  <a:lnTo>
                    <a:pt x="3599" y="686"/>
                  </a:lnTo>
                  <a:lnTo>
                    <a:pt x="3609" y="715"/>
                  </a:lnTo>
                  <a:lnTo>
                    <a:pt x="3618" y="743"/>
                  </a:lnTo>
                  <a:lnTo>
                    <a:pt x="3626" y="773"/>
                  </a:lnTo>
                  <a:lnTo>
                    <a:pt x="3632" y="803"/>
                  </a:lnTo>
                  <a:lnTo>
                    <a:pt x="3637" y="835"/>
                  </a:lnTo>
                  <a:lnTo>
                    <a:pt x="3642" y="866"/>
                  </a:lnTo>
                  <a:lnTo>
                    <a:pt x="3644" y="900"/>
                  </a:lnTo>
                  <a:lnTo>
                    <a:pt x="3645" y="933"/>
                  </a:lnTo>
                  <a:lnTo>
                    <a:pt x="3644" y="968"/>
                  </a:lnTo>
                  <a:lnTo>
                    <a:pt x="3642" y="1001"/>
                  </a:lnTo>
                  <a:lnTo>
                    <a:pt x="3637" y="1033"/>
                  </a:lnTo>
                  <a:lnTo>
                    <a:pt x="3632" y="1065"/>
                  </a:lnTo>
                  <a:lnTo>
                    <a:pt x="3626" y="1095"/>
                  </a:lnTo>
                  <a:lnTo>
                    <a:pt x="3618" y="1125"/>
                  </a:lnTo>
                  <a:lnTo>
                    <a:pt x="3609" y="1153"/>
                  </a:lnTo>
                  <a:lnTo>
                    <a:pt x="3599" y="1181"/>
                  </a:lnTo>
                  <a:lnTo>
                    <a:pt x="3587" y="1207"/>
                  </a:lnTo>
                  <a:lnTo>
                    <a:pt x="3574" y="1233"/>
                  </a:lnTo>
                  <a:lnTo>
                    <a:pt x="3560" y="1258"/>
                  </a:lnTo>
                  <a:lnTo>
                    <a:pt x="3545" y="1281"/>
                  </a:lnTo>
                  <a:lnTo>
                    <a:pt x="3528" y="1305"/>
                  </a:lnTo>
                  <a:lnTo>
                    <a:pt x="3510" y="1326"/>
                  </a:lnTo>
                  <a:lnTo>
                    <a:pt x="3492" y="1346"/>
                  </a:lnTo>
                  <a:lnTo>
                    <a:pt x="3473" y="1366"/>
                  </a:lnTo>
                  <a:lnTo>
                    <a:pt x="3452" y="1385"/>
                  </a:lnTo>
                  <a:lnTo>
                    <a:pt x="3430" y="1402"/>
                  </a:lnTo>
                  <a:lnTo>
                    <a:pt x="3408" y="1418"/>
                  </a:lnTo>
                  <a:lnTo>
                    <a:pt x="3384" y="1434"/>
                  </a:lnTo>
                  <a:lnTo>
                    <a:pt x="3361" y="1447"/>
                  </a:lnTo>
                  <a:lnTo>
                    <a:pt x="3335" y="1460"/>
                  </a:lnTo>
                  <a:lnTo>
                    <a:pt x="3310" y="1472"/>
                  </a:lnTo>
                  <a:lnTo>
                    <a:pt x="3284" y="1483"/>
                  </a:lnTo>
                  <a:lnTo>
                    <a:pt x="3256" y="1492"/>
                  </a:lnTo>
                  <a:lnTo>
                    <a:pt x="3229" y="1500"/>
                  </a:lnTo>
                  <a:lnTo>
                    <a:pt x="3200" y="1507"/>
                  </a:lnTo>
                  <a:lnTo>
                    <a:pt x="3171" y="1513"/>
                  </a:lnTo>
                  <a:lnTo>
                    <a:pt x="3141" y="1517"/>
                  </a:lnTo>
                  <a:lnTo>
                    <a:pt x="3111" y="1520"/>
                  </a:lnTo>
                  <a:lnTo>
                    <a:pt x="3080" y="1522"/>
                  </a:lnTo>
                  <a:lnTo>
                    <a:pt x="3049" y="1523"/>
                  </a:lnTo>
                  <a:lnTo>
                    <a:pt x="3018" y="1522"/>
                  </a:lnTo>
                  <a:lnTo>
                    <a:pt x="2988" y="1520"/>
                  </a:lnTo>
                  <a:lnTo>
                    <a:pt x="2957" y="1517"/>
                  </a:lnTo>
                  <a:lnTo>
                    <a:pt x="2928" y="1513"/>
                  </a:lnTo>
                  <a:lnTo>
                    <a:pt x="2898" y="1507"/>
                  </a:lnTo>
                  <a:lnTo>
                    <a:pt x="2870" y="1500"/>
                  </a:lnTo>
                  <a:lnTo>
                    <a:pt x="2842" y="1492"/>
                  </a:lnTo>
                  <a:lnTo>
                    <a:pt x="2815" y="1483"/>
                  </a:lnTo>
                  <a:lnTo>
                    <a:pt x="2788" y="1472"/>
                  </a:lnTo>
                  <a:lnTo>
                    <a:pt x="2763" y="1460"/>
                  </a:lnTo>
                  <a:lnTo>
                    <a:pt x="2737" y="1447"/>
                  </a:lnTo>
                  <a:lnTo>
                    <a:pt x="2713" y="1434"/>
                  </a:lnTo>
                  <a:lnTo>
                    <a:pt x="2691" y="1418"/>
                  </a:lnTo>
                  <a:lnTo>
                    <a:pt x="2667" y="1402"/>
                  </a:lnTo>
                  <a:lnTo>
                    <a:pt x="2646" y="1385"/>
                  </a:lnTo>
                  <a:lnTo>
                    <a:pt x="2626" y="1366"/>
                  </a:lnTo>
                  <a:lnTo>
                    <a:pt x="2606" y="1346"/>
                  </a:lnTo>
                  <a:lnTo>
                    <a:pt x="2588" y="1326"/>
                  </a:lnTo>
                  <a:lnTo>
                    <a:pt x="2570" y="1305"/>
                  </a:lnTo>
                  <a:lnTo>
                    <a:pt x="2553" y="1281"/>
                  </a:lnTo>
                  <a:lnTo>
                    <a:pt x="2538" y="1258"/>
                  </a:lnTo>
                  <a:lnTo>
                    <a:pt x="2524" y="1233"/>
                  </a:lnTo>
                  <a:lnTo>
                    <a:pt x="2511" y="1207"/>
                  </a:lnTo>
                  <a:lnTo>
                    <a:pt x="2499" y="1181"/>
                  </a:lnTo>
                  <a:lnTo>
                    <a:pt x="2489" y="1153"/>
                  </a:lnTo>
                  <a:lnTo>
                    <a:pt x="2480" y="1125"/>
                  </a:lnTo>
                  <a:lnTo>
                    <a:pt x="2472" y="1095"/>
                  </a:lnTo>
                  <a:lnTo>
                    <a:pt x="2465" y="1065"/>
                  </a:lnTo>
                  <a:lnTo>
                    <a:pt x="2460" y="1033"/>
                  </a:lnTo>
                  <a:lnTo>
                    <a:pt x="2457" y="1001"/>
                  </a:lnTo>
                  <a:lnTo>
                    <a:pt x="2454" y="968"/>
                  </a:lnTo>
                  <a:lnTo>
                    <a:pt x="2454" y="933"/>
                  </a:lnTo>
                  <a:close/>
                  <a:moveTo>
                    <a:pt x="4047" y="933"/>
                  </a:moveTo>
                  <a:lnTo>
                    <a:pt x="4046" y="882"/>
                  </a:lnTo>
                  <a:lnTo>
                    <a:pt x="4042" y="831"/>
                  </a:lnTo>
                  <a:lnTo>
                    <a:pt x="4035" y="781"/>
                  </a:lnTo>
                  <a:lnTo>
                    <a:pt x="4026" y="733"/>
                  </a:lnTo>
                  <a:lnTo>
                    <a:pt x="4015" y="685"/>
                  </a:lnTo>
                  <a:lnTo>
                    <a:pt x="4002" y="640"/>
                  </a:lnTo>
                  <a:lnTo>
                    <a:pt x="3985" y="595"/>
                  </a:lnTo>
                  <a:lnTo>
                    <a:pt x="3967" y="551"/>
                  </a:lnTo>
                  <a:lnTo>
                    <a:pt x="3947" y="509"/>
                  </a:lnTo>
                  <a:lnTo>
                    <a:pt x="3924" y="469"/>
                  </a:lnTo>
                  <a:lnTo>
                    <a:pt x="3900" y="430"/>
                  </a:lnTo>
                  <a:lnTo>
                    <a:pt x="3874" y="392"/>
                  </a:lnTo>
                  <a:lnTo>
                    <a:pt x="3846" y="356"/>
                  </a:lnTo>
                  <a:lnTo>
                    <a:pt x="3815" y="321"/>
                  </a:lnTo>
                  <a:lnTo>
                    <a:pt x="3784" y="289"/>
                  </a:lnTo>
                  <a:lnTo>
                    <a:pt x="3751" y="257"/>
                  </a:lnTo>
                  <a:lnTo>
                    <a:pt x="3716" y="227"/>
                  </a:lnTo>
                  <a:lnTo>
                    <a:pt x="3679" y="199"/>
                  </a:lnTo>
                  <a:lnTo>
                    <a:pt x="3642" y="173"/>
                  </a:lnTo>
                  <a:lnTo>
                    <a:pt x="3603" y="147"/>
                  </a:lnTo>
                  <a:lnTo>
                    <a:pt x="3562" y="125"/>
                  </a:lnTo>
                  <a:lnTo>
                    <a:pt x="3521" y="104"/>
                  </a:lnTo>
                  <a:lnTo>
                    <a:pt x="3477" y="84"/>
                  </a:lnTo>
                  <a:lnTo>
                    <a:pt x="3433" y="67"/>
                  </a:lnTo>
                  <a:lnTo>
                    <a:pt x="3388" y="52"/>
                  </a:lnTo>
                  <a:lnTo>
                    <a:pt x="3342" y="39"/>
                  </a:lnTo>
                  <a:lnTo>
                    <a:pt x="3295" y="26"/>
                  </a:lnTo>
                  <a:lnTo>
                    <a:pt x="3247" y="17"/>
                  </a:lnTo>
                  <a:lnTo>
                    <a:pt x="3199" y="10"/>
                  </a:lnTo>
                  <a:lnTo>
                    <a:pt x="3149" y="4"/>
                  </a:lnTo>
                  <a:lnTo>
                    <a:pt x="3099" y="1"/>
                  </a:lnTo>
                  <a:lnTo>
                    <a:pt x="3049" y="0"/>
                  </a:lnTo>
                  <a:lnTo>
                    <a:pt x="2999" y="1"/>
                  </a:lnTo>
                  <a:lnTo>
                    <a:pt x="2949" y="4"/>
                  </a:lnTo>
                  <a:lnTo>
                    <a:pt x="2899" y="10"/>
                  </a:lnTo>
                  <a:lnTo>
                    <a:pt x="2851" y="17"/>
                  </a:lnTo>
                  <a:lnTo>
                    <a:pt x="2804" y="26"/>
                  </a:lnTo>
                  <a:lnTo>
                    <a:pt x="2756" y="39"/>
                  </a:lnTo>
                  <a:lnTo>
                    <a:pt x="2710" y="52"/>
                  </a:lnTo>
                  <a:lnTo>
                    <a:pt x="2665" y="67"/>
                  </a:lnTo>
                  <a:lnTo>
                    <a:pt x="2620" y="84"/>
                  </a:lnTo>
                  <a:lnTo>
                    <a:pt x="2578" y="104"/>
                  </a:lnTo>
                  <a:lnTo>
                    <a:pt x="2536" y="125"/>
                  </a:lnTo>
                  <a:lnTo>
                    <a:pt x="2495" y="147"/>
                  </a:lnTo>
                  <a:lnTo>
                    <a:pt x="2457" y="173"/>
                  </a:lnTo>
                  <a:lnTo>
                    <a:pt x="2418" y="199"/>
                  </a:lnTo>
                  <a:lnTo>
                    <a:pt x="2382" y="227"/>
                  </a:lnTo>
                  <a:lnTo>
                    <a:pt x="2347" y="257"/>
                  </a:lnTo>
                  <a:lnTo>
                    <a:pt x="2313" y="289"/>
                  </a:lnTo>
                  <a:lnTo>
                    <a:pt x="2282" y="321"/>
                  </a:lnTo>
                  <a:lnTo>
                    <a:pt x="2252" y="356"/>
                  </a:lnTo>
                  <a:lnTo>
                    <a:pt x="2224" y="392"/>
                  </a:lnTo>
                  <a:lnTo>
                    <a:pt x="2197" y="430"/>
                  </a:lnTo>
                  <a:lnTo>
                    <a:pt x="2173" y="469"/>
                  </a:lnTo>
                  <a:lnTo>
                    <a:pt x="2152" y="509"/>
                  </a:lnTo>
                  <a:lnTo>
                    <a:pt x="2131" y="551"/>
                  </a:lnTo>
                  <a:lnTo>
                    <a:pt x="2113" y="595"/>
                  </a:lnTo>
                  <a:lnTo>
                    <a:pt x="2097" y="640"/>
                  </a:lnTo>
                  <a:lnTo>
                    <a:pt x="2083" y="685"/>
                  </a:lnTo>
                  <a:lnTo>
                    <a:pt x="2071" y="733"/>
                  </a:lnTo>
                  <a:lnTo>
                    <a:pt x="2063" y="781"/>
                  </a:lnTo>
                  <a:lnTo>
                    <a:pt x="2056" y="831"/>
                  </a:lnTo>
                  <a:lnTo>
                    <a:pt x="2052" y="882"/>
                  </a:lnTo>
                  <a:lnTo>
                    <a:pt x="2051" y="933"/>
                  </a:lnTo>
                  <a:lnTo>
                    <a:pt x="2052" y="985"/>
                  </a:lnTo>
                  <a:lnTo>
                    <a:pt x="2056" y="1036"/>
                  </a:lnTo>
                  <a:lnTo>
                    <a:pt x="2063" y="1086"/>
                  </a:lnTo>
                  <a:lnTo>
                    <a:pt x="2071" y="1135"/>
                  </a:lnTo>
                  <a:lnTo>
                    <a:pt x="2083" y="1182"/>
                  </a:lnTo>
                  <a:lnTo>
                    <a:pt x="2097" y="1228"/>
                  </a:lnTo>
                  <a:lnTo>
                    <a:pt x="2113" y="1273"/>
                  </a:lnTo>
                  <a:lnTo>
                    <a:pt x="2131" y="1316"/>
                  </a:lnTo>
                  <a:lnTo>
                    <a:pt x="2152" y="1357"/>
                  </a:lnTo>
                  <a:lnTo>
                    <a:pt x="2173" y="1398"/>
                  </a:lnTo>
                  <a:lnTo>
                    <a:pt x="2197" y="1438"/>
                  </a:lnTo>
                  <a:lnTo>
                    <a:pt x="2224" y="1475"/>
                  </a:lnTo>
                  <a:lnTo>
                    <a:pt x="2252" y="1512"/>
                  </a:lnTo>
                  <a:lnTo>
                    <a:pt x="2282" y="1547"/>
                  </a:lnTo>
                  <a:lnTo>
                    <a:pt x="2313" y="1579"/>
                  </a:lnTo>
                  <a:lnTo>
                    <a:pt x="2347" y="1611"/>
                  </a:lnTo>
                  <a:lnTo>
                    <a:pt x="2382" y="1640"/>
                  </a:lnTo>
                  <a:lnTo>
                    <a:pt x="2418" y="1669"/>
                  </a:lnTo>
                  <a:lnTo>
                    <a:pt x="2457" y="1695"/>
                  </a:lnTo>
                  <a:lnTo>
                    <a:pt x="2495" y="1719"/>
                  </a:lnTo>
                  <a:lnTo>
                    <a:pt x="2536" y="1743"/>
                  </a:lnTo>
                  <a:lnTo>
                    <a:pt x="2578" y="1764"/>
                  </a:lnTo>
                  <a:lnTo>
                    <a:pt x="2620" y="1782"/>
                  </a:lnTo>
                  <a:lnTo>
                    <a:pt x="2665" y="1801"/>
                  </a:lnTo>
                  <a:lnTo>
                    <a:pt x="2710" y="1816"/>
                  </a:lnTo>
                  <a:lnTo>
                    <a:pt x="2756" y="1829"/>
                  </a:lnTo>
                  <a:lnTo>
                    <a:pt x="2804" y="1840"/>
                  </a:lnTo>
                  <a:lnTo>
                    <a:pt x="2851" y="1851"/>
                  </a:lnTo>
                  <a:lnTo>
                    <a:pt x="2899" y="1858"/>
                  </a:lnTo>
                  <a:lnTo>
                    <a:pt x="2949" y="1863"/>
                  </a:lnTo>
                  <a:lnTo>
                    <a:pt x="2999" y="1866"/>
                  </a:lnTo>
                  <a:lnTo>
                    <a:pt x="3049" y="1868"/>
                  </a:lnTo>
                  <a:lnTo>
                    <a:pt x="3099" y="1866"/>
                  </a:lnTo>
                  <a:lnTo>
                    <a:pt x="3149" y="1863"/>
                  </a:lnTo>
                  <a:lnTo>
                    <a:pt x="3199" y="1858"/>
                  </a:lnTo>
                  <a:lnTo>
                    <a:pt x="3247" y="1851"/>
                  </a:lnTo>
                  <a:lnTo>
                    <a:pt x="3295" y="1840"/>
                  </a:lnTo>
                  <a:lnTo>
                    <a:pt x="3342" y="1829"/>
                  </a:lnTo>
                  <a:lnTo>
                    <a:pt x="3388" y="1816"/>
                  </a:lnTo>
                  <a:lnTo>
                    <a:pt x="3433" y="1801"/>
                  </a:lnTo>
                  <a:lnTo>
                    <a:pt x="3477" y="1782"/>
                  </a:lnTo>
                  <a:lnTo>
                    <a:pt x="3521" y="1764"/>
                  </a:lnTo>
                  <a:lnTo>
                    <a:pt x="3562" y="1743"/>
                  </a:lnTo>
                  <a:lnTo>
                    <a:pt x="3603" y="1719"/>
                  </a:lnTo>
                  <a:lnTo>
                    <a:pt x="3642" y="1695"/>
                  </a:lnTo>
                  <a:lnTo>
                    <a:pt x="3679" y="1669"/>
                  </a:lnTo>
                  <a:lnTo>
                    <a:pt x="3716" y="1640"/>
                  </a:lnTo>
                  <a:lnTo>
                    <a:pt x="3751" y="1611"/>
                  </a:lnTo>
                  <a:lnTo>
                    <a:pt x="3784" y="1579"/>
                  </a:lnTo>
                  <a:lnTo>
                    <a:pt x="3815" y="1547"/>
                  </a:lnTo>
                  <a:lnTo>
                    <a:pt x="3846" y="1512"/>
                  </a:lnTo>
                  <a:lnTo>
                    <a:pt x="3874" y="1475"/>
                  </a:lnTo>
                  <a:lnTo>
                    <a:pt x="3900" y="1438"/>
                  </a:lnTo>
                  <a:lnTo>
                    <a:pt x="3924" y="1398"/>
                  </a:lnTo>
                  <a:lnTo>
                    <a:pt x="3947" y="1357"/>
                  </a:lnTo>
                  <a:lnTo>
                    <a:pt x="3967" y="1316"/>
                  </a:lnTo>
                  <a:lnTo>
                    <a:pt x="3985" y="1273"/>
                  </a:lnTo>
                  <a:lnTo>
                    <a:pt x="4002" y="1228"/>
                  </a:lnTo>
                  <a:lnTo>
                    <a:pt x="4015" y="1182"/>
                  </a:lnTo>
                  <a:lnTo>
                    <a:pt x="4026" y="1135"/>
                  </a:lnTo>
                  <a:lnTo>
                    <a:pt x="4035" y="1086"/>
                  </a:lnTo>
                  <a:lnTo>
                    <a:pt x="4042" y="1036"/>
                  </a:lnTo>
                  <a:lnTo>
                    <a:pt x="4046" y="985"/>
                  </a:lnTo>
                  <a:lnTo>
                    <a:pt x="4047" y="933"/>
                  </a:lnTo>
                  <a:close/>
                  <a:moveTo>
                    <a:pt x="4779" y="42"/>
                  </a:moveTo>
                  <a:lnTo>
                    <a:pt x="4540" y="1317"/>
                  </a:lnTo>
                  <a:lnTo>
                    <a:pt x="4535" y="1334"/>
                  </a:lnTo>
                  <a:lnTo>
                    <a:pt x="4530" y="1350"/>
                  </a:lnTo>
                  <a:lnTo>
                    <a:pt x="4524" y="1366"/>
                  </a:lnTo>
                  <a:lnTo>
                    <a:pt x="4517" y="1379"/>
                  </a:lnTo>
                  <a:lnTo>
                    <a:pt x="4510" y="1392"/>
                  </a:lnTo>
                  <a:lnTo>
                    <a:pt x="4501" y="1403"/>
                  </a:lnTo>
                  <a:lnTo>
                    <a:pt x="4491" y="1413"/>
                  </a:lnTo>
                  <a:lnTo>
                    <a:pt x="4481" y="1423"/>
                  </a:lnTo>
                  <a:lnTo>
                    <a:pt x="4469" y="1431"/>
                  </a:lnTo>
                  <a:lnTo>
                    <a:pt x="4457" y="1437"/>
                  </a:lnTo>
                  <a:lnTo>
                    <a:pt x="4444" y="1443"/>
                  </a:lnTo>
                  <a:lnTo>
                    <a:pt x="4430" y="1447"/>
                  </a:lnTo>
                  <a:lnTo>
                    <a:pt x="4415" y="1451"/>
                  </a:lnTo>
                  <a:lnTo>
                    <a:pt x="4399" y="1453"/>
                  </a:lnTo>
                  <a:lnTo>
                    <a:pt x="4383" y="1455"/>
                  </a:lnTo>
                  <a:lnTo>
                    <a:pt x="4366" y="1455"/>
                  </a:lnTo>
                  <a:lnTo>
                    <a:pt x="4172" y="1455"/>
                  </a:lnTo>
                  <a:lnTo>
                    <a:pt x="4172" y="1822"/>
                  </a:lnTo>
                  <a:lnTo>
                    <a:pt x="4385" y="1822"/>
                  </a:lnTo>
                  <a:lnTo>
                    <a:pt x="4412" y="1822"/>
                  </a:lnTo>
                  <a:lnTo>
                    <a:pt x="4439" y="1821"/>
                  </a:lnTo>
                  <a:lnTo>
                    <a:pt x="4465" y="1819"/>
                  </a:lnTo>
                  <a:lnTo>
                    <a:pt x="4491" y="1816"/>
                  </a:lnTo>
                  <a:lnTo>
                    <a:pt x="4515" y="1812"/>
                  </a:lnTo>
                  <a:lnTo>
                    <a:pt x="4540" y="1808"/>
                  </a:lnTo>
                  <a:lnTo>
                    <a:pt x="4563" y="1802"/>
                  </a:lnTo>
                  <a:lnTo>
                    <a:pt x="4586" y="1796"/>
                  </a:lnTo>
                  <a:lnTo>
                    <a:pt x="4609" y="1789"/>
                  </a:lnTo>
                  <a:lnTo>
                    <a:pt x="4630" y="1780"/>
                  </a:lnTo>
                  <a:lnTo>
                    <a:pt x="4651" y="1771"/>
                  </a:lnTo>
                  <a:lnTo>
                    <a:pt x="4672" y="1762"/>
                  </a:lnTo>
                  <a:lnTo>
                    <a:pt x="4692" y="1751"/>
                  </a:lnTo>
                  <a:lnTo>
                    <a:pt x="4710" y="1740"/>
                  </a:lnTo>
                  <a:lnTo>
                    <a:pt x="4730" y="1728"/>
                  </a:lnTo>
                  <a:lnTo>
                    <a:pt x="4747" y="1713"/>
                  </a:lnTo>
                  <a:lnTo>
                    <a:pt x="4764" y="1699"/>
                  </a:lnTo>
                  <a:lnTo>
                    <a:pt x="4781" y="1684"/>
                  </a:lnTo>
                  <a:lnTo>
                    <a:pt x="4796" y="1668"/>
                  </a:lnTo>
                  <a:lnTo>
                    <a:pt x="4811" y="1650"/>
                  </a:lnTo>
                  <a:lnTo>
                    <a:pt x="4825" y="1633"/>
                  </a:lnTo>
                  <a:lnTo>
                    <a:pt x="4839" y="1614"/>
                  </a:lnTo>
                  <a:lnTo>
                    <a:pt x="4852" y="1593"/>
                  </a:lnTo>
                  <a:lnTo>
                    <a:pt x="4864" y="1572"/>
                  </a:lnTo>
                  <a:lnTo>
                    <a:pt x="4875" y="1551"/>
                  </a:lnTo>
                  <a:lnTo>
                    <a:pt x="4885" y="1527"/>
                  </a:lnTo>
                  <a:lnTo>
                    <a:pt x="4895" y="1504"/>
                  </a:lnTo>
                  <a:lnTo>
                    <a:pt x="4905" y="1478"/>
                  </a:lnTo>
                  <a:lnTo>
                    <a:pt x="4913" y="1452"/>
                  </a:lnTo>
                  <a:lnTo>
                    <a:pt x="4920" y="1426"/>
                  </a:lnTo>
                  <a:lnTo>
                    <a:pt x="4927" y="1397"/>
                  </a:lnTo>
                  <a:lnTo>
                    <a:pt x="4932" y="1369"/>
                  </a:lnTo>
                  <a:lnTo>
                    <a:pt x="5113" y="403"/>
                  </a:lnTo>
                  <a:lnTo>
                    <a:pt x="5796" y="403"/>
                  </a:lnTo>
                  <a:lnTo>
                    <a:pt x="5796" y="1822"/>
                  </a:lnTo>
                  <a:lnTo>
                    <a:pt x="6198" y="1822"/>
                  </a:lnTo>
                  <a:lnTo>
                    <a:pt x="6198" y="42"/>
                  </a:lnTo>
                  <a:lnTo>
                    <a:pt x="4779" y="42"/>
                  </a:lnTo>
                  <a:close/>
                  <a:moveTo>
                    <a:pt x="6585" y="42"/>
                  </a:moveTo>
                  <a:lnTo>
                    <a:pt x="6585" y="1822"/>
                  </a:lnTo>
                  <a:lnTo>
                    <a:pt x="6980" y="1822"/>
                  </a:lnTo>
                  <a:lnTo>
                    <a:pt x="6980" y="1069"/>
                  </a:lnTo>
                  <a:lnTo>
                    <a:pt x="7251" y="1069"/>
                  </a:lnTo>
                  <a:lnTo>
                    <a:pt x="7258" y="1116"/>
                  </a:lnTo>
                  <a:lnTo>
                    <a:pt x="7266" y="1162"/>
                  </a:lnTo>
                  <a:lnTo>
                    <a:pt x="7277" y="1207"/>
                  </a:lnTo>
                  <a:lnTo>
                    <a:pt x="7290" y="1251"/>
                  </a:lnTo>
                  <a:lnTo>
                    <a:pt x="7304" y="1292"/>
                  </a:lnTo>
                  <a:lnTo>
                    <a:pt x="7320" y="1333"/>
                  </a:lnTo>
                  <a:lnTo>
                    <a:pt x="7338" y="1372"/>
                  </a:lnTo>
                  <a:lnTo>
                    <a:pt x="7358" y="1409"/>
                  </a:lnTo>
                  <a:lnTo>
                    <a:pt x="7379" y="1446"/>
                  </a:lnTo>
                  <a:lnTo>
                    <a:pt x="7402" y="1482"/>
                  </a:lnTo>
                  <a:lnTo>
                    <a:pt x="7427" y="1514"/>
                  </a:lnTo>
                  <a:lnTo>
                    <a:pt x="7452" y="1547"/>
                  </a:lnTo>
                  <a:lnTo>
                    <a:pt x="7480" y="1577"/>
                  </a:lnTo>
                  <a:lnTo>
                    <a:pt x="7509" y="1607"/>
                  </a:lnTo>
                  <a:lnTo>
                    <a:pt x="7540" y="1634"/>
                  </a:lnTo>
                  <a:lnTo>
                    <a:pt x="7571" y="1660"/>
                  </a:lnTo>
                  <a:lnTo>
                    <a:pt x="7604" y="1685"/>
                  </a:lnTo>
                  <a:lnTo>
                    <a:pt x="7637" y="1708"/>
                  </a:lnTo>
                  <a:lnTo>
                    <a:pt x="7673" y="1730"/>
                  </a:lnTo>
                  <a:lnTo>
                    <a:pt x="7710" y="1750"/>
                  </a:lnTo>
                  <a:lnTo>
                    <a:pt x="7747" y="1768"/>
                  </a:lnTo>
                  <a:lnTo>
                    <a:pt x="7786" y="1786"/>
                  </a:lnTo>
                  <a:lnTo>
                    <a:pt x="7824" y="1801"/>
                  </a:lnTo>
                  <a:lnTo>
                    <a:pt x="7865" y="1815"/>
                  </a:lnTo>
                  <a:lnTo>
                    <a:pt x="7907" y="1827"/>
                  </a:lnTo>
                  <a:lnTo>
                    <a:pt x="7949" y="1837"/>
                  </a:lnTo>
                  <a:lnTo>
                    <a:pt x="7991" y="1847"/>
                  </a:lnTo>
                  <a:lnTo>
                    <a:pt x="8035" y="1854"/>
                  </a:lnTo>
                  <a:lnTo>
                    <a:pt x="8080" y="1860"/>
                  </a:lnTo>
                  <a:lnTo>
                    <a:pt x="8124" y="1864"/>
                  </a:lnTo>
                  <a:lnTo>
                    <a:pt x="8170" y="1867"/>
                  </a:lnTo>
                  <a:lnTo>
                    <a:pt x="8217" y="1868"/>
                  </a:lnTo>
                  <a:lnTo>
                    <a:pt x="8267" y="1867"/>
                  </a:lnTo>
                  <a:lnTo>
                    <a:pt x="8317" y="1864"/>
                  </a:lnTo>
                  <a:lnTo>
                    <a:pt x="8364" y="1859"/>
                  </a:lnTo>
                  <a:lnTo>
                    <a:pt x="8413" y="1852"/>
                  </a:lnTo>
                  <a:lnTo>
                    <a:pt x="8460" y="1842"/>
                  </a:lnTo>
                  <a:lnTo>
                    <a:pt x="8506" y="1832"/>
                  </a:lnTo>
                  <a:lnTo>
                    <a:pt x="8552" y="1820"/>
                  </a:lnTo>
                  <a:lnTo>
                    <a:pt x="8595" y="1805"/>
                  </a:lnTo>
                  <a:lnTo>
                    <a:pt x="8639" y="1789"/>
                  </a:lnTo>
                  <a:lnTo>
                    <a:pt x="8681" y="1771"/>
                  </a:lnTo>
                  <a:lnTo>
                    <a:pt x="8721" y="1751"/>
                  </a:lnTo>
                  <a:lnTo>
                    <a:pt x="8761" y="1729"/>
                  </a:lnTo>
                  <a:lnTo>
                    <a:pt x="8799" y="1705"/>
                  </a:lnTo>
                  <a:lnTo>
                    <a:pt x="8835" y="1680"/>
                  </a:lnTo>
                  <a:lnTo>
                    <a:pt x="8871" y="1653"/>
                  </a:lnTo>
                  <a:lnTo>
                    <a:pt x="8905" y="1624"/>
                  </a:lnTo>
                  <a:lnTo>
                    <a:pt x="8937" y="1593"/>
                  </a:lnTo>
                  <a:lnTo>
                    <a:pt x="8968" y="1561"/>
                  </a:lnTo>
                  <a:lnTo>
                    <a:pt x="8996" y="1526"/>
                  </a:lnTo>
                  <a:lnTo>
                    <a:pt x="9023" y="1491"/>
                  </a:lnTo>
                  <a:lnTo>
                    <a:pt x="9049" y="1453"/>
                  </a:lnTo>
                  <a:lnTo>
                    <a:pt x="9072" y="1414"/>
                  </a:lnTo>
                  <a:lnTo>
                    <a:pt x="9094" y="1374"/>
                  </a:lnTo>
                  <a:lnTo>
                    <a:pt x="9113" y="1331"/>
                  </a:lnTo>
                  <a:lnTo>
                    <a:pt x="9130" y="1287"/>
                  </a:lnTo>
                  <a:lnTo>
                    <a:pt x="9146" y="1242"/>
                  </a:lnTo>
                  <a:lnTo>
                    <a:pt x="9159" y="1194"/>
                  </a:lnTo>
                  <a:lnTo>
                    <a:pt x="9169" y="1145"/>
                  </a:lnTo>
                  <a:lnTo>
                    <a:pt x="9178" y="1094"/>
                  </a:lnTo>
                  <a:lnTo>
                    <a:pt x="9184" y="1042"/>
                  </a:lnTo>
                  <a:lnTo>
                    <a:pt x="9188" y="988"/>
                  </a:lnTo>
                  <a:lnTo>
                    <a:pt x="9189" y="933"/>
                  </a:lnTo>
                  <a:lnTo>
                    <a:pt x="9188" y="879"/>
                  </a:lnTo>
                  <a:lnTo>
                    <a:pt x="9184" y="825"/>
                  </a:lnTo>
                  <a:lnTo>
                    <a:pt x="9178" y="773"/>
                  </a:lnTo>
                  <a:lnTo>
                    <a:pt x="9169" y="723"/>
                  </a:lnTo>
                  <a:lnTo>
                    <a:pt x="9159" y="674"/>
                  </a:lnTo>
                  <a:lnTo>
                    <a:pt x="9146" y="626"/>
                  </a:lnTo>
                  <a:lnTo>
                    <a:pt x="9130" y="581"/>
                  </a:lnTo>
                  <a:lnTo>
                    <a:pt x="9113" y="537"/>
                  </a:lnTo>
                  <a:lnTo>
                    <a:pt x="9094" y="494"/>
                  </a:lnTo>
                  <a:lnTo>
                    <a:pt x="9072" y="453"/>
                  </a:lnTo>
                  <a:lnTo>
                    <a:pt x="9049" y="414"/>
                  </a:lnTo>
                  <a:lnTo>
                    <a:pt x="9023" y="376"/>
                  </a:lnTo>
                  <a:lnTo>
                    <a:pt x="8996" y="341"/>
                  </a:lnTo>
                  <a:lnTo>
                    <a:pt x="8968" y="307"/>
                  </a:lnTo>
                  <a:lnTo>
                    <a:pt x="8937" y="275"/>
                  </a:lnTo>
                  <a:lnTo>
                    <a:pt x="8905" y="244"/>
                  </a:lnTo>
                  <a:lnTo>
                    <a:pt x="8871" y="215"/>
                  </a:lnTo>
                  <a:lnTo>
                    <a:pt x="8835" y="187"/>
                  </a:lnTo>
                  <a:lnTo>
                    <a:pt x="8799" y="162"/>
                  </a:lnTo>
                  <a:lnTo>
                    <a:pt x="8761" y="138"/>
                  </a:lnTo>
                  <a:lnTo>
                    <a:pt x="8721" y="117"/>
                  </a:lnTo>
                  <a:lnTo>
                    <a:pt x="8681" y="97"/>
                  </a:lnTo>
                  <a:lnTo>
                    <a:pt x="8639" y="78"/>
                  </a:lnTo>
                  <a:lnTo>
                    <a:pt x="8595" y="62"/>
                  </a:lnTo>
                  <a:lnTo>
                    <a:pt x="8552" y="48"/>
                  </a:lnTo>
                  <a:lnTo>
                    <a:pt x="8506" y="36"/>
                  </a:lnTo>
                  <a:lnTo>
                    <a:pt x="8460" y="24"/>
                  </a:lnTo>
                  <a:lnTo>
                    <a:pt x="8413" y="16"/>
                  </a:lnTo>
                  <a:lnTo>
                    <a:pt x="8364" y="9"/>
                  </a:lnTo>
                  <a:lnTo>
                    <a:pt x="8317" y="4"/>
                  </a:lnTo>
                  <a:lnTo>
                    <a:pt x="8267" y="1"/>
                  </a:lnTo>
                  <a:lnTo>
                    <a:pt x="8217" y="0"/>
                  </a:lnTo>
                  <a:lnTo>
                    <a:pt x="8173" y="1"/>
                  </a:lnTo>
                  <a:lnTo>
                    <a:pt x="8131" y="3"/>
                  </a:lnTo>
                  <a:lnTo>
                    <a:pt x="8088" y="7"/>
                  </a:lnTo>
                  <a:lnTo>
                    <a:pt x="8046" y="12"/>
                  </a:lnTo>
                  <a:lnTo>
                    <a:pt x="8004" y="18"/>
                  </a:lnTo>
                  <a:lnTo>
                    <a:pt x="7964" y="26"/>
                  </a:lnTo>
                  <a:lnTo>
                    <a:pt x="7924" y="36"/>
                  </a:lnTo>
                  <a:lnTo>
                    <a:pt x="7884" y="47"/>
                  </a:lnTo>
                  <a:lnTo>
                    <a:pt x="7846" y="59"/>
                  </a:lnTo>
                  <a:lnTo>
                    <a:pt x="7808" y="73"/>
                  </a:lnTo>
                  <a:lnTo>
                    <a:pt x="7772" y="88"/>
                  </a:lnTo>
                  <a:lnTo>
                    <a:pt x="7736" y="105"/>
                  </a:lnTo>
                  <a:lnTo>
                    <a:pt x="7700" y="122"/>
                  </a:lnTo>
                  <a:lnTo>
                    <a:pt x="7667" y="141"/>
                  </a:lnTo>
                  <a:lnTo>
                    <a:pt x="7633" y="162"/>
                  </a:lnTo>
                  <a:lnTo>
                    <a:pt x="7602" y="184"/>
                  </a:lnTo>
                  <a:lnTo>
                    <a:pt x="7571" y="207"/>
                  </a:lnTo>
                  <a:lnTo>
                    <a:pt x="7542" y="232"/>
                  </a:lnTo>
                  <a:lnTo>
                    <a:pt x="7512" y="257"/>
                  </a:lnTo>
                  <a:lnTo>
                    <a:pt x="7486" y="285"/>
                  </a:lnTo>
                  <a:lnTo>
                    <a:pt x="7459" y="313"/>
                  </a:lnTo>
                  <a:lnTo>
                    <a:pt x="7435" y="343"/>
                  </a:lnTo>
                  <a:lnTo>
                    <a:pt x="7412" y="374"/>
                  </a:lnTo>
                  <a:lnTo>
                    <a:pt x="7389" y="406"/>
                  </a:lnTo>
                  <a:lnTo>
                    <a:pt x="7369" y="439"/>
                  </a:lnTo>
                  <a:lnTo>
                    <a:pt x="7350" y="475"/>
                  </a:lnTo>
                  <a:lnTo>
                    <a:pt x="7331" y="510"/>
                  </a:lnTo>
                  <a:lnTo>
                    <a:pt x="7315" y="548"/>
                  </a:lnTo>
                  <a:lnTo>
                    <a:pt x="7301" y="586"/>
                  </a:lnTo>
                  <a:lnTo>
                    <a:pt x="7287" y="625"/>
                  </a:lnTo>
                  <a:lnTo>
                    <a:pt x="7276" y="666"/>
                  </a:lnTo>
                  <a:lnTo>
                    <a:pt x="7267" y="709"/>
                  </a:lnTo>
                  <a:lnTo>
                    <a:pt x="6980" y="709"/>
                  </a:lnTo>
                  <a:lnTo>
                    <a:pt x="6980" y="42"/>
                  </a:lnTo>
                  <a:lnTo>
                    <a:pt x="6585" y="42"/>
                  </a:lnTo>
                  <a:close/>
                  <a:moveTo>
                    <a:pt x="7643" y="933"/>
                  </a:moveTo>
                  <a:lnTo>
                    <a:pt x="7644" y="900"/>
                  </a:lnTo>
                  <a:lnTo>
                    <a:pt x="7645" y="866"/>
                  </a:lnTo>
                  <a:lnTo>
                    <a:pt x="7649" y="835"/>
                  </a:lnTo>
                  <a:lnTo>
                    <a:pt x="7653" y="803"/>
                  </a:lnTo>
                  <a:lnTo>
                    <a:pt x="7658" y="773"/>
                  </a:lnTo>
                  <a:lnTo>
                    <a:pt x="7664" y="743"/>
                  </a:lnTo>
                  <a:lnTo>
                    <a:pt x="7672" y="715"/>
                  </a:lnTo>
                  <a:lnTo>
                    <a:pt x="7680" y="686"/>
                  </a:lnTo>
                  <a:lnTo>
                    <a:pt x="7690" y="660"/>
                  </a:lnTo>
                  <a:lnTo>
                    <a:pt x="7700" y="634"/>
                  </a:lnTo>
                  <a:lnTo>
                    <a:pt x="7713" y="610"/>
                  </a:lnTo>
                  <a:lnTo>
                    <a:pt x="7726" y="586"/>
                  </a:lnTo>
                  <a:lnTo>
                    <a:pt x="7740" y="563"/>
                  </a:lnTo>
                  <a:lnTo>
                    <a:pt x="7755" y="542"/>
                  </a:lnTo>
                  <a:lnTo>
                    <a:pt x="7772" y="521"/>
                  </a:lnTo>
                  <a:lnTo>
                    <a:pt x="7789" y="501"/>
                  </a:lnTo>
                  <a:lnTo>
                    <a:pt x="7807" y="483"/>
                  </a:lnTo>
                  <a:lnTo>
                    <a:pt x="7828" y="466"/>
                  </a:lnTo>
                  <a:lnTo>
                    <a:pt x="7848" y="449"/>
                  </a:lnTo>
                  <a:lnTo>
                    <a:pt x="7870" y="434"/>
                  </a:lnTo>
                  <a:lnTo>
                    <a:pt x="7893" y="420"/>
                  </a:lnTo>
                  <a:lnTo>
                    <a:pt x="7917" y="408"/>
                  </a:lnTo>
                  <a:lnTo>
                    <a:pt x="7942" y="396"/>
                  </a:lnTo>
                  <a:lnTo>
                    <a:pt x="7968" y="385"/>
                  </a:lnTo>
                  <a:lnTo>
                    <a:pt x="7995" y="375"/>
                  </a:lnTo>
                  <a:lnTo>
                    <a:pt x="8024" y="367"/>
                  </a:lnTo>
                  <a:lnTo>
                    <a:pt x="8053" y="361"/>
                  </a:lnTo>
                  <a:lnTo>
                    <a:pt x="8084" y="355"/>
                  </a:lnTo>
                  <a:lnTo>
                    <a:pt x="8115" y="351"/>
                  </a:lnTo>
                  <a:lnTo>
                    <a:pt x="8148" y="347"/>
                  </a:lnTo>
                  <a:lnTo>
                    <a:pt x="8182" y="345"/>
                  </a:lnTo>
                  <a:lnTo>
                    <a:pt x="8217" y="345"/>
                  </a:lnTo>
                  <a:lnTo>
                    <a:pt x="8252" y="345"/>
                  </a:lnTo>
                  <a:lnTo>
                    <a:pt x="8285" y="347"/>
                  </a:lnTo>
                  <a:lnTo>
                    <a:pt x="8318" y="351"/>
                  </a:lnTo>
                  <a:lnTo>
                    <a:pt x="8349" y="355"/>
                  </a:lnTo>
                  <a:lnTo>
                    <a:pt x="8380" y="361"/>
                  </a:lnTo>
                  <a:lnTo>
                    <a:pt x="8409" y="367"/>
                  </a:lnTo>
                  <a:lnTo>
                    <a:pt x="8438" y="375"/>
                  </a:lnTo>
                  <a:lnTo>
                    <a:pt x="8465" y="385"/>
                  </a:lnTo>
                  <a:lnTo>
                    <a:pt x="8492" y="396"/>
                  </a:lnTo>
                  <a:lnTo>
                    <a:pt x="8517" y="408"/>
                  </a:lnTo>
                  <a:lnTo>
                    <a:pt x="8540" y="420"/>
                  </a:lnTo>
                  <a:lnTo>
                    <a:pt x="8564" y="434"/>
                  </a:lnTo>
                  <a:lnTo>
                    <a:pt x="8585" y="449"/>
                  </a:lnTo>
                  <a:lnTo>
                    <a:pt x="8607" y="466"/>
                  </a:lnTo>
                  <a:lnTo>
                    <a:pt x="8626" y="483"/>
                  </a:lnTo>
                  <a:lnTo>
                    <a:pt x="8644" y="501"/>
                  </a:lnTo>
                  <a:lnTo>
                    <a:pt x="8662" y="521"/>
                  </a:lnTo>
                  <a:lnTo>
                    <a:pt x="8679" y="542"/>
                  </a:lnTo>
                  <a:lnTo>
                    <a:pt x="8694" y="563"/>
                  </a:lnTo>
                  <a:lnTo>
                    <a:pt x="8708" y="586"/>
                  </a:lnTo>
                  <a:lnTo>
                    <a:pt x="8720" y="610"/>
                  </a:lnTo>
                  <a:lnTo>
                    <a:pt x="8733" y="634"/>
                  </a:lnTo>
                  <a:lnTo>
                    <a:pt x="8744" y="660"/>
                  </a:lnTo>
                  <a:lnTo>
                    <a:pt x="8753" y="686"/>
                  </a:lnTo>
                  <a:lnTo>
                    <a:pt x="8762" y="715"/>
                  </a:lnTo>
                  <a:lnTo>
                    <a:pt x="8769" y="743"/>
                  </a:lnTo>
                  <a:lnTo>
                    <a:pt x="8775" y="773"/>
                  </a:lnTo>
                  <a:lnTo>
                    <a:pt x="8780" y="803"/>
                  </a:lnTo>
                  <a:lnTo>
                    <a:pt x="8785" y="835"/>
                  </a:lnTo>
                  <a:lnTo>
                    <a:pt x="8788" y="866"/>
                  </a:lnTo>
                  <a:lnTo>
                    <a:pt x="8790" y="900"/>
                  </a:lnTo>
                  <a:lnTo>
                    <a:pt x="8790" y="933"/>
                  </a:lnTo>
                  <a:lnTo>
                    <a:pt x="8790" y="968"/>
                  </a:lnTo>
                  <a:lnTo>
                    <a:pt x="8788" y="1001"/>
                  </a:lnTo>
                  <a:lnTo>
                    <a:pt x="8785" y="1033"/>
                  </a:lnTo>
                  <a:lnTo>
                    <a:pt x="8780" y="1065"/>
                  </a:lnTo>
                  <a:lnTo>
                    <a:pt x="8775" y="1095"/>
                  </a:lnTo>
                  <a:lnTo>
                    <a:pt x="8769" y="1125"/>
                  </a:lnTo>
                  <a:lnTo>
                    <a:pt x="8762" y="1153"/>
                  </a:lnTo>
                  <a:lnTo>
                    <a:pt x="8753" y="1181"/>
                  </a:lnTo>
                  <a:lnTo>
                    <a:pt x="8744" y="1207"/>
                  </a:lnTo>
                  <a:lnTo>
                    <a:pt x="8733" y="1233"/>
                  </a:lnTo>
                  <a:lnTo>
                    <a:pt x="8720" y="1258"/>
                  </a:lnTo>
                  <a:lnTo>
                    <a:pt x="8708" y="1281"/>
                  </a:lnTo>
                  <a:lnTo>
                    <a:pt x="8694" y="1305"/>
                  </a:lnTo>
                  <a:lnTo>
                    <a:pt x="8679" y="1326"/>
                  </a:lnTo>
                  <a:lnTo>
                    <a:pt x="8662" y="1346"/>
                  </a:lnTo>
                  <a:lnTo>
                    <a:pt x="8644" y="1366"/>
                  </a:lnTo>
                  <a:lnTo>
                    <a:pt x="8626" y="1385"/>
                  </a:lnTo>
                  <a:lnTo>
                    <a:pt x="8607" y="1402"/>
                  </a:lnTo>
                  <a:lnTo>
                    <a:pt x="8585" y="1418"/>
                  </a:lnTo>
                  <a:lnTo>
                    <a:pt x="8564" y="1434"/>
                  </a:lnTo>
                  <a:lnTo>
                    <a:pt x="8540" y="1447"/>
                  </a:lnTo>
                  <a:lnTo>
                    <a:pt x="8517" y="1460"/>
                  </a:lnTo>
                  <a:lnTo>
                    <a:pt x="8492" y="1472"/>
                  </a:lnTo>
                  <a:lnTo>
                    <a:pt x="8465" y="1483"/>
                  </a:lnTo>
                  <a:lnTo>
                    <a:pt x="8438" y="1492"/>
                  </a:lnTo>
                  <a:lnTo>
                    <a:pt x="8409" y="1500"/>
                  </a:lnTo>
                  <a:lnTo>
                    <a:pt x="8380" y="1507"/>
                  </a:lnTo>
                  <a:lnTo>
                    <a:pt x="8349" y="1513"/>
                  </a:lnTo>
                  <a:lnTo>
                    <a:pt x="8318" y="1517"/>
                  </a:lnTo>
                  <a:lnTo>
                    <a:pt x="8285" y="1520"/>
                  </a:lnTo>
                  <a:lnTo>
                    <a:pt x="8252" y="1522"/>
                  </a:lnTo>
                  <a:lnTo>
                    <a:pt x="8217" y="1523"/>
                  </a:lnTo>
                  <a:lnTo>
                    <a:pt x="8182" y="1522"/>
                  </a:lnTo>
                  <a:lnTo>
                    <a:pt x="8148" y="1520"/>
                  </a:lnTo>
                  <a:lnTo>
                    <a:pt x="8115" y="1517"/>
                  </a:lnTo>
                  <a:lnTo>
                    <a:pt x="8084" y="1513"/>
                  </a:lnTo>
                  <a:lnTo>
                    <a:pt x="8053" y="1507"/>
                  </a:lnTo>
                  <a:lnTo>
                    <a:pt x="8024" y="1500"/>
                  </a:lnTo>
                  <a:lnTo>
                    <a:pt x="7995" y="1492"/>
                  </a:lnTo>
                  <a:lnTo>
                    <a:pt x="7968" y="1483"/>
                  </a:lnTo>
                  <a:lnTo>
                    <a:pt x="7942" y="1472"/>
                  </a:lnTo>
                  <a:lnTo>
                    <a:pt x="7917" y="1460"/>
                  </a:lnTo>
                  <a:lnTo>
                    <a:pt x="7893" y="1447"/>
                  </a:lnTo>
                  <a:lnTo>
                    <a:pt x="7870" y="1434"/>
                  </a:lnTo>
                  <a:lnTo>
                    <a:pt x="7848" y="1418"/>
                  </a:lnTo>
                  <a:lnTo>
                    <a:pt x="7828" y="1402"/>
                  </a:lnTo>
                  <a:lnTo>
                    <a:pt x="7807" y="1385"/>
                  </a:lnTo>
                  <a:lnTo>
                    <a:pt x="7789" y="1366"/>
                  </a:lnTo>
                  <a:lnTo>
                    <a:pt x="7772" y="1346"/>
                  </a:lnTo>
                  <a:lnTo>
                    <a:pt x="7755" y="1326"/>
                  </a:lnTo>
                  <a:lnTo>
                    <a:pt x="7740" y="1305"/>
                  </a:lnTo>
                  <a:lnTo>
                    <a:pt x="7726" y="1281"/>
                  </a:lnTo>
                  <a:lnTo>
                    <a:pt x="7713" y="1258"/>
                  </a:lnTo>
                  <a:lnTo>
                    <a:pt x="7700" y="1233"/>
                  </a:lnTo>
                  <a:lnTo>
                    <a:pt x="7690" y="1207"/>
                  </a:lnTo>
                  <a:lnTo>
                    <a:pt x="7680" y="1181"/>
                  </a:lnTo>
                  <a:lnTo>
                    <a:pt x="7672" y="1153"/>
                  </a:lnTo>
                  <a:lnTo>
                    <a:pt x="7664" y="1125"/>
                  </a:lnTo>
                  <a:lnTo>
                    <a:pt x="7658" y="1095"/>
                  </a:lnTo>
                  <a:lnTo>
                    <a:pt x="7653" y="1065"/>
                  </a:lnTo>
                  <a:lnTo>
                    <a:pt x="7649" y="1033"/>
                  </a:lnTo>
                  <a:lnTo>
                    <a:pt x="7645" y="1001"/>
                  </a:lnTo>
                  <a:lnTo>
                    <a:pt x="7644" y="968"/>
                  </a:lnTo>
                  <a:lnTo>
                    <a:pt x="7643" y="933"/>
                  </a:lnTo>
                  <a:close/>
                  <a:moveTo>
                    <a:pt x="11327" y="477"/>
                  </a:moveTo>
                  <a:lnTo>
                    <a:pt x="11310" y="447"/>
                  </a:lnTo>
                  <a:lnTo>
                    <a:pt x="11291" y="420"/>
                  </a:lnTo>
                  <a:lnTo>
                    <a:pt x="11272" y="392"/>
                  </a:lnTo>
                  <a:lnTo>
                    <a:pt x="11253" y="366"/>
                  </a:lnTo>
                  <a:lnTo>
                    <a:pt x="11232" y="341"/>
                  </a:lnTo>
                  <a:lnTo>
                    <a:pt x="11211" y="316"/>
                  </a:lnTo>
                  <a:lnTo>
                    <a:pt x="11190" y="293"/>
                  </a:lnTo>
                  <a:lnTo>
                    <a:pt x="11167" y="270"/>
                  </a:lnTo>
                  <a:lnTo>
                    <a:pt x="11144" y="248"/>
                  </a:lnTo>
                  <a:lnTo>
                    <a:pt x="11121" y="228"/>
                  </a:lnTo>
                  <a:lnTo>
                    <a:pt x="11096" y="207"/>
                  </a:lnTo>
                  <a:lnTo>
                    <a:pt x="11071" y="188"/>
                  </a:lnTo>
                  <a:lnTo>
                    <a:pt x="11045" y="171"/>
                  </a:lnTo>
                  <a:lnTo>
                    <a:pt x="11018" y="154"/>
                  </a:lnTo>
                  <a:lnTo>
                    <a:pt x="10991" y="136"/>
                  </a:lnTo>
                  <a:lnTo>
                    <a:pt x="10963" y="121"/>
                  </a:lnTo>
                  <a:lnTo>
                    <a:pt x="10934" y="107"/>
                  </a:lnTo>
                  <a:lnTo>
                    <a:pt x="10905" y="93"/>
                  </a:lnTo>
                  <a:lnTo>
                    <a:pt x="10875" y="80"/>
                  </a:lnTo>
                  <a:lnTo>
                    <a:pt x="10845" y="68"/>
                  </a:lnTo>
                  <a:lnTo>
                    <a:pt x="10813" y="58"/>
                  </a:lnTo>
                  <a:lnTo>
                    <a:pt x="10782" y="48"/>
                  </a:lnTo>
                  <a:lnTo>
                    <a:pt x="10749" y="39"/>
                  </a:lnTo>
                  <a:lnTo>
                    <a:pt x="10716" y="30"/>
                  </a:lnTo>
                  <a:lnTo>
                    <a:pt x="10682" y="23"/>
                  </a:lnTo>
                  <a:lnTo>
                    <a:pt x="10648" y="17"/>
                  </a:lnTo>
                  <a:lnTo>
                    <a:pt x="10612" y="12"/>
                  </a:lnTo>
                  <a:lnTo>
                    <a:pt x="10576" y="8"/>
                  </a:lnTo>
                  <a:lnTo>
                    <a:pt x="10540" y="4"/>
                  </a:lnTo>
                  <a:lnTo>
                    <a:pt x="10502" y="2"/>
                  </a:lnTo>
                  <a:lnTo>
                    <a:pt x="10465" y="1"/>
                  </a:lnTo>
                  <a:lnTo>
                    <a:pt x="10426" y="0"/>
                  </a:lnTo>
                  <a:lnTo>
                    <a:pt x="10373" y="1"/>
                  </a:lnTo>
                  <a:lnTo>
                    <a:pt x="10322" y="4"/>
                  </a:lnTo>
                  <a:lnTo>
                    <a:pt x="10271" y="9"/>
                  </a:lnTo>
                  <a:lnTo>
                    <a:pt x="10222" y="16"/>
                  </a:lnTo>
                  <a:lnTo>
                    <a:pt x="10174" y="25"/>
                  </a:lnTo>
                  <a:lnTo>
                    <a:pt x="10126" y="37"/>
                  </a:lnTo>
                  <a:lnTo>
                    <a:pt x="10079" y="50"/>
                  </a:lnTo>
                  <a:lnTo>
                    <a:pt x="10033" y="65"/>
                  </a:lnTo>
                  <a:lnTo>
                    <a:pt x="9990" y="81"/>
                  </a:lnTo>
                  <a:lnTo>
                    <a:pt x="9947" y="101"/>
                  </a:lnTo>
                  <a:lnTo>
                    <a:pt x="9905" y="121"/>
                  </a:lnTo>
                  <a:lnTo>
                    <a:pt x="9865" y="143"/>
                  </a:lnTo>
                  <a:lnTo>
                    <a:pt x="9826" y="168"/>
                  </a:lnTo>
                  <a:lnTo>
                    <a:pt x="9788" y="194"/>
                  </a:lnTo>
                  <a:lnTo>
                    <a:pt x="9753" y="222"/>
                  </a:lnTo>
                  <a:lnTo>
                    <a:pt x="9718" y="251"/>
                  </a:lnTo>
                  <a:lnTo>
                    <a:pt x="9686" y="282"/>
                  </a:lnTo>
                  <a:lnTo>
                    <a:pt x="9654" y="314"/>
                  </a:lnTo>
                  <a:lnTo>
                    <a:pt x="9626" y="349"/>
                  </a:lnTo>
                  <a:lnTo>
                    <a:pt x="9598" y="385"/>
                  </a:lnTo>
                  <a:lnTo>
                    <a:pt x="9572" y="423"/>
                  </a:lnTo>
                  <a:lnTo>
                    <a:pt x="9548" y="462"/>
                  </a:lnTo>
                  <a:lnTo>
                    <a:pt x="9527" y="502"/>
                  </a:lnTo>
                  <a:lnTo>
                    <a:pt x="9508" y="545"/>
                  </a:lnTo>
                  <a:lnTo>
                    <a:pt x="9489" y="589"/>
                  </a:lnTo>
                  <a:lnTo>
                    <a:pt x="9474" y="633"/>
                  </a:lnTo>
                  <a:lnTo>
                    <a:pt x="9461" y="680"/>
                  </a:lnTo>
                  <a:lnTo>
                    <a:pt x="9451" y="728"/>
                  </a:lnTo>
                  <a:lnTo>
                    <a:pt x="9441" y="778"/>
                  </a:lnTo>
                  <a:lnTo>
                    <a:pt x="9435" y="829"/>
                  </a:lnTo>
                  <a:lnTo>
                    <a:pt x="9432" y="881"/>
                  </a:lnTo>
                  <a:lnTo>
                    <a:pt x="9430" y="933"/>
                  </a:lnTo>
                  <a:lnTo>
                    <a:pt x="9431" y="987"/>
                  </a:lnTo>
                  <a:lnTo>
                    <a:pt x="9435" y="1039"/>
                  </a:lnTo>
                  <a:lnTo>
                    <a:pt x="9441" y="1090"/>
                  </a:lnTo>
                  <a:lnTo>
                    <a:pt x="9450" y="1139"/>
                  </a:lnTo>
                  <a:lnTo>
                    <a:pt x="9461" y="1188"/>
                  </a:lnTo>
                  <a:lnTo>
                    <a:pt x="9474" y="1234"/>
                  </a:lnTo>
                  <a:lnTo>
                    <a:pt x="9488" y="1279"/>
                  </a:lnTo>
                  <a:lnTo>
                    <a:pt x="9506" y="1323"/>
                  </a:lnTo>
                  <a:lnTo>
                    <a:pt x="9525" y="1365"/>
                  </a:lnTo>
                  <a:lnTo>
                    <a:pt x="9546" y="1405"/>
                  </a:lnTo>
                  <a:lnTo>
                    <a:pt x="9570" y="1445"/>
                  </a:lnTo>
                  <a:lnTo>
                    <a:pt x="9595" y="1483"/>
                  </a:lnTo>
                  <a:lnTo>
                    <a:pt x="9623" y="1518"/>
                  </a:lnTo>
                  <a:lnTo>
                    <a:pt x="9651" y="1553"/>
                  </a:lnTo>
                  <a:lnTo>
                    <a:pt x="9681" y="1585"/>
                  </a:lnTo>
                  <a:lnTo>
                    <a:pt x="9714" y="1617"/>
                  </a:lnTo>
                  <a:lnTo>
                    <a:pt x="9749" y="1646"/>
                  </a:lnTo>
                  <a:lnTo>
                    <a:pt x="9784" y="1674"/>
                  </a:lnTo>
                  <a:lnTo>
                    <a:pt x="9822" y="1700"/>
                  </a:lnTo>
                  <a:lnTo>
                    <a:pt x="9860" y="1724"/>
                  </a:lnTo>
                  <a:lnTo>
                    <a:pt x="9900" y="1746"/>
                  </a:lnTo>
                  <a:lnTo>
                    <a:pt x="9942" y="1767"/>
                  </a:lnTo>
                  <a:lnTo>
                    <a:pt x="9986" y="1786"/>
                  </a:lnTo>
                  <a:lnTo>
                    <a:pt x="10029" y="1803"/>
                  </a:lnTo>
                  <a:lnTo>
                    <a:pt x="10075" y="1818"/>
                  </a:lnTo>
                  <a:lnTo>
                    <a:pt x="10122" y="1830"/>
                  </a:lnTo>
                  <a:lnTo>
                    <a:pt x="10170" y="1841"/>
                  </a:lnTo>
                  <a:lnTo>
                    <a:pt x="10219" y="1851"/>
                  </a:lnTo>
                  <a:lnTo>
                    <a:pt x="10269" y="1858"/>
                  </a:lnTo>
                  <a:lnTo>
                    <a:pt x="10320" y="1863"/>
                  </a:lnTo>
                  <a:lnTo>
                    <a:pt x="10372" y="1867"/>
                  </a:lnTo>
                  <a:lnTo>
                    <a:pt x="10426" y="1868"/>
                  </a:lnTo>
                  <a:lnTo>
                    <a:pt x="10465" y="1867"/>
                  </a:lnTo>
                  <a:lnTo>
                    <a:pt x="10502" y="1866"/>
                  </a:lnTo>
                  <a:lnTo>
                    <a:pt x="10540" y="1863"/>
                  </a:lnTo>
                  <a:lnTo>
                    <a:pt x="10576" y="1860"/>
                  </a:lnTo>
                  <a:lnTo>
                    <a:pt x="10612" y="1856"/>
                  </a:lnTo>
                  <a:lnTo>
                    <a:pt x="10648" y="1851"/>
                  </a:lnTo>
                  <a:lnTo>
                    <a:pt x="10682" y="1845"/>
                  </a:lnTo>
                  <a:lnTo>
                    <a:pt x="10716" y="1837"/>
                  </a:lnTo>
                  <a:lnTo>
                    <a:pt x="10749" y="1829"/>
                  </a:lnTo>
                  <a:lnTo>
                    <a:pt x="10782" y="1820"/>
                  </a:lnTo>
                  <a:lnTo>
                    <a:pt x="10813" y="1810"/>
                  </a:lnTo>
                  <a:lnTo>
                    <a:pt x="10845" y="1799"/>
                  </a:lnTo>
                  <a:lnTo>
                    <a:pt x="10875" y="1788"/>
                  </a:lnTo>
                  <a:lnTo>
                    <a:pt x="10905" y="1774"/>
                  </a:lnTo>
                  <a:lnTo>
                    <a:pt x="10934" y="1761"/>
                  </a:lnTo>
                  <a:lnTo>
                    <a:pt x="10963" y="1746"/>
                  </a:lnTo>
                  <a:lnTo>
                    <a:pt x="10991" y="1731"/>
                  </a:lnTo>
                  <a:lnTo>
                    <a:pt x="11018" y="1714"/>
                  </a:lnTo>
                  <a:lnTo>
                    <a:pt x="11045" y="1697"/>
                  </a:lnTo>
                  <a:lnTo>
                    <a:pt x="11071" y="1679"/>
                  </a:lnTo>
                  <a:lnTo>
                    <a:pt x="11096" y="1659"/>
                  </a:lnTo>
                  <a:lnTo>
                    <a:pt x="11121" y="1640"/>
                  </a:lnTo>
                  <a:lnTo>
                    <a:pt x="11144" y="1619"/>
                  </a:lnTo>
                  <a:lnTo>
                    <a:pt x="11167" y="1597"/>
                  </a:lnTo>
                  <a:lnTo>
                    <a:pt x="11190" y="1574"/>
                  </a:lnTo>
                  <a:lnTo>
                    <a:pt x="11211" y="1551"/>
                  </a:lnTo>
                  <a:lnTo>
                    <a:pt x="11232" y="1526"/>
                  </a:lnTo>
                  <a:lnTo>
                    <a:pt x="11253" y="1501"/>
                  </a:lnTo>
                  <a:lnTo>
                    <a:pt x="11272" y="1474"/>
                  </a:lnTo>
                  <a:lnTo>
                    <a:pt x="11291" y="1448"/>
                  </a:lnTo>
                  <a:lnTo>
                    <a:pt x="11310" y="1419"/>
                  </a:lnTo>
                  <a:lnTo>
                    <a:pt x="11327" y="1391"/>
                  </a:lnTo>
                  <a:lnTo>
                    <a:pt x="11015" y="1211"/>
                  </a:lnTo>
                  <a:lnTo>
                    <a:pt x="11002" y="1228"/>
                  </a:lnTo>
                  <a:lnTo>
                    <a:pt x="10988" y="1246"/>
                  </a:lnTo>
                  <a:lnTo>
                    <a:pt x="10975" y="1263"/>
                  </a:lnTo>
                  <a:lnTo>
                    <a:pt x="10962" y="1279"/>
                  </a:lnTo>
                  <a:lnTo>
                    <a:pt x="10948" y="1294"/>
                  </a:lnTo>
                  <a:lnTo>
                    <a:pt x="10933" y="1310"/>
                  </a:lnTo>
                  <a:lnTo>
                    <a:pt x="10919" y="1325"/>
                  </a:lnTo>
                  <a:lnTo>
                    <a:pt x="10904" y="1339"/>
                  </a:lnTo>
                  <a:lnTo>
                    <a:pt x="10890" y="1352"/>
                  </a:lnTo>
                  <a:lnTo>
                    <a:pt x="10873" y="1366"/>
                  </a:lnTo>
                  <a:lnTo>
                    <a:pt x="10858" y="1378"/>
                  </a:lnTo>
                  <a:lnTo>
                    <a:pt x="10842" y="1390"/>
                  </a:lnTo>
                  <a:lnTo>
                    <a:pt x="10825" y="1402"/>
                  </a:lnTo>
                  <a:lnTo>
                    <a:pt x="10807" y="1412"/>
                  </a:lnTo>
                  <a:lnTo>
                    <a:pt x="10790" y="1423"/>
                  </a:lnTo>
                  <a:lnTo>
                    <a:pt x="10773" y="1433"/>
                  </a:lnTo>
                  <a:lnTo>
                    <a:pt x="10754" y="1442"/>
                  </a:lnTo>
                  <a:lnTo>
                    <a:pt x="10735" y="1451"/>
                  </a:lnTo>
                  <a:lnTo>
                    <a:pt x="10716" y="1459"/>
                  </a:lnTo>
                  <a:lnTo>
                    <a:pt x="10696" y="1466"/>
                  </a:lnTo>
                  <a:lnTo>
                    <a:pt x="10676" y="1473"/>
                  </a:lnTo>
                  <a:lnTo>
                    <a:pt x="10656" y="1479"/>
                  </a:lnTo>
                  <a:lnTo>
                    <a:pt x="10634" y="1486"/>
                  </a:lnTo>
                  <a:lnTo>
                    <a:pt x="10613" y="1491"/>
                  </a:lnTo>
                  <a:lnTo>
                    <a:pt x="10591" y="1495"/>
                  </a:lnTo>
                  <a:lnTo>
                    <a:pt x="10567" y="1499"/>
                  </a:lnTo>
                  <a:lnTo>
                    <a:pt x="10544" y="1502"/>
                  </a:lnTo>
                  <a:lnTo>
                    <a:pt x="10521" y="1505"/>
                  </a:lnTo>
                  <a:lnTo>
                    <a:pt x="10496" y="1507"/>
                  </a:lnTo>
                  <a:lnTo>
                    <a:pt x="10471" y="1509"/>
                  </a:lnTo>
                  <a:lnTo>
                    <a:pt x="10445" y="1510"/>
                  </a:lnTo>
                  <a:lnTo>
                    <a:pt x="10419" y="1510"/>
                  </a:lnTo>
                  <a:lnTo>
                    <a:pt x="10386" y="1509"/>
                  </a:lnTo>
                  <a:lnTo>
                    <a:pt x="10355" y="1507"/>
                  </a:lnTo>
                  <a:lnTo>
                    <a:pt x="10324" y="1504"/>
                  </a:lnTo>
                  <a:lnTo>
                    <a:pt x="10294" y="1500"/>
                  </a:lnTo>
                  <a:lnTo>
                    <a:pt x="10264" y="1494"/>
                  </a:lnTo>
                  <a:lnTo>
                    <a:pt x="10236" y="1487"/>
                  </a:lnTo>
                  <a:lnTo>
                    <a:pt x="10207" y="1478"/>
                  </a:lnTo>
                  <a:lnTo>
                    <a:pt x="10180" y="1468"/>
                  </a:lnTo>
                  <a:lnTo>
                    <a:pt x="10153" y="1458"/>
                  </a:lnTo>
                  <a:lnTo>
                    <a:pt x="10128" y="1446"/>
                  </a:lnTo>
                  <a:lnTo>
                    <a:pt x="10104" y="1433"/>
                  </a:lnTo>
                  <a:lnTo>
                    <a:pt x="10080" y="1418"/>
                  </a:lnTo>
                  <a:lnTo>
                    <a:pt x="10057" y="1403"/>
                  </a:lnTo>
                  <a:lnTo>
                    <a:pt x="10035" y="1387"/>
                  </a:lnTo>
                  <a:lnTo>
                    <a:pt x="10014" y="1370"/>
                  </a:lnTo>
                  <a:lnTo>
                    <a:pt x="9994" y="1351"/>
                  </a:lnTo>
                  <a:lnTo>
                    <a:pt x="9975" y="1332"/>
                  </a:lnTo>
                  <a:lnTo>
                    <a:pt x="9957" y="1312"/>
                  </a:lnTo>
                  <a:lnTo>
                    <a:pt x="9941" y="1289"/>
                  </a:lnTo>
                  <a:lnTo>
                    <a:pt x="9925" y="1268"/>
                  </a:lnTo>
                  <a:lnTo>
                    <a:pt x="9910" y="1245"/>
                  </a:lnTo>
                  <a:lnTo>
                    <a:pt x="9896" y="1220"/>
                  </a:lnTo>
                  <a:lnTo>
                    <a:pt x="9884" y="1195"/>
                  </a:lnTo>
                  <a:lnTo>
                    <a:pt x="9873" y="1169"/>
                  </a:lnTo>
                  <a:lnTo>
                    <a:pt x="9864" y="1143"/>
                  </a:lnTo>
                  <a:lnTo>
                    <a:pt x="9854" y="1114"/>
                  </a:lnTo>
                  <a:lnTo>
                    <a:pt x="9847" y="1087"/>
                  </a:lnTo>
                  <a:lnTo>
                    <a:pt x="9841" y="1057"/>
                  </a:lnTo>
                  <a:lnTo>
                    <a:pt x="9836" y="1028"/>
                  </a:lnTo>
                  <a:lnTo>
                    <a:pt x="9833" y="998"/>
                  </a:lnTo>
                  <a:lnTo>
                    <a:pt x="9831" y="966"/>
                  </a:lnTo>
                  <a:lnTo>
                    <a:pt x="9830" y="933"/>
                  </a:lnTo>
                  <a:lnTo>
                    <a:pt x="9831" y="901"/>
                  </a:lnTo>
                  <a:lnTo>
                    <a:pt x="9833" y="869"/>
                  </a:lnTo>
                  <a:lnTo>
                    <a:pt x="9836" y="839"/>
                  </a:lnTo>
                  <a:lnTo>
                    <a:pt x="9840" y="808"/>
                  </a:lnTo>
                  <a:lnTo>
                    <a:pt x="9846" y="779"/>
                  </a:lnTo>
                  <a:lnTo>
                    <a:pt x="9853" y="750"/>
                  </a:lnTo>
                  <a:lnTo>
                    <a:pt x="9863" y="723"/>
                  </a:lnTo>
                  <a:lnTo>
                    <a:pt x="9872" y="696"/>
                  </a:lnTo>
                  <a:lnTo>
                    <a:pt x="9883" y="670"/>
                  </a:lnTo>
                  <a:lnTo>
                    <a:pt x="9894" y="645"/>
                  </a:lnTo>
                  <a:lnTo>
                    <a:pt x="9907" y="620"/>
                  </a:lnTo>
                  <a:lnTo>
                    <a:pt x="9923" y="597"/>
                  </a:lnTo>
                  <a:lnTo>
                    <a:pt x="9938" y="575"/>
                  </a:lnTo>
                  <a:lnTo>
                    <a:pt x="9954" y="553"/>
                  </a:lnTo>
                  <a:lnTo>
                    <a:pt x="9971" y="533"/>
                  </a:lnTo>
                  <a:lnTo>
                    <a:pt x="9991" y="513"/>
                  </a:lnTo>
                  <a:lnTo>
                    <a:pt x="10010" y="496"/>
                  </a:lnTo>
                  <a:lnTo>
                    <a:pt x="10031" y="479"/>
                  </a:lnTo>
                  <a:lnTo>
                    <a:pt x="10053" y="463"/>
                  </a:lnTo>
                  <a:lnTo>
                    <a:pt x="10075" y="447"/>
                  </a:lnTo>
                  <a:lnTo>
                    <a:pt x="10099" y="433"/>
                  </a:lnTo>
                  <a:lnTo>
                    <a:pt x="10124" y="420"/>
                  </a:lnTo>
                  <a:lnTo>
                    <a:pt x="10149" y="409"/>
                  </a:lnTo>
                  <a:lnTo>
                    <a:pt x="10176" y="399"/>
                  </a:lnTo>
                  <a:lnTo>
                    <a:pt x="10203" y="388"/>
                  </a:lnTo>
                  <a:lnTo>
                    <a:pt x="10232" y="380"/>
                  </a:lnTo>
                  <a:lnTo>
                    <a:pt x="10261" y="373"/>
                  </a:lnTo>
                  <a:lnTo>
                    <a:pt x="10291" y="368"/>
                  </a:lnTo>
                  <a:lnTo>
                    <a:pt x="10322" y="363"/>
                  </a:lnTo>
                  <a:lnTo>
                    <a:pt x="10354" y="360"/>
                  </a:lnTo>
                  <a:lnTo>
                    <a:pt x="10386" y="358"/>
                  </a:lnTo>
                  <a:lnTo>
                    <a:pt x="10419" y="358"/>
                  </a:lnTo>
                  <a:lnTo>
                    <a:pt x="10445" y="358"/>
                  </a:lnTo>
                  <a:lnTo>
                    <a:pt x="10471" y="359"/>
                  </a:lnTo>
                  <a:lnTo>
                    <a:pt x="10496" y="360"/>
                  </a:lnTo>
                  <a:lnTo>
                    <a:pt x="10521" y="362"/>
                  </a:lnTo>
                  <a:lnTo>
                    <a:pt x="10544" y="365"/>
                  </a:lnTo>
                  <a:lnTo>
                    <a:pt x="10567" y="368"/>
                  </a:lnTo>
                  <a:lnTo>
                    <a:pt x="10591" y="372"/>
                  </a:lnTo>
                  <a:lnTo>
                    <a:pt x="10613" y="377"/>
                  </a:lnTo>
                  <a:lnTo>
                    <a:pt x="10634" y="382"/>
                  </a:lnTo>
                  <a:lnTo>
                    <a:pt x="10656" y="388"/>
                  </a:lnTo>
                  <a:lnTo>
                    <a:pt x="10676" y="395"/>
                  </a:lnTo>
                  <a:lnTo>
                    <a:pt x="10696" y="402"/>
                  </a:lnTo>
                  <a:lnTo>
                    <a:pt x="10716" y="409"/>
                  </a:lnTo>
                  <a:lnTo>
                    <a:pt x="10735" y="417"/>
                  </a:lnTo>
                  <a:lnTo>
                    <a:pt x="10754" y="425"/>
                  </a:lnTo>
                  <a:lnTo>
                    <a:pt x="10773" y="435"/>
                  </a:lnTo>
                  <a:lnTo>
                    <a:pt x="10790" y="444"/>
                  </a:lnTo>
                  <a:lnTo>
                    <a:pt x="10807" y="455"/>
                  </a:lnTo>
                  <a:lnTo>
                    <a:pt x="10825" y="466"/>
                  </a:lnTo>
                  <a:lnTo>
                    <a:pt x="10842" y="477"/>
                  </a:lnTo>
                  <a:lnTo>
                    <a:pt x="10858" y="489"/>
                  </a:lnTo>
                  <a:lnTo>
                    <a:pt x="10873" y="502"/>
                  </a:lnTo>
                  <a:lnTo>
                    <a:pt x="10890" y="515"/>
                  </a:lnTo>
                  <a:lnTo>
                    <a:pt x="10904" y="529"/>
                  </a:lnTo>
                  <a:lnTo>
                    <a:pt x="10919" y="543"/>
                  </a:lnTo>
                  <a:lnTo>
                    <a:pt x="10933" y="557"/>
                  </a:lnTo>
                  <a:lnTo>
                    <a:pt x="10948" y="572"/>
                  </a:lnTo>
                  <a:lnTo>
                    <a:pt x="10962" y="589"/>
                  </a:lnTo>
                  <a:lnTo>
                    <a:pt x="10975" y="605"/>
                  </a:lnTo>
                  <a:lnTo>
                    <a:pt x="10988" y="621"/>
                  </a:lnTo>
                  <a:lnTo>
                    <a:pt x="11002" y="639"/>
                  </a:lnTo>
                  <a:lnTo>
                    <a:pt x="11015" y="657"/>
                  </a:lnTo>
                  <a:lnTo>
                    <a:pt x="11327" y="4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7" name="Freeform 6"/>
            <p:cNvSpPr>
              <a:spLocks noEditPoints="1"/>
            </p:cNvSpPr>
            <p:nvPr userDrawn="1"/>
          </p:nvSpPr>
          <p:spPr bwMode="auto">
            <a:xfrm>
              <a:off x="490538" y="487363"/>
              <a:ext cx="466725" cy="455612"/>
            </a:xfrm>
            <a:custGeom>
              <a:avLst/>
              <a:gdLst>
                <a:gd name="T0" fmla="*/ 1853 w 3532"/>
                <a:gd name="T1" fmla="*/ 1336 h 3444"/>
                <a:gd name="T2" fmla="*/ 1828 w 3532"/>
                <a:gd name="T3" fmla="*/ 1351 h 3444"/>
                <a:gd name="T4" fmla="*/ 1795 w 3532"/>
                <a:gd name="T5" fmla="*/ 1349 h 3444"/>
                <a:gd name="T6" fmla="*/ 1104 w 3532"/>
                <a:gd name="T7" fmla="*/ 1069 h 3444"/>
                <a:gd name="T8" fmla="*/ 1071 w 3532"/>
                <a:gd name="T9" fmla="*/ 1010 h 3444"/>
                <a:gd name="T10" fmla="*/ 1204 w 3532"/>
                <a:gd name="T11" fmla="*/ 141 h 3444"/>
                <a:gd name="T12" fmla="*/ 1231 w 3532"/>
                <a:gd name="T13" fmla="*/ 77 h 3444"/>
                <a:gd name="T14" fmla="*/ 1287 w 3532"/>
                <a:gd name="T15" fmla="*/ 37 h 3444"/>
                <a:gd name="T16" fmla="*/ 2026 w 3532"/>
                <a:gd name="T17" fmla="*/ 0 h 3444"/>
                <a:gd name="T18" fmla="*/ 2055 w 3532"/>
                <a:gd name="T19" fmla="*/ 11 h 3444"/>
                <a:gd name="T20" fmla="*/ 2072 w 3532"/>
                <a:gd name="T21" fmla="*/ 37 h 3444"/>
                <a:gd name="T22" fmla="*/ 1399 w 3532"/>
                <a:gd name="T23" fmla="*/ 1554 h 3444"/>
                <a:gd name="T24" fmla="*/ 1417 w 3532"/>
                <a:gd name="T25" fmla="*/ 1578 h 3444"/>
                <a:gd name="T26" fmla="*/ 1414 w 3532"/>
                <a:gd name="T27" fmla="*/ 1610 h 3444"/>
                <a:gd name="T28" fmla="*/ 958 w 3532"/>
                <a:gd name="T29" fmla="*/ 2172 h 3444"/>
                <a:gd name="T30" fmla="*/ 893 w 3532"/>
                <a:gd name="T31" fmla="*/ 2208 h 3444"/>
                <a:gd name="T32" fmla="*/ 826 w 3532"/>
                <a:gd name="T33" fmla="*/ 2201 h 3444"/>
                <a:gd name="T34" fmla="*/ 45 w 3532"/>
                <a:gd name="T35" fmla="*/ 1796 h 3444"/>
                <a:gd name="T36" fmla="*/ 6 w 3532"/>
                <a:gd name="T37" fmla="*/ 1741 h 3444"/>
                <a:gd name="T38" fmla="*/ 4 w 3532"/>
                <a:gd name="T39" fmla="*/ 1664 h 3444"/>
                <a:gd name="T40" fmla="*/ 200 w 3532"/>
                <a:gd name="T41" fmla="*/ 976 h 3444"/>
                <a:gd name="T42" fmla="*/ 226 w 3532"/>
                <a:gd name="T43" fmla="*/ 959 h 3444"/>
                <a:gd name="T44" fmla="*/ 255 w 3532"/>
                <a:gd name="T45" fmla="*/ 963 h 3444"/>
                <a:gd name="T46" fmla="*/ 1491 w 3532"/>
                <a:gd name="T47" fmla="*/ 2055 h 3444"/>
                <a:gd name="T48" fmla="*/ 1521 w 3532"/>
                <a:gd name="T49" fmla="*/ 2057 h 3444"/>
                <a:gd name="T50" fmla="*/ 1546 w 3532"/>
                <a:gd name="T51" fmla="*/ 2077 h 3444"/>
                <a:gd name="T52" fmla="*/ 1940 w 3532"/>
                <a:gd name="T53" fmla="*/ 2711 h 3444"/>
                <a:gd name="T54" fmla="*/ 1933 w 3532"/>
                <a:gd name="T55" fmla="*/ 2779 h 3444"/>
                <a:gd name="T56" fmla="*/ 1315 w 3532"/>
                <a:gd name="T57" fmla="*/ 3402 h 3444"/>
                <a:gd name="T58" fmla="*/ 1256 w 3532"/>
                <a:gd name="T59" fmla="*/ 3439 h 3444"/>
                <a:gd name="T60" fmla="*/ 1187 w 3532"/>
                <a:gd name="T61" fmla="*/ 3439 h 3444"/>
                <a:gd name="T62" fmla="*/ 567 w 3532"/>
                <a:gd name="T63" fmla="*/ 3035 h 3444"/>
                <a:gd name="T64" fmla="*/ 549 w 3532"/>
                <a:gd name="T65" fmla="*/ 3009 h 3444"/>
                <a:gd name="T66" fmla="*/ 551 w 3532"/>
                <a:gd name="T67" fmla="*/ 2978 h 3444"/>
                <a:gd name="T68" fmla="*/ 1987 w 3532"/>
                <a:gd name="T69" fmla="*/ 2144 h 3444"/>
                <a:gd name="T70" fmla="*/ 1988 w 3532"/>
                <a:gd name="T71" fmla="*/ 2114 h 3444"/>
                <a:gd name="T72" fmla="*/ 2009 w 3532"/>
                <a:gd name="T73" fmla="*/ 2091 h 3444"/>
                <a:gd name="T74" fmla="*/ 2707 w 3532"/>
                <a:gd name="T75" fmla="*/ 1899 h 3444"/>
                <a:gd name="T76" fmla="*/ 2780 w 3532"/>
                <a:gd name="T77" fmla="*/ 1910 h 3444"/>
                <a:gd name="T78" fmla="*/ 2832 w 3532"/>
                <a:gd name="T79" fmla="*/ 1953 h 3444"/>
                <a:gd name="T80" fmla="*/ 3229 w 3532"/>
                <a:gd name="T81" fmla="*/ 2739 h 3444"/>
                <a:gd name="T82" fmla="*/ 3227 w 3532"/>
                <a:gd name="T83" fmla="*/ 2806 h 3444"/>
                <a:gd name="T84" fmla="*/ 3184 w 3532"/>
                <a:gd name="T85" fmla="*/ 2871 h 3444"/>
                <a:gd name="T86" fmla="*/ 2624 w 3532"/>
                <a:gd name="T87" fmla="*/ 3314 h 3444"/>
                <a:gd name="T88" fmla="*/ 2593 w 3532"/>
                <a:gd name="T89" fmla="*/ 3313 h 3444"/>
                <a:gd name="T90" fmla="*/ 2570 w 3532"/>
                <a:gd name="T91" fmla="*/ 3292 h 3444"/>
                <a:gd name="T92" fmla="*/ 2206 w 3532"/>
                <a:gd name="T93" fmla="*/ 1686 h 3444"/>
                <a:gd name="T94" fmla="*/ 2183 w 3532"/>
                <a:gd name="T95" fmla="*/ 1667 h 3444"/>
                <a:gd name="T96" fmla="*/ 2176 w 3532"/>
                <a:gd name="T97" fmla="*/ 1635 h 3444"/>
                <a:gd name="T98" fmla="*/ 2229 w 3532"/>
                <a:gd name="T99" fmla="*/ 892 h 3444"/>
                <a:gd name="T100" fmla="*/ 2275 w 3532"/>
                <a:gd name="T101" fmla="*/ 841 h 3444"/>
                <a:gd name="T102" fmla="*/ 3142 w 3532"/>
                <a:gd name="T103" fmla="*/ 700 h 3444"/>
                <a:gd name="T104" fmla="*/ 3211 w 3532"/>
                <a:gd name="T105" fmla="*/ 706 h 3444"/>
                <a:gd name="T106" fmla="*/ 3268 w 3532"/>
                <a:gd name="T107" fmla="*/ 746 h 3444"/>
                <a:gd name="T108" fmla="*/ 3530 w 3532"/>
                <a:gd name="T109" fmla="*/ 1438 h 3444"/>
                <a:gd name="T110" fmla="*/ 3529 w 3532"/>
                <a:gd name="T111" fmla="*/ 1469 h 3444"/>
                <a:gd name="T112" fmla="*/ 3510 w 3532"/>
                <a:gd name="T113" fmla="*/ 1493 h 3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32" h="3444">
                  <a:moveTo>
                    <a:pt x="2072" y="52"/>
                  </a:moveTo>
                  <a:lnTo>
                    <a:pt x="1861" y="1317"/>
                  </a:lnTo>
                  <a:lnTo>
                    <a:pt x="1860" y="1322"/>
                  </a:lnTo>
                  <a:lnTo>
                    <a:pt x="1858" y="1327"/>
                  </a:lnTo>
                  <a:lnTo>
                    <a:pt x="1856" y="1332"/>
                  </a:lnTo>
                  <a:lnTo>
                    <a:pt x="1853" y="1336"/>
                  </a:lnTo>
                  <a:lnTo>
                    <a:pt x="1849" y="1340"/>
                  </a:lnTo>
                  <a:lnTo>
                    <a:pt x="1846" y="1343"/>
                  </a:lnTo>
                  <a:lnTo>
                    <a:pt x="1842" y="1346"/>
                  </a:lnTo>
                  <a:lnTo>
                    <a:pt x="1837" y="1348"/>
                  </a:lnTo>
                  <a:lnTo>
                    <a:pt x="1833" y="1350"/>
                  </a:lnTo>
                  <a:lnTo>
                    <a:pt x="1828" y="1351"/>
                  </a:lnTo>
                  <a:lnTo>
                    <a:pt x="1822" y="1352"/>
                  </a:lnTo>
                  <a:lnTo>
                    <a:pt x="1817" y="1353"/>
                  </a:lnTo>
                  <a:lnTo>
                    <a:pt x="1811" y="1352"/>
                  </a:lnTo>
                  <a:lnTo>
                    <a:pt x="1806" y="1352"/>
                  </a:lnTo>
                  <a:lnTo>
                    <a:pt x="1801" y="1351"/>
                  </a:lnTo>
                  <a:lnTo>
                    <a:pt x="1795" y="1349"/>
                  </a:lnTo>
                  <a:lnTo>
                    <a:pt x="1163" y="1105"/>
                  </a:lnTo>
                  <a:lnTo>
                    <a:pt x="1149" y="1099"/>
                  </a:lnTo>
                  <a:lnTo>
                    <a:pt x="1136" y="1092"/>
                  </a:lnTo>
                  <a:lnTo>
                    <a:pt x="1125" y="1085"/>
                  </a:lnTo>
                  <a:lnTo>
                    <a:pt x="1114" y="1077"/>
                  </a:lnTo>
                  <a:lnTo>
                    <a:pt x="1104" y="1069"/>
                  </a:lnTo>
                  <a:lnTo>
                    <a:pt x="1096" y="1060"/>
                  </a:lnTo>
                  <a:lnTo>
                    <a:pt x="1089" y="1050"/>
                  </a:lnTo>
                  <a:lnTo>
                    <a:pt x="1083" y="1041"/>
                  </a:lnTo>
                  <a:lnTo>
                    <a:pt x="1078" y="1031"/>
                  </a:lnTo>
                  <a:lnTo>
                    <a:pt x="1074" y="1020"/>
                  </a:lnTo>
                  <a:lnTo>
                    <a:pt x="1071" y="1010"/>
                  </a:lnTo>
                  <a:lnTo>
                    <a:pt x="1068" y="999"/>
                  </a:lnTo>
                  <a:lnTo>
                    <a:pt x="1067" y="986"/>
                  </a:lnTo>
                  <a:lnTo>
                    <a:pt x="1067" y="975"/>
                  </a:lnTo>
                  <a:lnTo>
                    <a:pt x="1068" y="963"/>
                  </a:lnTo>
                  <a:lnTo>
                    <a:pt x="1069" y="951"/>
                  </a:lnTo>
                  <a:lnTo>
                    <a:pt x="1204" y="141"/>
                  </a:lnTo>
                  <a:lnTo>
                    <a:pt x="1206" y="130"/>
                  </a:lnTo>
                  <a:lnTo>
                    <a:pt x="1209" y="118"/>
                  </a:lnTo>
                  <a:lnTo>
                    <a:pt x="1213" y="107"/>
                  </a:lnTo>
                  <a:lnTo>
                    <a:pt x="1218" y="97"/>
                  </a:lnTo>
                  <a:lnTo>
                    <a:pt x="1224" y="86"/>
                  </a:lnTo>
                  <a:lnTo>
                    <a:pt x="1231" y="77"/>
                  </a:lnTo>
                  <a:lnTo>
                    <a:pt x="1238" y="69"/>
                  </a:lnTo>
                  <a:lnTo>
                    <a:pt x="1246" y="61"/>
                  </a:lnTo>
                  <a:lnTo>
                    <a:pt x="1255" y="54"/>
                  </a:lnTo>
                  <a:lnTo>
                    <a:pt x="1265" y="47"/>
                  </a:lnTo>
                  <a:lnTo>
                    <a:pt x="1275" y="42"/>
                  </a:lnTo>
                  <a:lnTo>
                    <a:pt x="1287" y="37"/>
                  </a:lnTo>
                  <a:lnTo>
                    <a:pt x="1300" y="33"/>
                  </a:lnTo>
                  <a:lnTo>
                    <a:pt x="1313" y="29"/>
                  </a:lnTo>
                  <a:lnTo>
                    <a:pt x="1327" y="27"/>
                  </a:lnTo>
                  <a:lnTo>
                    <a:pt x="1342" y="26"/>
                  </a:lnTo>
                  <a:lnTo>
                    <a:pt x="2020" y="0"/>
                  </a:lnTo>
                  <a:lnTo>
                    <a:pt x="2026" y="0"/>
                  </a:lnTo>
                  <a:lnTo>
                    <a:pt x="2031" y="1"/>
                  </a:lnTo>
                  <a:lnTo>
                    <a:pt x="2036" y="2"/>
                  </a:lnTo>
                  <a:lnTo>
                    <a:pt x="2042" y="3"/>
                  </a:lnTo>
                  <a:lnTo>
                    <a:pt x="2046" y="5"/>
                  </a:lnTo>
                  <a:lnTo>
                    <a:pt x="2051" y="8"/>
                  </a:lnTo>
                  <a:lnTo>
                    <a:pt x="2055" y="11"/>
                  </a:lnTo>
                  <a:lnTo>
                    <a:pt x="2059" y="14"/>
                  </a:lnTo>
                  <a:lnTo>
                    <a:pt x="2062" y="18"/>
                  </a:lnTo>
                  <a:lnTo>
                    <a:pt x="2066" y="22"/>
                  </a:lnTo>
                  <a:lnTo>
                    <a:pt x="2068" y="26"/>
                  </a:lnTo>
                  <a:lnTo>
                    <a:pt x="2070" y="32"/>
                  </a:lnTo>
                  <a:lnTo>
                    <a:pt x="2072" y="37"/>
                  </a:lnTo>
                  <a:lnTo>
                    <a:pt x="2072" y="42"/>
                  </a:lnTo>
                  <a:lnTo>
                    <a:pt x="2073" y="47"/>
                  </a:lnTo>
                  <a:lnTo>
                    <a:pt x="2072" y="52"/>
                  </a:lnTo>
                  <a:close/>
                  <a:moveTo>
                    <a:pt x="255" y="963"/>
                  </a:moveTo>
                  <a:lnTo>
                    <a:pt x="1394" y="1551"/>
                  </a:lnTo>
                  <a:lnTo>
                    <a:pt x="1399" y="1554"/>
                  </a:lnTo>
                  <a:lnTo>
                    <a:pt x="1403" y="1557"/>
                  </a:lnTo>
                  <a:lnTo>
                    <a:pt x="1408" y="1561"/>
                  </a:lnTo>
                  <a:lnTo>
                    <a:pt x="1411" y="1565"/>
                  </a:lnTo>
                  <a:lnTo>
                    <a:pt x="1413" y="1569"/>
                  </a:lnTo>
                  <a:lnTo>
                    <a:pt x="1415" y="1574"/>
                  </a:lnTo>
                  <a:lnTo>
                    <a:pt x="1417" y="1578"/>
                  </a:lnTo>
                  <a:lnTo>
                    <a:pt x="1418" y="1583"/>
                  </a:lnTo>
                  <a:lnTo>
                    <a:pt x="1418" y="1588"/>
                  </a:lnTo>
                  <a:lnTo>
                    <a:pt x="1418" y="1593"/>
                  </a:lnTo>
                  <a:lnTo>
                    <a:pt x="1417" y="1599"/>
                  </a:lnTo>
                  <a:lnTo>
                    <a:pt x="1416" y="1605"/>
                  </a:lnTo>
                  <a:lnTo>
                    <a:pt x="1414" y="1610"/>
                  </a:lnTo>
                  <a:lnTo>
                    <a:pt x="1412" y="1614"/>
                  </a:lnTo>
                  <a:lnTo>
                    <a:pt x="1409" y="1619"/>
                  </a:lnTo>
                  <a:lnTo>
                    <a:pt x="1405" y="1624"/>
                  </a:lnTo>
                  <a:lnTo>
                    <a:pt x="978" y="2151"/>
                  </a:lnTo>
                  <a:lnTo>
                    <a:pt x="969" y="2162"/>
                  </a:lnTo>
                  <a:lnTo>
                    <a:pt x="958" y="2172"/>
                  </a:lnTo>
                  <a:lnTo>
                    <a:pt x="948" y="2181"/>
                  </a:lnTo>
                  <a:lnTo>
                    <a:pt x="938" y="2188"/>
                  </a:lnTo>
                  <a:lnTo>
                    <a:pt x="926" y="2195"/>
                  </a:lnTo>
                  <a:lnTo>
                    <a:pt x="915" y="2200"/>
                  </a:lnTo>
                  <a:lnTo>
                    <a:pt x="904" y="2204"/>
                  </a:lnTo>
                  <a:lnTo>
                    <a:pt x="893" y="2208"/>
                  </a:lnTo>
                  <a:lnTo>
                    <a:pt x="882" y="2209"/>
                  </a:lnTo>
                  <a:lnTo>
                    <a:pt x="871" y="2210"/>
                  </a:lnTo>
                  <a:lnTo>
                    <a:pt x="859" y="2209"/>
                  </a:lnTo>
                  <a:lnTo>
                    <a:pt x="848" y="2208"/>
                  </a:lnTo>
                  <a:lnTo>
                    <a:pt x="837" y="2206"/>
                  </a:lnTo>
                  <a:lnTo>
                    <a:pt x="826" y="2201"/>
                  </a:lnTo>
                  <a:lnTo>
                    <a:pt x="815" y="2197"/>
                  </a:lnTo>
                  <a:lnTo>
                    <a:pt x="803" y="2192"/>
                  </a:lnTo>
                  <a:lnTo>
                    <a:pt x="74" y="1816"/>
                  </a:lnTo>
                  <a:lnTo>
                    <a:pt x="64" y="1810"/>
                  </a:lnTo>
                  <a:lnTo>
                    <a:pt x="54" y="1803"/>
                  </a:lnTo>
                  <a:lnTo>
                    <a:pt x="45" y="1796"/>
                  </a:lnTo>
                  <a:lnTo>
                    <a:pt x="37" y="1789"/>
                  </a:lnTo>
                  <a:lnTo>
                    <a:pt x="28" y="1779"/>
                  </a:lnTo>
                  <a:lnTo>
                    <a:pt x="21" y="1771"/>
                  </a:lnTo>
                  <a:lnTo>
                    <a:pt x="15" y="1761"/>
                  </a:lnTo>
                  <a:lnTo>
                    <a:pt x="10" y="1751"/>
                  </a:lnTo>
                  <a:lnTo>
                    <a:pt x="6" y="1741"/>
                  </a:lnTo>
                  <a:lnTo>
                    <a:pt x="3" y="1729"/>
                  </a:lnTo>
                  <a:lnTo>
                    <a:pt x="1" y="1717"/>
                  </a:lnTo>
                  <a:lnTo>
                    <a:pt x="0" y="1704"/>
                  </a:lnTo>
                  <a:lnTo>
                    <a:pt x="0" y="1691"/>
                  </a:lnTo>
                  <a:lnTo>
                    <a:pt x="1" y="1678"/>
                  </a:lnTo>
                  <a:lnTo>
                    <a:pt x="4" y="1664"/>
                  </a:lnTo>
                  <a:lnTo>
                    <a:pt x="7" y="1648"/>
                  </a:lnTo>
                  <a:lnTo>
                    <a:pt x="190" y="995"/>
                  </a:lnTo>
                  <a:lnTo>
                    <a:pt x="192" y="990"/>
                  </a:lnTo>
                  <a:lnTo>
                    <a:pt x="194" y="985"/>
                  </a:lnTo>
                  <a:lnTo>
                    <a:pt x="197" y="980"/>
                  </a:lnTo>
                  <a:lnTo>
                    <a:pt x="200" y="976"/>
                  </a:lnTo>
                  <a:lnTo>
                    <a:pt x="203" y="972"/>
                  </a:lnTo>
                  <a:lnTo>
                    <a:pt x="207" y="969"/>
                  </a:lnTo>
                  <a:lnTo>
                    <a:pt x="212" y="965"/>
                  </a:lnTo>
                  <a:lnTo>
                    <a:pt x="216" y="963"/>
                  </a:lnTo>
                  <a:lnTo>
                    <a:pt x="221" y="961"/>
                  </a:lnTo>
                  <a:lnTo>
                    <a:pt x="226" y="959"/>
                  </a:lnTo>
                  <a:lnTo>
                    <a:pt x="230" y="958"/>
                  </a:lnTo>
                  <a:lnTo>
                    <a:pt x="235" y="958"/>
                  </a:lnTo>
                  <a:lnTo>
                    <a:pt x="240" y="958"/>
                  </a:lnTo>
                  <a:lnTo>
                    <a:pt x="245" y="959"/>
                  </a:lnTo>
                  <a:lnTo>
                    <a:pt x="250" y="960"/>
                  </a:lnTo>
                  <a:lnTo>
                    <a:pt x="255" y="963"/>
                  </a:lnTo>
                  <a:close/>
                  <a:moveTo>
                    <a:pt x="560" y="2966"/>
                  </a:moveTo>
                  <a:lnTo>
                    <a:pt x="1474" y="2066"/>
                  </a:lnTo>
                  <a:lnTo>
                    <a:pt x="1478" y="2062"/>
                  </a:lnTo>
                  <a:lnTo>
                    <a:pt x="1482" y="2059"/>
                  </a:lnTo>
                  <a:lnTo>
                    <a:pt x="1487" y="2057"/>
                  </a:lnTo>
                  <a:lnTo>
                    <a:pt x="1491" y="2055"/>
                  </a:lnTo>
                  <a:lnTo>
                    <a:pt x="1496" y="2054"/>
                  </a:lnTo>
                  <a:lnTo>
                    <a:pt x="1501" y="2053"/>
                  </a:lnTo>
                  <a:lnTo>
                    <a:pt x="1506" y="2054"/>
                  </a:lnTo>
                  <a:lnTo>
                    <a:pt x="1511" y="2054"/>
                  </a:lnTo>
                  <a:lnTo>
                    <a:pt x="1516" y="2055"/>
                  </a:lnTo>
                  <a:lnTo>
                    <a:pt x="1521" y="2057"/>
                  </a:lnTo>
                  <a:lnTo>
                    <a:pt x="1526" y="2059"/>
                  </a:lnTo>
                  <a:lnTo>
                    <a:pt x="1531" y="2062"/>
                  </a:lnTo>
                  <a:lnTo>
                    <a:pt x="1535" y="2065"/>
                  </a:lnTo>
                  <a:lnTo>
                    <a:pt x="1539" y="2069"/>
                  </a:lnTo>
                  <a:lnTo>
                    <a:pt x="1543" y="2073"/>
                  </a:lnTo>
                  <a:lnTo>
                    <a:pt x="1546" y="2077"/>
                  </a:lnTo>
                  <a:lnTo>
                    <a:pt x="1914" y="2647"/>
                  </a:lnTo>
                  <a:lnTo>
                    <a:pt x="1922" y="2660"/>
                  </a:lnTo>
                  <a:lnTo>
                    <a:pt x="1928" y="2673"/>
                  </a:lnTo>
                  <a:lnTo>
                    <a:pt x="1933" y="2685"/>
                  </a:lnTo>
                  <a:lnTo>
                    <a:pt x="1937" y="2699"/>
                  </a:lnTo>
                  <a:lnTo>
                    <a:pt x="1940" y="2711"/>
                  </a:lnTo>
                  <a:lnTo>
                    <a:pt x="1941" y="2723"/>
                  </a:lnTo>
                  <a:lnTo>
                    <a:pt x="1942" y="2734"/>
                  </a:lnTo>
                  <a:lnTo>
                    <a:pt x="1941" y="2745"/>
                  </a:lnTo>
                  <a:lnTo>
                    <a:pt x="1939" y="2758"/>
                  </a:lnTo>
                  <a:lnTo>
                    <a:pt x="1936" y="2768"/>
                  </a:lnTo>
                  <a:lnTo>
                    <a:pt x="1933" y="2779"/>
                  </a:lnTo>
                  <a:lnTo>
                    <a:pt x="1928" y="2789"/>
                  </a:lnTo>
                  <a:lnTo>
                    <a:pt x="1922" y="2799"/>
                  </a:lnTo>
                  <a:lnTo>
                    <a:pt x="1915" y="2808"/>
                  </a:lnTo>
                  <a:lnTo>
                    <a:pt x="1908" y="2818"/>
                  </a:lnTo>
                  <a:lnTo>
                    <a:pt x="1900" y="2827"/>
                  </a:lnTo>
                  <a:lnTo>
                    <a:pt x="1315" y="3402"/>
                  </a:lnTo>
                  <a:lnTo>
                    <a:pt x="1307" y="3410"/>
                  </a:lnTo>
                  <a:lnTo>
                    <a:pt x="1297" y="3419"/>
                  </a:lnTo>
                  <a:lnTo>
                    <a:pt x="1288" y="3425"/>
                  </a:lnTo>
                  <a:lnTo>
                    <a:pt x="1277" y="3431"/>
                  </a:lnTo>
                  <a:lnTo>
                    <a:pt x="1267" y="3435"/>
                  </a:lnTo>
                  <a:lnTo>
                    <a:pt x="1256" y="3439"/>
                  </a:lnTo>
                  <a:lnTo>
                    <a:pt x="1245" y="3442"/>
                  </a:lnTo>
                  <a:lnTo>
                    <a:pt x="1234" y="3443"/>
                  </a:lnTo>
                  <a:lnTo>
                    <a:pt x="1222" y="3444"/>
                  </a:lnTo>
                  <a:lnTo>
                    <a:pt x="1211" y="3443"/>
                  </a:lnTo>
                  <a:lnTo>
                    <a:pt x="1199" y="3442"/>
                  </a:lnTo>
                  <a:lnTo>
                    <a:pt x="1187" y="3439"/>
                  </a:lnTo>
                  <a:lnTo>
                    <a:pt x="1174" y="3435"/>
                  </a:lnTo>
                  <a:lnTo>
                    <a:pt x="1161" y="3430"/>
                  </a:lnTo>
                  <a:lnTo>
                    <a:pt x="1148" y="3423"/>
                  </a:lnTo>
                  <a:lnTo>
                    <a:pt x="1136" y="3415"/>
                  </a:lnTo>
                  <a:lnTo>
                    <a:pt x="572" y="3038"/>
                  </a:lnTo>
                  <a:lnTo>
                    <a:pt x="567" y="3035"/>
                  </a:lnTo>
                  <a:lnTo>
                    <a:pt x="563" y="3031"/>
                  </a:lnTo>
                  <a:lnTo>
                    <a:pt x="559" y="3027"/>
                  </a:lnTo>
                  <a:lnTo>
                    <a:pt x="556" y="3023"/>
                  </a:lnTo>
                  <a:lnTo>
                    <a:pt x="553" y="3018"/>
                  </a:lnTo>
                  <a:lnTo>
                    <a:pt x="551" y="3014"/>
                  </a:lnTo>
                  <a:lnTo>
                    <a:pt x="549" y="3009"/>
                  </a:lnTo>
                  <a:lnTo>
                    <a:pt x="548" y="3004"/>
                  </a:lnTo>
                  <a:lnTo>
                    <a:pt x="548" y="2999"/>
                  </a:lnTo>
                  <a:lnTo>
                    <a:pt x="548" y="2994"/>
                  </a:lnTo>
                  <a:lnTo>
                    <a:pt x="548" y="2988"/>
                  </a:lnTo>
                  <a:lnTo>
                    <a:pt x="549" y="2983"/>
                  </a:lnTo>
                  <a:lnTo>
                    <a:pt x="551" y="2978"/>
                  </a:lnTo>
                  <a:lnTo>
                    <a:pt x="553" y="2974"/>
                  </a:lnTo>
                  <a:lnTo>
                    <a:pt x="556" y="2970"/>
                  </a:lnTo>
                  <a:lnTo>
                    <a:pt x="560" y="2966"/>
                  </a:lnTo>
                  <a:close/>
                  <a:moveTo>
                    <a:pt x="2570" y="3292"/>
                  </a:moveTo>
                  <a:lnTo>
                    <a:pt x="1990" y="2150"/>
                  </a:lnTo>
                  <a:lnTo>
                    <a:pt x="1987" y="2144"/>
                  </a:lnTo>
                  <a:lnTo>
                    <a:pt x="1986" y="2139"/>
                  </a:lnTo>
                  <a:lnTo>
                    <a:pt x="1985" y="2134"/>
                  </a:lnTo>
                  <a:lnTo>
                    <a:pt x="1985" y="2128"/>
                  </a:lnTo>
                  <a:lnTo>
                    <a:pt x="1986" y="2124"/>
                  </a:lnTo>
                  <a:lnTo>
                    <a:pt x="1987" y="2119"/>
                  </a:lnTo>
                  <a:lnTo>
                    <a:pt x="1988" y="2114"/>
                  </a:lnTo>
                  <a:lnTo>
                    <a:pt x="1990" y="2110"/>
                  </a:lnTo>
                  <a:lnTo>
                    <a:pt x="1993" y="2105"/>
                  </a:lnTo>
                  <a:lnTo>
                    <a:pt x="1996" y="2101"/>
                  </a:lnTo>
                  <a:lnTo>
                    <a:pt x="2000" y="2098"/>
                  </a:lnTo>
                  <a:lnTo>
                    <a:pt x="2003" y="2094"/>
                  </a:lnTo>
                  <a:lnTo>
                    <a:pt x="2009" y="2091"/>
                  </a:lnTo>
                  <a:lnTo>
                    <a:pt x="2013" y="2088"/>
                  </a:lnTo>
                  <a:lnTo>
                    <a:pt x="2018" y="2086"/>
                  </a:lnTo>
                  <a:lnTo>
                    <a:pt x="2024" y="2084"/>
                  </a:lnTo>
                  <a:lnTo>
                    <a:pt x="2678" y="1906"/>
                  </a:lnTo>
                  <a:lnTo>
                    <a:pt x="2693" y="1902"/>
                  </a:lnTo>
                  <a:lnTo>
                    <a:pt x="2707" y="1899"/>
                  </a:lnTo>
                  <a:lnTo>
                    <a:pt x="2720" y="1898"/>
                  </a:lnTo>
                  <a:lnTo>
                    <a:pt x="2734" y="1898"/>
                  </a:lnTo>
                  <a:lnTo>
                    <a:pt x="2746" y="1900"/>
                  </a:lnTo>
                  <a:lnTo>
                    <a:pt x="2758" y="1902"/>
                  </a:lnTo>
                  <a:lnTo>
                    <a:pt x="2769" y="1906"/>
                  </a:lnTo>
                  <a:lnTo>
                    <a:pt x="2780" y="1910"/>
                  </a:lnTo>
                  <a:lnTo>
                    <a:pt x="2791" y="1915"/>
                  </a:lnTo>
                  <a:lnTo>
                    <a:pt x="2800" y="1921"/>
                  </a:lnTo>
                  <a:lnTo>
                    <a:pt x="2809" y="1928"/>
                  </a:lnTo>
                  <a:lnTo>
                    <a:pt x="2817" y="1936"/>
                  </a:lnTo>
                  <a:lnTo>
                    <a:pt x="2825" y="1944"/>
                  </a:lnTo>
                  <a:lnTo>
                    <a:pt x="2832" y="1953"/>
                  </a:lnTo>
                  <a:lnTo>
                    <a:pt x="2838" y="1963"/>
                  </a:lnTo>
                  <a:lnTo>
                    <a:pt x="2845" y="1974"/>
                  </a:lnTo>
                  <a:lnTo>
                    <a:pt x="3216" y="2706"/>
                  </a:lnTo>
                  <a:lnTo>
                    <a:pt x="3221" y="2717"/>
                  </a:lnTo>
                  <a:lnTo>
                    <a:pt x="3225" y="2727"/>
                  </a:lnTo>
                  <a:lnTo>
                    <a:pt x="3229" y="2739"/>
                  </a:lnTo>
                  <a:lnTo>
                    <a:pt x="3231" y="2751"/>
                  </a:lnTo>
                  <a:lnTo>
                    <a:pt x="3232" y="2762"/>
                  </a:lnTo>
                  <a:lnTo>
                    <a:pt x="3233" y="2773"/>
                  </a:lnTo>
                  <a:lnTo>
                    <a:pt x="3232" y="2784"/>
                  </a:lnTo>
                  <a:lnTo>
                    <a:pt x="3230" y="2795"/>
                  </a:lnTo>
                  <a:lnTo>
                    <a:pt x="3227" y="2806"/>
                  </a:lnTo>
                  <a:lnTo>
                    <a:pt x="3223" y="2818"/>
                  </a:lnTo>
                  <a:lnTo>
                    <a:pt x="3218" y="2829"/>
                  </a:lnTo>
                  <a:lnTo>
                    <a:pt x="3212" y="2839"/>
                  </a:lnTo>
                  <a:lnTo>
                    <a:pt x="3204" y="2850"/>
                  </a:lnTo>
                  <a:lnTo>
                    <a:pt x="3194" y="2860"/>
                  </a:lnTo>
                  <a:lnTo>
                    <a:pt x="3184" y="2871"/>
                  </a:lnTo>
                  <a:lnTo>
                    <a:pt x="3173" y="2881"/>
                  </a:lnTo>
                  <a:lnTo>
                    <a:pt x="2643" y="3304"/>
                  </a:lnTo>
                  <a:lnTo>
                    <a:pt x="2638" y="3307"/>
                  </a:lnTo>
                  <a:lnTo>
                    <a:pt x="2633" y="3310"/>
                  </a:lnTo>
                  <a:lnTo>
                    <a:pt x="2629" y="3312"/>
                  </a:lnTo>
                  <a:lnTo>
                    <a:pt x="2624" y="3314"/>
                  </a:lnTo>
                  <a:lnTo>
                    <a:pt x="2619" y="3315"/>
                  </a:lnTo>
                  <a:lnTo>
                    <a:pt x="2613" y="3316"/>
                  </a:lnTo>
                  <a:lnTo>
                    <a:pt x="2608" y="3316"/>
                  </a:lnTo>
                  <a:lnTo>
                    <a:pt x="2603" y="3315"/>
                  </a:lnTo>
                  <a:lnTo>
                    <a:pt x="2598" y="3314"/>
                  </a:lnTo>
                  <a:lnTo>
                    <a:pt x="2593" y="3313"/>
                  </a:lnTo>
                  <a:lnTo>
                    <a:pt x="2588" y="3311"/>
                  </a:lnTo>
                  <a:lnTo>
                    <a:pt x="2584" y="3308"/>
                  </a:lnTo>
                  <a:lnTo>
                    <a:pt x="2580" y="3305"/>
                  </a:lnTo>
                  <a:lnTo>
                    <a:pt x="2576" y="3302"/>
                  </a:lnTo>
                  <a:lnTo>
                    <a:pt x="2573" y="3297"/>
                  </a:lnTo>
                  <a:lnTo>
                    <a:pt x="2570" y="3292"/>
                  </a:lnTo>
                  <a:close/>
                  <a:moveTo>
                    <a:pt x="3494" y="1498"/>
                  </a:moveTo>
                  <a:lnTo>
                    <a:pt x="2227" y="1688"/>
                  </a:lnTo>
                  <a:lnTo>
                    <a:pt x="2222" y="1688"/>
                  </a:lnTo>
                  <a:lnTo>
                    <a:pt x="2216" y="1688"/>
                  </a:lnTo>
                  <a:lnTo>
                    <a:pt x="2211" y="1687"/>
                  </a:lnTo>
                  <a:lnTo>
                    <a:pt x="2206" y="1686"/>
                  </a:lnTo>
                  <a:lnTo>
                    <a:pt x="2202" y="1684"/>
                  </a:lnTo>
                  <a:lnTo>
                    <a:pt x="2198" y="1681"/>
                  </a:lnTo>
                  <a:lnTo>
                    <a:pt x="2194" y="1678"/>
                  </a:lnTo>
                  <a:lnTo>
                    <a:pt x="2190" y="1675"/>
                  </a:lnTo>
                  <a:lnTo>
                    <a:pt x="2187" y="1671"/>
                  </a:lnTo>
                  <a:lnTo>
                    <a:pt x="2183" y="1667"/>
                  </a:lnTo>
                  <a:lnTo>
                    <a:pt x="2181" y="1661"/>
                  </a:lnTo>
                  <a:lnTo>
                    <a:pt x="2179" y="1657"/>
                  </a:lnTo>
                  <a:lnTo>
                    <a:pt x="2177" y="1652"/>
                  </a:lnTo>
                  <a:lnTo>
                    <a:pt x="2176" y="1646"/>
                  </a:lnTo>
                  <a:lnTo>
                    <a:pt x="2176" y="1641"/>
                  </a:lnTo>
                  <a:lnTo>
                    <a:pt x="2176" y="1635"/>
                  </a:lnTo>
                  <a:lnTo>
                    <a:pt x="2213" y="959"/>
                  </a:lnTo>
                  <a:lnTo>
                    <a:pt x="2214" y="944"/>
                  </a:lnTo>
                  <a:lnTo>
                    <a:pt x="2217" y="929"/>
                  </a:lnTo>
                  <a:lnTo>
                    <a:pt x="2220" y="915"/>
                  </a:lnTo>
                  <a:lnTo>
                    <a:pt x="2224" y="903"/>
                  </a:lnTo>
                  <a:lnTo>
                    <a:pt x="2229" y="892"/>
                  </a:lnTo>
                  <a:lnTo>
                    <a:pt x="2235" y="881"/>
                  </a:lnTo>
                  <a:lnTo>
                    <a:pt x="2241" y="871"/>
                  </a:lnTo>
                  <a:lnTo>
                    <a:pt x="2250" y="862"/>
                  </a:lnTo>
                  <a:lnTo>
                    <a:pt x="2257" y="854"/>
                  </a:lnTo>
                  <a:lnTo>
                    <a:pt x="2266" y="847"/>
                  </a:lnTo>
                  <a:lnTo>
                    <a:pt x="2275" y="841"/>
                  </a:lnTo>
                  <a:lnTo>
                    <a:pt x="2285" y="836"/>
                  </a:lnTo>
                  <a:lnTo>
                    <a:pt x="2296" y="831"/>
                  </a:lnTo>
                  <a:lnTo>
                    <a:pt x="2307" y="827"/>
                  </a:lnTo>
                  <a:lnTo>
                    <a:pt x="2319" y="824"/>
                  </a:lnTo>
                  <a:lnTo>
                    <a:pt x="2331" y="822"/>
                  </a:lnTo>
                  <a:lnTo>
                    <a:pt x="3142" y="700"/>
                  </a:lnTo>
                  <a:lnTo>
                    <a:pt x="3154" y="699"/>
                  </a:lnTo>
                  <a:lnTo>
                    <a:pt x="3166" y="699"/>
                  </a:lnTo>
                  <a:lnTo>
                    <a:pt x="3177" y="699"/>
                  </a:lnTo>
                  <a:lnTo>
                    <a:pt x="3189" y="700"/>
                  </a:lnTo>
                  <a:lnTo>
                    <a:pt x="3200" y="702"/>
                  </a:lnTo>
                  <a:lnTo>
                    <a:pt x="3211" y="706"/>
                  </a:lnTo>
                  <a:lnTo>
                    <a:pt x="3222" y="710"/>
                  </a:lnTo>
                  <a:lnTo>
                    <a:pt x="3232" y="715"/>
                  </a:lnTo>
                  <a:lnTo>
                    <a:pt x="3241" y="721"/>
                  </a:lnTo>
                  <a:lnTo>
                    <a:pt x="3250" y="728"/>
                  </a:lnTo>
                  <a:lnTo>
                    <a:pt x="3259" y="737"/>
                  </a:lnTo>
                  <a:lnTo>
                    <a:pt x="3268" y="746"/>
                  </a:lnTo>
                  <a:lnTo>
                    <a:pt x="3275" y="758"/>
                  </a:lnTo>
                  <a:lnTo>
                    <a:pt x="3282" y="769"/>
                  </a:lnTo>
                  <a:lnTo>
                    <a:pt x="3289" y="782"/>
                  </a:lnTo>
                  <a:lnTo>
                    <a:pt x="3294" y="796"/>
                  </a:lnTo>
                  <a:lnTo>
                    <a:pt x="3529" y="1433"/>
                  </a:lnTo>
                  <a:lnTo>
                    <a:pt x="3530" y="1438"/>
                  </a:lnTo>
                  <a:lnTo>
                    <a:pt x="3531" y="1443"/>
                  </a:lnTo>
                  <a:lnTo>
                    <a:pt x="3532" y="1449"/>
                  </a:lnTo>
                  <a:lnTo>
                    <a:pt x="3532" y="1454"/>
                  </a:lnTo>
                  <a:lnTo>
                    <a:pt x="3531" y="1459"/>
                  </a:lnTo>
                  <a:lnTo>
                    <a:pt x="3530" y="1464"/>
                  </a:lnTo>
                  <a:lnTo>
                    <a:pt x="3529" y="1469"/>
                  </a:lnTo>
                  <a:lnTo>
                    <a:pt x="3527" y="1474"/>
                  </a:lnTo>
                  <a:lnTo>
                    <a:pt x="3525" y="1478"/>
                  </a:lnTo>
                  <a:lnTo>
                    <a:pt x="3522" y="1483"/>
                  </a:lnTo>
                  <a:lnTo>
                    <a:pt x="3518" y="1487"/>
                  </a:lnTo>
                  <a:lnTo>
                    <a:pt x="3515" y="1490"/>
                  </a:lnTo>
                  <a:lnTo>
                    <a:pt x="3510" y="1493"/>
                  </a:lnTo>
                  <a:lnTo>
                    <a:pt x="3506" y="1495"/>
                  </a:lnTo>
                  <a:lnTo>
                    <a:pt x="3501" y="1497"/>
                  </a:lnTo>
                  <a:lnTo>
                    <a:pt x="3494" y="1498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469797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Вертикальный заголовок и текст"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3"/>
          <p:cNvSpPr>
            <a:spLocks noChangeAspect="1" noChangeArrowheads="1" noTextEdit="1"/>
          </p:cNvSpPr>
          <p:nvPr userDrawn="1"/>
        </p:nvSpPr>
        <p:spPr bwMode="auto">
          <a:xfrm>
            <a:off x="15" y="393700"/>
            <a:ext cx="9906000" cy="646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Freeform 6"/>
          <p:cNvSpPr>
            <a:spLocks/>
          </p:cNvSpPr>
          <p:nvPr userDrawn="1"/>
        </p:nvSpPr>
        <p:spPr bwMode="auto">
          <a:xfrm>
            <a:off x="6719242" y="2214742"/>
            <a:ext cx="990600" cy="2163763"/>
          </a:xfrm>
          <a:custGeom>
            <a:avLst/>
            <a:gdLst>
              <a:gd name="T0" fmla="*/ 1727 w 1727"/>
              <a:gd name="T1" fmla="*/ 4091 h 4091"/>
              <a:gd name="T2" fmla="*/ 356 w 1727"/>
              <a:gd name="T3" fmla="*/ 3560 h 4091"/>
              <a:gd name="T4" fmla="*/ 329 w 1727"/>
              <a:gd name="T5" fmla="*/ 3550 h 4091"/>
              <a:gd name="T6" fmla="*/ 304 w 1727"/>
              <a:gd name="T7" fmla="*/ 3538 h 4091"/>
              <a:gd name="T8" fmla="*/ 279 w 1727"/>
              <a:gd name="T9" fmla="*/ 3526 h 4091"/>
              <a:gd name="T10" fmla="*/ 256 w 1727"/>
              <a:gd name="T11" fmla="*/ 3514 h 4091"/>
              <a:gd name="T12" fmla="*/ 234 w 1727"/>
              <a:gd name="T13" fmla="*/ 3501 h 4091"/>
              <a:gd name="T14" fmla="*/ 213 w 1727"/>
              <a:gd name="T15" fmla="*/ 3487 h 4091"/>
              <a:gd name="T16" fmla="*/ 193 w 1727"/>
              <a:gd name="T17" fmla="*/ 3473 h 4091"/>
              <a:gd name="T18" fmla="*/ 174 w 1727"/>
              <a:gd name="T19" fmla="*/ 3458 h 4091"/>
              <a:gd name="T20" fmla="*/ 156 w 1727"/>
              <a:gd name="T21" fmla="*/ 3443 h 4091"/>
              <a:gd name="T22" fmla="*/ 140 w 1727"/>
              <a:gd name="T23" fmla="*/ 3428 h 4091"/>
              <a:gd name="T24" fmla="*/ 123 w 1727"/>
              <a:gd name="T25" fmla="*/ 3411 h 4091"/>
              <a:gd name="T26" fmla="*/ 108 w 1727"/>
              <a:gd name="T27" fmla="*/ 3394 h 4091"/>
              <a:gd name="T28" fmla="*/ 94 w 1727"/>
              <a:gd name="T29" fmla="*/ 3378 h 4091"/>
              <a:gd name="T30" fmla="*/ 81 w 1727"/>
              <a:gd name="T31" fmla="*/ 3360 h 4091"/>
              <a:gd name="T32" fmla="*/ 69 w 1727"/>
              <a:gd name="T33" fmla="*/ 3342 h 4091"/>
              <a:gd name="T34" fmla="*/ 59 w 1727"/>
              <a:gd name="T35" fmla="*/ 3324 h 4091"/>
              <a:gd name="T36" fmla="*/ 49 w 1727"/>
              <a:gd name="T37" fmla="*/ 3306 h 4091"/>
              <a:gd name="T38" fmla="*/ 40 w 1727"/>
              <a:gd name="T39" fmla="*/ 3286 h 4091"/>
              <a:gd name="T40" fmla="*/ 32 w 1727"/>
              <a:gd name="T41" fmla="*/ 3267 h 4091"/>
              <a:gd name="T42" fmla="*/ 25 w 1727"/>
              <a:gd name="T43" fmla="*/ 3247 h 4091"/>
              <a:gd name="T44" fmla="*/ 19 w 1727"/>
              <a:gd name="T45" fmla="*/ 3227 h 4091"/>
              <a:gd name="T46" fmla="*/ 13 w 1727"/>
              <a:gd name="T47" fmla="*/ 3207 h 4091"/>
              <a:gd name="T48" fmla="*/ 9 w 1727"/>
              <a:gd name="T49" fmla="*/ 3187 h 4091"/>
              <a:gd name="T50" fmla="*/ 6 w 1727"/>
              <a:gd name="T51" fmla="*/ 3165 h 4091"/>
              <a:gd name="T52" fmla="*/ 4 w 1727"/>
              <a:gd name="T53" fmla="*/ 3145 h 4091"/>
              <a:gd name="T54" fmla="*/ 1 w 1727"/>
              <a:gd name="T55" fmla="*/ 3123 h 4091"/>
              <a:gd name="T56" fmla="*/ 0 w 1727"/>
              <a:gd name="T57" fmla="*/ 3102 h 4091"/>
              <a:gd name="T58" fmla="*/ 0 w 1727"/>
              <a:gd name="T59" fmla="*/ 3080 h 4091"/>
              <a:gd name="T60" fmla="*/ 1 w 1727"/>
              <a:gd name="T61" fmla="*/ 3058 h 4091"/>
              <a:gd name="T62" fmla="*/ 4 w 1727"/>
              <a:gd name="T63" fmla="*/ 3036 h 4091"/>
              <a:gd name="T64" fmla="*/ 6 w 1727"/>
              <a:gd name="T65" fmla="*/ 3014 h 4091"/>
              <a:gd name="T66" fmla="*/ 9 w 1727"/>
              <a:gd name="T67" fmla="*/ 2991 h 4091"/>
              <a:gd name="T68" fmla="*/ 508 w 1727"/>
              <a:gd name="T69" fmla="*/ 0 h 4091"/>
              <a:gd name="T70" fmla="*/ 482 w 1727"/>
              <a:gd name="T71" fmla="*/ 2806 h 4091"/>
              <a:gd name="T72" fmla="*/ 483 w 1727"/>
              <a:gd name="T73" fmla="*/ 2832 h 4091"/>
              <a:gd name="T74" fmla="*/ 484 w 1727"/>
              <a:gd name="T75" fmla="*/ 2859 h 4091"/>
              <a:gd name="T76" fmla="*/ 487 w 1727"/>
              <a:gd name="T77" fmla="*/ 2885 h 4091"/>
              <a:gd name="T78" fmla="*/ 492 w 1727"/>
              <a:gd name="T79" fmla="*/ 2910 h 4091"/>
              <a:gd name="T80" fmla="*/ 497 w 1727"/>
              <a:gd name="T81" fmla="*/ 2937 h 4091"/>
              <a:gd name="T82" fmla="*/ 504 w 1727"/>
              <a:gd name="T83" fmla="*/ 2963 h 4091"/>
              <a:gd name="T84" fmla="*/ 511 w 1727"/>
              <a:gd name="T85" fmla="*/ 2989 h 4091"/>
              <a:gd name="T86" fmla="*/ 521 w 1727"/>
              <a:gd name="T87" fmla="*/ 3015 h 4091"/>
              <a:gd name="T88" fmla="*/ 531 w 1727"/>
              <a:gd name="T89" fmla="*/ 3039 h 4091"/>
              <a:gd name="T90" fmla="*/ 542 w 1727"/>
              <a:gd name="T91" fmla="*/ 3064 h 4091"/>
              <a:gd name="T92" fmla="*/ 555 w 1727"/>
              <a:gd name="T93" fmla="*/ 3086 h 4091"/>
              <a:gd name="T94" fmla="*/ 569 w 1727"/>
              <a:gd name="T95" fmla="*/ 3109 h 4091"/>
              <a:gd name="T96" fmla="*/ 585 w 1727"/>
              <a:gd name="T97" fmla="*/ 3131 h 4091"/>
              <a:gd name="T98" fmla="*/ 602 w 1727"/>
              <a:gd name="T99" fmla="*/ 3150 h 4091"/>
              <a:gd name="T100" fmla="*/ 619 w 1727"/>
              <a:gd name="T101" fmla="*/ 3168 h 4091"/>
              <a:gd name="T102" fmla="*/ 639 w 1727"/>
              <a:gd name="T103" fmla="*/ 3186 h 4091"/>
              <a:gd name="T104" fmla="*/ 1727 w 1727"/>
              <a:gd name="T105" fmla="*/ 4091 h 40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727" h="4091">
                <a:moveTo>
                  <a:pt x="1727" y="4091"/>
                </a:moveTo>
                <a:lnTo>
                  <a:pt x="356" y="3560"/>
                </a:lnTo>
                <a:lnTo>
                  <a:pt x="329" y="3550"/>
                </a:lnTo>
                <a:lnTo>
                  <a:pt x="304" y="3538"/>
                </a:lnTo>
                <a:lnTo>
                  <a:pt x="279" y="3526"/>
                </a:lnTo>
                <a:lnTo>
                  <a:pt x="256" y="3514"/>
                </a:lnTo>
                <a:lnTo>
                  <a:pt x="234" y="3501"/>
                </a:lnTo>
                <a:lnTo>
                  <a:pt x="213" y="3487"/>
                </a:lnTo>
                <a:lnTo>
                  <a:pt x="193" y="3473"/>
                </a:lnTo>
                <a:lnTo>
                  <a:pt x="174" y="3458"/>
                </a:lnTo>
                <a:lnTo>
                  <a:pt x="156" y="3443"/>
                </a:lnTo>
                <a:lnTo>
                  <a:pt x="140" y="3428"/>
                </a:lnTo>
                <a:lnTo>
                  <a:pt x="123" y="3411"/>
                </a:lnTo>
                <a:lnTo>
                  <a:pt x="108" y="3394"/>
                </a:lnTo>
                <a:lnTo>
                  <a:pt x="94" y="3378"/>
                </a:lnTo>
                <a:lnTo>
                  <a:pt x="81" y="3360"/>
                </a:lnTo>
                <a:lnTo>
                  <a:pt x="69" y="3342"/>
                </a:lnTo>
                <a:lnTo>
                  <a:pt x="59" y="3324"/>
                </a:lnTo>
                <a:lnTo>
                  <a:pt x="49" y="3306"/>
                </a:lnTo>
                <a:lnTo>
                  <a:pt x="40" y="3286"/>
                </a:lnTo>
                <a:lnTo>
                  <a:pt x="32" y="3267"/>
                </a:lnTo>
                <a:lnTo>
                  <a:pt x="25" y="3247"/>
                </a:lnTo>
                <a:lnTo>
                  <a:pt x="19" y="3227"/>
                </a:lnTo>
                <a:lnTo>
                  <a:pt x="13" y="3207"/>
                </a:lnTo>
                <a:lnTo>
                  <a:pt x="9" y="3187"/>
                </a:lnTo>
                <a:lnTo>
                  <a:pt x="6" y="3165"/>
                </a:lnTo>
                <a:lnTo>
                  <a:pt x="4" y="3145"/>
                </a:lnTo>
                <a:lnTo>
                  <a:pt x="1" y="3123"/>
                </a:lnTo>
                <a:lnTo>
                  <a:pt x="0" y="3102"/>
                </a:lnTo>
                <a:lnTo>
                  <a:pt x="0" y="3080"/>
                </a:lnTo>
                <a:lnTo>
                  <a:pt x="1" y="3058"/>
                </a:lnTo>
                <a:lnTo>
                  <a:pt x="4" y="3036"/>
                </a:lnTo>
                <a:lnTo>
                  <a:pt x="6" y="3014"/>
                </a:lnTo>
                <a:lnTo>
                  <a:pt x="9" y="2991"/>
                </a:lnTo>
                <a:lnTo>
                  <a:pt x="508" y="0"/>
                </a:lnTo>
                <a:lnTo>
                  <a:pt x="482" y="2806"/>
                </a:lnTo>
                <a:lnTo>
                  <a:pt x="483" y="2832"/>
                </a:lnTo>
                <a:lnTo>
                  <a:pt x="484" y="2859"/>
                </a:lnTo>
                <a:lnTo>
                  <a:pt x="487" y="2885"/>
                </a:lnTo>
                <a:lnTo>
                  <a:pt x="492" y="2910"/>
                </a:lnTo>
                <a:lnTo>
                  <a:pt x="497" y="2937"/>
                </a:lnTo>
                <a:lnTo>
                  <a:pt x="504" y="2963"/>
                </a:lnTo>
                <a:lnTo>
                  <a:pt x="511" y="2989"/>
                </a:lnTo>
                <a:lnTo>
                  <a:pt x="521" y="3015"/>
                </a:lnTo>
                <a:lnTo>
                  <a:pt x="531" y="3039"/>
                </a:lnTo>
                <a:lnTo>
                  <a:pt x="542" y="3064"/>
                </a:lnTo>
                <a:lnTo>
                  <a:pt x="555" y="3086"/>
                </a:lnTo>
                <a:lnTo>
                  <a:pt x="569" y="3109"/>
                </a:lnTo>
                <a:lnTo>
                  <a:pt x="585" y="3131"/>
                </a:lnTo>
                <a:lnTo>
                  <a:pt x="602" y="3150"/>
                </a:lnTo>
                <a:lnTo>
                  <a:pt x="619" y="3168"/>
                </a:lnTo>
                <a:lnTo>
                  <a:pt x="639" y="3186"/>
                </a:lnTo>
                <a:lnTo>
                  <a:pt x="1727" y="4091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Freeform 8"/>
          <p:cNvSpPr>
            <a:spLocks/>
          </p:cNvSpPr>
          <p:nvPr userDrawn="1"/>
        </p:nvSpPr>
        <p:spPr bwMode="auto">
          <a:xfrm>
            <a:off x="9102939" y="3473452"/>
            <a:ext cx="803143" cy="1114425"/>
          </a:xfrm>
          <a:custGeom>
            <a:avLst/>
            <a:gdLst>
              <a:gd name="T0" fmla="*/ 0 w 1401"/>
              <a:gd name="T1" fmla="*/ 2106 h 2106"/>
              <a:gd name="T2" fmla="*/ 81 w 1401"/>
              <a:gd name="T3" fmla="*/ 638 h 2106"/>
              <a:gd name="T4" fmla="*/ 82 w 1401"/>
              <a:gd name="T5" fmla="*/ 609 h 2106"/>
              <a:gd name="T6" fmla="*/ 86 w 1401"/>
              <a:gd name="T7" fmla="*/ 581 h 2106"/>
              <a:gd name="T8" fmla="*/ 90 w 1401"/>
              <a:gd name="T9" fmla="*/ 555 h 2106"/>
              <a:gd name="T10" fmla="*/ 94 w 1401"/>
              <a:gd name="T11" fmla="*/ 529 h 2106"/>
              <a:gd name="T12" fmla="*/ 100 w 1401"/>
              <a:gd name="T13" fmla="*/ 504 h 2106"/>
              <a:gd name="T14" fmla="*/ 106 w 1401"/>
              <a:gd name="T15" fmla="*/ 480 h 2106"/>
              <a:gd name="T16" fmla="*/ 114 w 1401"/>
              <a:gd name="T17" fmla="*/ 456 h 2106"/>
              <a:gd name="T18" fmla="*/ 122 w 1401"/>
              <a:gd name="T19" fmla="*/ 433 h 2106"/>
              <a:gd name="T20" fmla="*/ 131 w 1401"/>
              <a:gd name="T21" fmla="*/ 412 h 2106"/>
              <a:gd name="T22" fmla="*/ 141 w 1401"/>
              <a:gd name="T23" fmla="*/ 391 h 2106"/>
              <a:gd name="T24" fmla="*/ 151 w 1401"/>
              <a:gd name="T25" fmla="*/ 371 h 2106"/>
              <a:gd name="T26" fmla="*/ 162 w 1401"/>
              <a:gd name="T27" fmla="*/ 351 h 2106"/>
              <a:gd name="T28" fmla="*/ 174 w 1401"/>
              <a:gd name="T29" fmla="*/ 333 h 2106"/>
              <a:gd name="T30" fmla="*/ 187 w 1401"/>
              <a:gd name="T31" fmla="*/ 316 h 2106"/>
              <a:gd name="T32" fmla="*/ 200 w 1401"/>
              <a:gd name="T33" fmla="*/ 299 h 2106"/>
              <a:gd name="T34" fmla="*/ 214 w 1401"/>
              <a:gd name="T35" fmla="*/ 283 h 2106"/>
              <a:gd name="T36" fmla="*/ 229 w 1401"/>
              <a:gd name="T37" fmla="*/ 268 h 2106"/>
              <a:gd name="T38" fmla="*/ 244 w 1401"/>
              <a:gd name="T39" fmla="*/ 253 h 2106"/>
              <a:gd name="T40" fmla="*/ 259 w 1401"/>
              <a:gd name="T41" fmla="*/ 240 h 2106"/>
              <a:gd name="T42" fmla="*/ 277 w 1401"/>
              <a:gd name="T43" fmla="*/ 227 h 2106"/>
              <a:gd name="T44" fmla="*/ 294 w 1401"/>
              <a:gd name="T45" fmla="*/ 215 h 2106"/>
              <a:gd name="T46" fmla="*/ 311 w 1401"/>
              <a:gd name="T47" fmla="*/ 203 h 2106"/>
              <a:gd name="T48" fmla="*/ 330 w 1401"/>
              <a:gd name="T49" fmla="*/ 194 h 2106"/>
              <a:gd name="T50" fmla="*/ 348 w 1401"/>
              <a:gd name="T51" fmla="*/ 184 h 2106"/>
              <a:gd name="T52" fmla="*/ 367 w 1401"/>
              <a:gd name="T53" fmla="*/ 174 h 2106"/>
              <a:gd name="T54" fmla="*/ 387 w 1401"/>
              <a:gd name="T55" fmla="*/ 167 h 2106"/>
              <a:gd name="T56" fmla="*/ 407 w 1401"/>
              <a:gd name="T57" fmla="*/ 159 h 2106"/>
              <a:gd name="T58" fmla="*/ 428 w 1401"/>
              <a:gd name="T59" fmla="*/ 153 h 2106"/>
              <a:gd name="T60" fmla="*/ 450 w 1401"/>
              <a:gd name="T61" fmla="*/ 146 h 2106"/>
              <a:gd name="T62" fmla="*/ 471 w 1401"/>
              <a:gd name="T63" fmla="*/ 141 h 2106"/>
              <a:gd name="T64" fmla="*/ 493 w 1401"/>
              <a:gd name="T65" fmla="*/ 136 h 2106"/>
              <a:gd name="T66" fmla="*/ 515 w 1401"/>
              <a:gd name="T67" fmla="*/ 133 h 2106"/>
              <a:gd name="T68" fmla="*/ 1401 w 1401"/>
              <a:gd name="T69" fmla="*/ 0 h 2106"/>
              <a:gd name="T70" fmla="*/ 1401 w 1401"/>
              <a:gd name="T71" fmla="*/ 348 h 2106"/>
              <a:gd name="T72" fmla="*/ 837 w 1401"/>
              <a:gd name="T73" fmla="*/ 525 h 2106"/>
              <a:gd name="T74" fmla="*/ 813 w 1401"/>
              <a:gd name="T75" fmla="*/ 534 h 2106"/>
              <a:gd name="T76" fmla="*/ 789 w 1401"/>
              <a:gd name="T77" fmla="*/ 543 h 2106"/>
              <a:gd name="T78" fmla="*/ 765 w 1401"/>
              <a:gd name="T79" fmla="*/ 554 h 2106"/>
              <a:gd name="T80" fmla="*/ 740 w 1401"/>
              <a:gd name="T81" fmla="*/ 566 h 2106"/>
              <a:gd name="T82" fmla="*/ 717 w 1401"/>
              <a:gd name="T83" fmla="*/ 580 h 2106"/>
              <a:gd name="T84" fmla="*/ 695 w 1401"/>
              <a:gd name="T85" fmla="*/ 594 h 2106"/>
              <a:gd name="T86" fmla="*/ 672 w 1401"/>
              <a:gd name="T87" fmla="*/ 609 h 2106"/>
              <a:gd name="T88" fmla="*/ 650 w 1401"/>
              <a:gd name="T89" fmla="*/ 627 h 2106"/>
              <a:gd name="T90" fmla="*/ 631 w 1401"/>
              <a:gd name="T91" fmla="*/ 644 h 2106"/>
              <a:gd name="T92" fmla="*/ 612 w 1401"/>
              <a:gd name="T93" fmla="*/ 662 h 2106"/>
              <a:gd name="T94" fmla="*/ 593 w 1401"/>
              <a:gd name="T95" fmla="*/ 682 h 2106"/>
              <a:gd name="T96" fmla="*/ 576 w 1401"/>
              <a:gd name="T97" fmla="*/ 702 h 2106"/>
              <a:gd name="T98" fmla="*/ 561 w 1401"/>
              <a:gd name="T99" fmla="*/ 724 h 2106"/>
              <a:gd name="T100" fmla="*/ 547 w 1401"/>
              <a:gd name="T101" fmla="*/ 745 h 2106"/>
              <a:gd name="T102" fmla="*/ 535 w 1401"/>
              <a:gd name="T103" fmla="*/ 768 h 2106"/>
              <a:gd name="T104" fmla="*/ 524 w 1401"/>
              <a:gd name="T105" fmla="*/ 792 h 2106"/>
              <a:gd name="T106" fmla="*/ 0 w 1401"/>
              <a:gd name="T107" fmla="*/ 2106 h 2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401" h="2106">
                <a:moveTo>
                  <a:pt x="0" y="2106"/>
                </a:moveTo>
                <a:lnTo>
                  <a:pt x="81" y="638"/>
                </a:lnTo>
                <a:lnTo>
                  <a:pt x="82" y="609"/>
                </a:lnTo>
                <a:lnTo>
                  <a:pt x="86" y="581"/>
                </a:lnTo>
                <a:lnTo>
                  <a:pt x="90" y="555"/>
                </a:lnTo>
                <a:lnTo>
                  <a:pt x="94" y="529"/>
                </a:lnTo>
                <a:lnTo>
                  <a:pt x="100" y="504"/>
                </a:lnTo>
                <a:lnTo>
                  <a:pt x="106" y="480"/>
                </a:lnTo>
                <a:lnTo>
                  <a:pt x="114" y="456"/>
                </a:lnTo>
                <a:lnTo>
                  <a:pt x="122" y="433"/>
                </a:lnTo>
                <a:lnTo>
                  <a:pt x="131" y="412"/>
                </a:lnTo>
                <a:lnTo>
                  <a:pt x="141" y="391"/>
                </a:lnTo>
                <a:lnTo>
                  <a:pt x="151" y="371"/>
                </a:lnTo>
                <a:lnTo>
                  <a:pt x="162" y="351"/>
                </a:lnTo>
                <a:lnTo>
                  <a:pt x="174" y="333"/>
                </a:lnTo>
                <a:lnTo>
                  <a:pt x="187" y="316"/>
                </a:lnTo>
                <a:lnTo>
                  <a:pt x="200" y="299"/>
                </a:lnTo>
                <a:lnTo>
                  <a:pt x="214" y="283"/>
                </a:lnTo>
                <a:lnTo>
                  <a:pt x="229" y="268"/>
                </a:lnTo>
                <a:lnTo>
                  <a:pt x="244" y="253"/>
                </a:lnTo>
                <a:lnTo>
                  <a:pt x="259" y="240"/>
                </a:lnTo>
                <a:lnTo>
                  <a:pt x="277" y="227"/>
                </a:lnTo>
                <a:lnTo>
                  <a:pt x="294" y="215"/>
                </a:lnTo>
                <a:lnTo>
                  <a:pt x="311" y="203"/>
                </a:lnTo>
                <a:lnTo>
                  <a:pt x="330" y="194"/>
                </a:lnTo>
                <a:lnTo>
                  <a:pt x="348" y="184"/>
                </a:lnTo>
                <a:lnTo>
                  <a:pt x="367" y="174"/>
                </a:lnTo>
                <a:lnTo>
                  <a:pt x="387" y="167"/>
                </a:lnTo>
                <a:lnTo>
                  <a:pt x="407" y="159"/>
                </a:lnTo>
                <a:lnTo>
                  <a:pt x="428" y="153"/>
                </a:lnTo>
                <a:lnTo>
                  <a:pt x="450" y="146"/>
                </a:lnTo>
                <a:lnTo>
                  <a:pt x="471" y="141"/>
                </a:lnTo>
                <a:lnTo>
                  <a:pt x="493" y="136"/>
                </a:lnTo>
                <a:lnTo>
                  <a:pt x="515" y="133"/>
                </a:lnTo>
                <a:lnTo>
                  <a:pt x="1401" y="0"/>
                </a:lnTo>
                <a:lnTo>
                  <a:pt x="1401" y="348"/>
                </a:lnTo>
                <a:lnTo>
                  <a:pt x="837" y="525"/>
                </a:lnTo>
                <a:lnTo>
                  <a:pt x="813" y="534"/>
                </a:lnTo>
                <a:lnTo>
                  <a:pt x="789" y="543"/>
                </a:lnTo>
                <a:lnTo>
                  <a:pt x="765" y="554"/>
                </a:lnTo>
                <a:lnTo>
                  <a:pt x="740" y="566"/>
                </a:lnTo>
                <a:lnTo>
                  <a:pt x="717" y="580"/>
                </a:lnTo>
                <a:lnTo>
                  <a:pt x="695" y="594"/>
                </a:lnTo>
                <a:lnTo>
                  <a:pt x="672" y="609"/>
                </a:lnTo>
                <a:lnTo>
                  <a:pt x="650" y="627"/>
                </a:lnTo>
                <a:lnTo>
                  <a:pt x="631" y="644"/>
                </a:lnTo>
                <a:lnTo>
                  <a:pt x="612" y="662"/>
                </a:lnTo>
                <a:lnTo>
                  <a:pt x="593" y="682"/>
                </a:lnTo>
                <a:lnTo>
                  <a:pt x="576" y="702"/>
                </a:lnTo>
                <a:lnTo>
                  <a:pt x="561" y="724"/>
                </a:lnTo>
                <a:lnTo>
                  <a:pt x="547" y="745"/>
                </a:lnTo>
                <a:lnTo>
                  <a:pt x="535" y="768"/>
                </a:lnTo>
                <a:lnTo>
                  <a:pt x="524" y="792"/>
                </a:lnTo>
                <a:lnTo>
                  <a:pt x="0" y="2106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1" name="Freeform 10"/>
          <p:cNvSpPr>
            <a:spLocks/>
          </p:cNvSpPr>
          <p:nvPr userDrawn="1"/>
        </p:nvSpPr>
        <p:spPr bwMode="auto">
          <a:xfrm>
            <a:off x="9321287" y="5721350"/>
            <a:ext cx="584729" cy="179388"/>
          </a:xfrm>
          <a:custGeom>
            <a:avLst/>
            <a:gdLst>
              <a:gd name="T0" fmla="*/ 0 w 1021"/>
              <a:gd name="T1" fmla="*/ 278 h 338"/>
              <a:gd name="T2" fmla="*/ 1021 w 1021"/>
              <a:gd name="T3" fmla="*/ 0 h 338"/>
              <a:gd name="T4" fmla="*/ 1021 w 1021"/>
              <a:gd name="T5" fmla="*/ 338 h 338"/>
              <a:gd name="T6" fmla="*/ 0 w 1021"/>
              <a:gd name="T7" fmla="*/ 278 h 3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21" h="338">
                <a:moveTo>
                  <a:pt x="0" y="278"/>
                </a:moveTo>
                <a:lnTo>
                  <a:pt x="1021" y="0"/>
                </a:lnTo>
                <a:lnTo>
                  <a:pt x="1021" y="338"/>
                </a:lnTo>
                <a:lnTo>
                  <a:pt x="0" y="278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3" name="Freeform 12"/>
          <p:cNvSpPr>
            <a:spLocks/>
          </p:cNvSpPr>
          <p:nvPr userDrawn="1"/>
        </p:nvSpPr>
        <p:spPr bwMode="auto">
          <a:xfrm>
            <a:off x="8057225" y="6461304"/>
            <a:ext cx="278606" cy="396875"/>
          </a:xfrm>
          <a:custGeom>
            <a:avLst/>
            <a:gdLst>
              <a:gd name="T0" fmla="*/ 0 w 484"/>
              <a:gd name="T1" fmla="*/ 0 h 749"/>
              <a:gd name="T2" fmla="*/ 484 w 484"/>
              <a:gd name="T3" fmla="*/ 749 h 749"/>
              <a:gd name="T4" fmla="*/ 191 w 484"/>
              <a:gd name="T5" fmla="*/ 749 h 749"/>
              <a:gd name="T6" fmla="*/ 0 w 484"/>
              <a:gd name="T7" fmla="*/ 0 h 7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4" h="749">
                <a:moveTo>
                  <a:pt x="0" y="0"/>
                </a:moveTo>
                <a:lnTo>
                  <a:pt x="484" y="749"/>
                </a:lnTo>
                <a:lnTo>
                  <a:pt x="191" y="749"/>
                </a:lnTo>
                <a:lnTo>
                  <a:pt x="0" y="0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5" name="Freeform 14"/>
          <p:cNvSpPr>
            <a:spLocks/>
          </p:cNvSpPr>
          <p:nvPr userDrawn="1"/>
        </p:nvSpPr>
        <p:spPr bwMode="auto">
          <a:xfrm>
            <a:off x="4617648" y="5487988"/>
            <a:ext cx="2445544" cy="769938"/>
          </a:xfrm>
          <a:custGeom>
            <a:avLst/>
            <a:gdLst>
              <a:gd name="T0" fmla="*/ 4268 w 4268"/>
              <a:gd name="T1" fmla="*/ 95 h 1455"/>
              <a:gd name="T2" fmla="*/ 3342 w 4268"/>
              <a:gd name="T3" fmla="*/ 1237 h 1455"/>
              <a:gd name="T4" fmla="*/ 3324 w 4268"/>
              <a:gd name="T5" fmla="*/ 1259 h 1455"/>
              <a:gd name="T6" fmla="*/ 3305 w 4268"/>
              <a:gd name="T7" fmla="*/ 1280 h 1455"/>
              <a:gd name="T8" fmla="*/ 3287 w 4268"/>
              <a:gd name="T9" fmla="*/ 1300 h 1455"/>
              <a:gd name="T10" fmla="*/ 3268 w 4268"/>
              <a:gd name="T11" fmla="*/ 1317 h 1455"/>
              <a:gd name="T12" fmla="*/ 3248 w 4268"/>
              <a:gd name="T13" fmla="*/ 1334 h 1455"/>
              <a:gd name="T14" fmla="*/ 3229 w 4268"/>
              <a:gd name="T15" fmla="*/ 1351 h 1455"/>
              <a:gd name="T16" fmla="*/ 3209 w 4268"/>
              <a:gd name="T17" fmla="*/ 1366 h 1455"/>
              <a:gd name="T18" fmla="*/ 3190 w 4268"/>
              <a:gd name="T19" fmla="*/ 1379 h 1455"/>
              <a:gd name="T20" fmla="*/ 3169 w 4268"/>
              <a:gd name="T21" fmla="*/ 1392 h 1455"/>
              <a:gd name="T22" fmla="*/ 3150 w 4268"/>
              <a:gd name="T23" fmla="*/ 1402 h 1455"/>
              <a:gd name="T24" fmla="*/ 3129 w 4268"/>
              <a:gd name="T25" fmla="*/ 1412 h 1455"/>
              <a:gd name="T26" fmla="*/ 3109 w 4268"/>
              <a:gd name="T27" fmla="*/ 1422 h 1455"/>
              <a:gd name="T28" fmla="*/ 3088 w 4268"/>
              <a:gd name="T29" fmla="*/ 1429 h 1455"/>
              <a:gd name="T30" fmla="*/ 3068 w 4268"/>
              <a:gd name="T31" fmla="*/ 1436 h 1455"/>
              <a:gd name="T32" fmla="*/ 3047 w 4268"/>
              <a:gd name="T33" fmla="*/ 1442 h 1455"/>
              <a:gd name="T34" fmla="*/ 3027 w 4268"/>
              <a:gd name="T35" fmla="*/ 1447 h 1455"/>
              <a:gd name="T36" fmla="*/ 3006 w 4268"/>
              <a:gd name="T37" fmla="*/ 1451 h 1455"/>
              <a:gd name="T38" fmla="*/ 2985 w 4268"/>
              <a:gd name="T39" fmla="*/ 1453 h 1455"/>
              <a:gd name="T40" fmla="*/ 2964 w 4268"/>
              <a:gd name="T41" fmla="*/ 1455 h 1455"/>
              <a:gd name="T42" fmla="*/ 2944 w 4268"/>
              <a:gd name="T43" fmla="*/ 1455 h 1455"/>
              <a:gd name="T44" fmla="*/ 2922 w 4268"/>
              <a:gd name="T45" fmla="*/ 1455 h 1455"/>
              <a:gd name="T46" fmla="*/ 2902 w 4268"/>
              <a:gd name="T47" fmla="*/ 1454 h 1455"/>
              <a:gd name="T48" fmla="*/ 2881 w 4268"/>
              <a:gd name="T49" fmla="*/ 1452 h 1455"/>
              <a:gd name="T50" fmla="*/ 2859 w 4268"/>
              <a:gd name="T51" fmla="*/ 1449 h 1455"/>
              <a:gd name="T52" fmla="*/ 2839 w 4268"/>
              <a:gd name="T53" fmla="*/ 1444 h 1455"/>
              <a:gd name="T54" fmla="*/ 2818 w 4268"/>
              <a:gd name="T55" fmla="*/ 1440 h 1455"/>
              <a:gd name="T56" fmla="*/ 2797 w 4268"/>
              <a:gd name="T57" fmla="*/ 1434 h 1455"/>
              <a:gd name="T58" fmla="*/ 2776 w 4268"/>
              <a:gd name="T59" fmla="*/ 1427 h 1455"/>
              <a:gd name="T60" fmla="*/ 2756 w 4268"/>
              <a:gd name="T61" fmla="*/ 1420 h 1455"/>
              <a:gd name="T62" fmla="*/ 2735 w 4268"/>
              <a:gd name="T63" fmla="*/ 1411 h 1455"/>
              <a:gd name="T64" fmla="*/ 2715 w 4268"/>
              <a:gd name="T65" fmla="*/ 1402 h 1455"/>
              <a:gd name="T66" fmla="*/ 2694 w 4268"/>
              <a:gd name="T67" fmla="*/ 1393 h 1455"/>
              <a:gd name="T68" fmla="*/ 0 w 4268"/>
              <a:gd name="T69" fmla="*/ 0 h 1455"/>
              <a:gd name="T70" fmla="*/ 2664 w 4268"/>
              <a:gd name="T71" fmla="*/ 885 h 1455"/>
              <a:gd name="T72" fmla="*/ 2688 w 4268"/>
              <a:gd name="T73" fmla="*/ 893 h 1455"/>
              <a:gd name="T74" fmla="*/ 2714 w 4268"/>
              <a:gd name="T75" fmla="*/ 899 h 1455"/>
              <a:gd name="T76" fmla="*/ 2740 w 4268"/>
              <a:gd name="T77" fmla="*/ 905 h 1455"/>
              <a:gd name="T78" fmla="*/ 2767 w 4268"/>
              <a:gd name="T79" fmla="*/ 909 h 1455"/>
              <a:gd name="T80" fmla="*/ 2792 w 4268"/>
              <a:gd name="T81" fmla="*/ 911 h 1455"/>
              <a:gd name="T82" fmla="*/ 2819 w 4268"/>
              <a:gd name="T83" fmla="*/ 913 h 1455"/>
              <a:gd name="T84" fmla="*/ 2846 w 4268"/>
              <a:gd name="T85" fmla="*/ 913 h 1455"/>
              <a:gd name="T86" fmla="*/ 2873 w 4268"/>
              <a:gd name="T87" fmla="*/ 913 h 1455"/>
              <a:gd name="T88" fmla="*/ 2900 w 4268"/>
              <a:gd name="T89" fmla="*/ 910 h 1455"/>
              <a:gd name="T90" fmla="*/ 2927 w 4268"/>
              <a:gd name="T91" fmla="*/ 907 h 1455"/>
              <a:gd name="T92" fmla="*/ 2953 w 4268"/>
              <a:gd name="T93" fmla="*/ 901 h 1455"/>
              <a:gd name="T94" fmla="*/ 2979 w 4268"/>
              <a:gd name="T95" fmla="*/ 895 h 1455"/>
              <a:gd name="T96" fmla="*/ 3004 w 4268"/>
              <a:gd name="T97" fmla="*/ 887 h 1455"/>
              <a:gd name="T98" fmla="*/ 3028 w 4268"/>
              <a:gd name="T99" fmla="*/ 878 h 1455"/>
              <a:gd name="T100" fmla="*/ 3051 w 4268"/>
              <a:gd name="T101" fmla="*/ 866 h 1455"/>
              <a:gd name="T102" fmla="*/ 3073 w 4268"/>
              <a:gd name="T103" fmla="*/ 853 h 1455"/>
              <a:gd name="T104" fmla="*/ 4268 w 4268"/>
              <a:gd name="T105" fmla="*/ 95 h 14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268" h="1455">
                <a:moveTo>
                  <a:pt x="4268" y="95"/>
                </a:moveTo>
                <a:lnTo>
                  <a:pt x="3342" y="1237"/>
                </a:lnTo>
                <a:lnTo>
                  <a:pt x="3324" y="1259"/>
                </a:lnTo>
                <a:lnTo>
                  <a:pt x="3305" y="1280"/>
                </a:lnTo>
                <a:lnTo>
                  <a:pt x="3287" y="1300"/>
                </a:lnTo>
                <a:lnTo>
                  <a:pt x="3268" y="1317"/>
                </a:lnTo>
                <a:lnTo>
                  <a:pt x="3248" y="1334"/>
                </a:lnTo>
                <a:lnTo>
                  <a:pt x="3229" y="1351"/>
                </a:lnTo>
                <a:lnTo>
                  <a:pt x="3209" y="1366"/>
                </a:lnTo>
                <a:lnTo>
                  <a:pt x="3190" y="1379"/>
                </a:lnTo>
                <a:lnTo>
                  <a:pt x="3169" y="1392"/>
                </a:lnTo>
                <a:lnTo>
                  <a:pt x="3150" y="1402"/>
                </a:lnTo>
                <a:lnTo>
                  <a:pt x="3129" y="1412"/>
                </a:lnTo>
                <a:lnTo>
                  <a:pt x="3109" y="1422"/>
                </a:lnTo>
                <a:lnTo>
                  <a:pt x="3088" y="1429"/>
                </a:lnTo>
                <a:lnTo>
                  <a:pt x="3068" y="1436"/>
                </a:lnTo>
                <a:lnTo>
                  <a:pt x="3047" y="1442"/>
                </a:lnTo>
                <a:lnTo>
                  <a:pt x="3027" y="1447"/>
                </a:lnTo>
                <a:lnTo>
                  <a:pt x="3006" y="1451"/>
                </a:lnTo>
                <a:lnTo>
                  <a:pt x="2985" y="1453"/>
                </a:lnTo>
                <a:lnTo>
                  <a:pt x="2964" y="1455"/>
                </a:lnTo>
                <a:lnTo>
                  <a:pt x="2944" y="1455"/>
                </a:lnTo>
                <a:lnTo>
                  <a:pt x="2922" y="1455"/>
                </a:lnTo>
                <a:lnTo>
                  <a:pt x="2902" y="1454"/>
                </a:lnTo>
                <a:lnTo>
                  <a:pt x="2881" y="1452"/>
                </a:lnTo>
                <a:lnTo>
                  <a:pt x="2859" y="1449"/>
                </a:lnTo>
                <a:lnTo>
                  <a:pt x="2839" y="1444"/>
                </a:lnTo>
                <a:lnTo>
                  <a:pt x="2818" y="1440"/>
                </a:lnTo>
                <a:lnTo>
                  <a:pt x="2797" y="1434"/>
                </a:lnTo>
                <a:lnTo>
                  <a:pt x="2776" y="1427"/>
                </a:lnTo>
                <a:lnTo>
                  <a:pt x="2756" y="1420"/>
                </a:lnTo>
                <a:lnTo>
                  <a:pt x="2735" y="1411"/>
                </a:lnTo>
                <a:lnTo>
                  <a:pt x="2715" y="1402"/>
                </a:lnTo>
                <a:lnTo>
                  <a:pt x="2694" y="1393"/>
                </a:lnTo>
                <a:lnTo>
                  <a:pt x="0" y="0"/>
                </a:lnTo>
                <a:lnTo>
                  <a:pt x="2664" y="885"/>
                </a:lnTo>
                <a:lnTo>
                  <a:pt x="2688" y="893"/>
                </a:lnTo>
                <a:lnTo>
                  <a:pt x="2714" y="899"/>
                </a:lnTo>
                <a:lnTo>
                  <a:pt x="2740" y="905"/>
                </a:lnTo>
                <a:lnTo>
                  <a:pt x="2767" y="909"/>
                </a:lnTo>
                <a:lnTo>
                  <a:pt x="2792" y="911"/>
                </a:lnTo>
                <a:lnTo>
                  <a:pt x="2819" y="913"/>
                </a:lnTo>
                <a:lnTo>
                  <a:pt x="2846" y="913"/>
                </a:lnTo>
                <a:lnTo>
                  <a:pt x="2873" y="913"/>
                </a:lnTo>
                <a:lnTo>
                  <a:pt x="2900" y="910"/>
                </a:lnTo>
                <a:lnTo>
                  <a:pt x="2927" y="907"/>
                </a:lnTo>
                <a:lnTo>
                  <a:pt x="2953" y="901"/>
                </a:lnTo>
                <a:lnTo>
                  <a:pt x="2979" y="895"/>
                </a:lnTo>
                <a:lnTo>
                  <a:pt x="3004" y="887"/>
                </a:lnTo>
                <a:lnTo>
                  <a:pt x="3028" y="878"/>
                </a:lnTo>
                <a:lnTo>
                  <a:pt x="3051" y="866"/>
                </a:lnTo>
                <a:lnTo>
                  <a:pt x="3073" y="853"/>
                </a:lnTo>
                <a:lnTo>
                  <a:pt x="4268" y="95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6" name="Группа 15"/>
          <p:cNvGrpSpPr/>
          <p:nvPr userDrawn="1"/>
        </p:nvGrpSpPr>
        <p:grpSpPr>
          <a:xfrm>
            <a:off x="4459430" y="1936750"/>
            <a:ext cx="5446581" cy="4921250"/>
            <a:chOff x="4116388" y="1936750"/>
            <a:chExt cx="5027613" cy="4921250"/>
          </a:xfrm>
        </p:grpSpPr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6203950" y="1936750"/>
              <a:ext cx="1966913" cy="2646363"/>
            </a:xfrm>
            <a:custGeom>
              <a:avLst/>
              <a:gdLst>
                <a:gd name="T0" fmla="*/ 2936 w 3717"/>
                <a:gd name="T1" fmla="*/ 4866 h 5000"/>
                <a:gd name="T2" fmla="*/ 2932 w 3717"/>
                <a:gd name="T3" fmla="*/ 4886 h 5000"/>
                <a:gd name="T4" fmla="*/ 2924 w 3717"/>
                <a:gd name="T5" fmla="*/ 4905 h 5000"/>
                <a:gd name="T6" fmla="*/ 2915 w 3717"/>
                <a:gd name="T7" fmla="*/ 4922 h 5000"/>
                <a:gd name="T8" fmla="*/ 2905 w 3717"/>
                <a:gd name="T9" fmla="*/ 4938 h 5000"/>
                <a:gd name="T10" fmla="*/ 2893 w 3717"/>
                <a:gd name="T11" fmla="*/ 4952 h 5000"/>
                <a:gd name="T12" fmla="*/ 2879 w 3717"/>
                <a:gd name="T13" fmla="*/ 4964 h 5000"/>
                <a:gd name="T14" fmla="*/ 2847 w 3717"/>
                <a:gd name="T15" fmla="*/ 4983 h 5000"/>
                <a:gd name="T16" fmla="*/ 2811 w 3717"/>
                <a:gd name="T17" fmla="*/ 4996 h 5000"/>
                <a:gd name="T18" fmla="*/ 2773 w 3717"/>
                <a:gd name="T19" fmla="*/ 5000 h 5000"/>
                <a:gd name="T20" fmla="*/ 2733 w 3717"/>
                <a:gd name="T21" fmla="*/ 4998 h 5000"/>
                <a:gd name="T22" fmla="*/ 2693 w 3717"/>
                <a:gd name="T23" fmla="*/ 4987 h 5000"/>
                <a:gd name="T24" fmla="*/ 329 w 3717"/>
                <a:gd name="T25" fmla="*/ 4073 h 5000"/>
                <a:gd name="T26" fmla="*/ 279 w 3717"/>
                <a:gd name="T27" fmla="*/ 4049 h 5000"/>
                <a:gd name="T28" fmla="*/ 233 w 3717"/>
                <a:gd name="T29" fmla="*/ 4024 h 5000"/>
                <a:gd name="T30" fmla="*/ 192 w 3717"/>
                <a:gd name="T31" fmla="*/ 3996 h 5000"/>
                <a:gd name="T32" fmla="*/ 155 w 3717"/>
                <a:gd name="T33" fmla="*/ 3966 h 5000"/>
                <a:gd name="T34" fmla="*/ 122 w 3717"/>
                <a:gd name="T35" fmla="*/ 3934 h 5000"/>
                <a:gd name="T36" fmla="*/ 93 w 3717"/>
                <a:gd name="T37" fmla="*/ 3900 h 5000"/>
                <a:gd name="T38" fmla="*/ 70 w 3717"/>
                <a:gd name="T39" fmla="*/ 3865 h 5000"/>
                <a:gd name="T40" fmla="*/ 48 w 3717"/>
                <a:gd name="T41" fmla="*/ 3829 h 5000"/>
                <a:gd name="T42" fmla="*/ 32 w 3717"/>
                <a:gd name="T43" fmla="*/ 3790 h 5000"/>
                <a:gd name="T44" fmla="*/ 18 w 3717"/>
                <a:gd name="T45" fmla="*/ 3750 h 5000"/>
                <a:gd name="T46" fmla="*/ 8 w 3717"/>
                <a:gd name="T47" fmla="*/ 3710 h 5000"/>
                <a:gd name="T48" fmla="*/ 3 w 3717"/>
                <a:gd name="T49" fmla="*/ 3668 h 5000"/>
                <a:gd name="T50" fmla="*/ 0 w 3717"/>
                <a:gd name="T51" fmla="*/ 3625 h 5000"/>
                <a:gd name="T52" fmla="*/ 0 w 3717"/>
                <a:gd name="T53" fmla="*/ 3581 h 5000"/>
                <a:gd name="T54" fmla="*/ 5 w 3717"/>
                <a:gd name="T55" fmla="*/ 3537 h 5000"/>
                <a:gd name="T56" fmla="*/ 507 w 3717"/>
                <a:gd name="T57" fmla="*/ 523 h 5000"/>
                <a:gd name="T58" fmla="*/ 516 w 3717"/>
                <a:gd name="T59" fmla="*/ 479 h 5000"/>
                <a:gd name="T60" fmla="*/ 527 w 3717"/>
                <a:gd name="T61" fmla="*/ 437 h 5000"/>
                <a:gd name="T62" fmla="*/ 541 w 3717"/>
                <a:gd name="T63" fmla="*/ 396 h 5000"/>
                <a:gd name="T64" fmla="*/ 560 w 3717"/>
                <a:gd name="T65" fmla="*/ 357 h 5000"/>
                <a:gd name="T66" fmla="*/ 580 w 3717"/>
                <a:gd name="T67" fmla="*/ 320 h 5000"/>
                <a:gd name="T68" fmla="*/ 604 w 3717"/>
                <a:gd name="T69" fmla="*/ 286 h 5000"/>
                <a:gd name="T70" fmla="*/ 631 w 3717"/>
                <a:gd name="T71" fmla="*/ 254 h 5000"/>
                <a:gd name="T72" fmla="*/ 661 w 3717"/>
                <a:gd name="T73" fmla="*/ 224 h 5000"/>
                <a:gd name="T74" fmla="*/ 694 w 3717"/>
                <a:gd name="T75" fmla="*/ 198 h 5000"/>
                <a:gd name="T76" fmla="*/ 730 w 3717"/>
                <a:gd name="T77" fmla="*/ 173 h 5000"/>
                <a:gd name="T78" fmla="*/ 770 w 3717"/>
                <a:gd name="T79" fmla="*/ 153 h 5000"/>
                <a:gd name="T80" fmla="*/ 814 w 3717"/>
                <a:gd name="T81" fmla="*/ 135 h 5000"/>
                <a:gd name="T82" fmla="*/ 859 w 3717"/>
                <a:gd name="T83" fmla="*/ 121 h 5000"/>
                <a:gd name="T84" fmla="*/ 909 w 3717"/>
                <a:gd name="T85" fmla="*/ 109 h 5000"/>
                <a:gd name="T86" fmla="*/ 962 w 3717"/>
                <a:gd name="T87" fmla="*/ 101 h 5000"/>
                <a:gd name="T88" fmla="*/ 1019 w 3717"/>
                <a:gd name="T89" fmla="*/ 97 h 5000"/>
                <a:gd name="T90" fmla="*/ 3544 w 3717"/>
                <a:gd name="T91" fmla="*/ 0 h 5000"/>
                <a:gd name="T92" fmla="*/ 3584 w 3717"/>
                <a:gd name="T93" fmla="*/ 6 h 5000"/>
                <a:gd name="T94" fmla="*/ 3622 w 3717"/>
                <a:gd name="T95" fmla="*/ 20 h 5000"/>
                <a:gd name="T96" fmla="*/ 3654 w 3717"/>
                <a:gd name="T97" fmla="*/ 41 h 5000"/>
                <a:gd name="T98" fmla="*/ 3680 w 3717"/>
                <a:gd name="T99" fmla="*/ 67 h 5000"/>
                <a:gd name="T100" fmla="*/ 3696 w 3717"/>
                <a:gd name="T101" fmla="*/ 89 h 5000"/>
                <a:gd name="T102" fmla="*/ 3705 w 3717"/>
                <a:gd name="T103" fmla="*/ 106 h 5000"/>
                <a:gd name="T104" fmla="*/ 3710 w 3717"/>
                <a:gd name="T105" fmla="*/ 124 h 5000"/>
                <a:gd name="T106" fmla="*/ 3715 w 3717"/>
                <a:gd name="T107" fmla="*/ 142 h 5000"/>
                <a:gd name="T108" fmla="*/ 3717 w 3717"/>
                <a:gd name="T109" fmla="*/ 162 h 5000"/>
                <a:gd name="T110" fmla="*/ 3716 w 3717"/>
                <a:gd name="T111" fmla="*/ 182 h 5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717" h="5000">
                  <a:moveTo>
                    <a:pt x="3715" y="192"/>
                  </a:moveTo>
                  <a:lnTo>
                    <a:pt x="2936" y="4866"/>
                  </a:lnTo>
                  <a:lnTo>
                    <a:pt x="2934" y="4876"/>
                  </a:lnTo>
                  <a:lnTo>
                    <a:pt x="2932" y="4886"/>
                  </a:lnTo>
                  <a:lnTo>
                    <a:pt x="2928" y="4895"/>
                  </a:lnTo>
                  <a:lnTo>
                    <a:pt x="2924" y="4905"/>
                  </a:lnTo>
                  <a:lnTo>
                    <a:pt x="2921" y="4914"/>
                  </a:lnTo>
                  <a:lnTo>
                    <a:pt x="2915" y="4922"/>
                  </a:lnTo>
                  <a:lnTo>
                    <a:pt x="2911" y="4930"/>
                  </a:lnTo>
                  <a:lnTo>
                    <a:pt x="2905" y="4938"/>
                  </a:lnTo>
                  <a:lnTo>
                    <a:pt x="2899" y="4945"/>
                  </a:lnTo>
                  <a:lnTo>
                    <a:pt x="2893" y="4952"/>
                  </a:lnTo>
                  <a:lnTo>
                    <a:pt x="2886" y="4958"/>
                  </a:lnTo>
                  <a:lnTo>
                    <a:pt x="2879" y="4964"/>
                  </a:lnTo>
                  <a:lnTo>
                    <a:pt x="2863" y="4974"/>
                  </a:lnTo>
                  <a:lnTo>
                    <a:pt x="2847" y="4983"/>
                  </a:lnTo>
                  <a:lnTo>
                    <a:pt x="2829" y="4991"/>
                  </a:lnTo>
                  <a:lnTo>
                    <a:pt x="2811" y="4996"/>
                  </a:lnTo>
                  <a:lnTo>
                    <a:pt x="2792" y="4999"/>
                  </a:lnTo>
                  <a:lnTo>
                    <a:pt x="2773" y="5000"/>
                  </a:lnTo>
                  <a:lnTo>
                    <a:pt x="2752" y="5000"/>
                  </a:lnTo>
                  <a:lnTo>
                    <a:pt x="2733" y="4998"/>
                  </a:lnTo>
                  <a:lnTo>
                    <a:pt x="2713" y="4994"/>
                  </a:lnTo>
                  <a:lnTo>
                    <a:pt x="2693" y="4987"/>
                  </a:lnTo>
                  <a:lnTo>
                    <a:pt x="355" y="4083"/>
                  </a:lnTo>
                  <a:lnTo>
                    <a:pt x="329" y="4073"/>
                  </a:lnTo>
                  <a:lnTo>
                    <a:pt x="303" y="4061"/>
                  </a:lnTo>
                  <a:lnTo>
                    <a:pt x="279" y="4049"/>
                  </a:lnTo>
                  <a:lnTo>
                    <a:pt x="255" y="4037"/>
                  </a:lnTo>
                  <a:lnTo>
                    <a:pt x="233" y="4024"/>
                  </a:lnTo>
                  <a:lnTo>
                    <a:pt x="212" y="4010"/>
                  </a:lnTo>
                  <a:lnTo>
                    <a:pt x="192" y="3996"/>
                  </a:lnTo>
                  <a:lnTo>
                    <a:pt x="173" y="3981"/>
                  </a:lnTo>
                  <a:lnTo>
                    <a:pt x="155" y="3966"/>
                  </a:lnTo>
                  <a:lnTo>
                    <a:pt x="139" y="3951"/>
                  </a:lnTo>
                  <a:lnTo>
                    <a:pt x="122" y="3934"/>
                  </a:lnTo>
                  <a:lnTo>
                    <a:pt x="107" y="3917"/>
                  </a:lnTo>
                  <a:lnTo>
                    <a:pt x="93" y="3900"/>
                  </a:lnTo>
                  <a:lnTo>
                    <a:pt x="81" y="3883"/>
                  </a:lnTo>
                  <a:lnTo>
                    <a:pt x="70" y="3865"/>
                  </a:lnTo>
                  <a:lnTo>
                    <a:pt x="58" y="3847"/>
                  </a:lnTo>
                  <a:lnTo>
                    <a:pt x="48" y="3829"/>
                  </a:lnTo>
                  <a:lnTo>
                    <a:pt x="39" y="3809"/>
                  </a:lnTo>
                  <a:lnTo>
                    <a:pt x="32" y="3790"/>
                  </a:lnTo>
                  <a:lnTo>
                    <a:pt x="24" y="3770"/>
                  </a:lnTo>
                  <a:lnTo>
                    <a:pt x="18" y="3750"/>
                  </a:lnTo>
                  <a:lnTo>
                    <a:pt x="12" y="3730"/>
                  </a:lnTo>
                  <a:lnTo>
                    <a:pt x="8" y="3710"/>
                  </a:lnTo>
                  <a:lnTo>
                    <a:pt x="5" y="3688"/>
                  </a:lnTo>
                  <a:lnTo>
                    <a:pt x="3" y="3668"/>
                  </a:lnTo>
                  <a:lnTo>
                    <a:pt x="0" y="3646"/>
                  </a:lnTo>
                  <a:lnTo>
                    <a:pt x="0" y="3625"/>
                  </a:lnTo>
                  <a:lnTo>
                    <a:pt x="0" y="3603"/>
                  </a:lnTo>
                  <a:lnTo>
                    <a:pt x="0" y="3581"/>
                  </a:lnTo>
                  <a:lnTo>
                    <a:pt x="3" y="3559"/>
                  </a:lnTo>
                  <a:lnTo>
                    <a:pt x="5" y="3537"/>
                  </a:lnTo>
                  <a:lnTo>
                    <a:pt x="8" y="3514"/>
                  </a:lnTo>
                  <a:lnTo>
                    <a:pt x="507" y="523"/>
                  </a:lnTo>
                  <a:lnTo>
                    <a:pt x="510" y="501"/>
                  </a:lnTo>
                  <a:lnTo>
                    <a:pt x="516" y="479"/>
                  </a:lnTo>
                  <a:lnTo>
                    <a:pt x="521" y="457"/>
                  </a:lnTo>
                  <a:lnTo>
                    <a:pt x="527" y="437"/>
                  </a:lnTo>
                  <a:lnTo>
                    <a:pt x="534" y="416"/>
                  </a:lnTo>
                  <a:lnTo>
                    <a:pt x="541" y="396"/>
                  </a:lnTo>
                  <a:lnTo>
                    <a:pt x="550" y="376"/>
                  </a:lnTo>
                  <a:lnTo>
                    <a:pt x="560" y="357"/>
                  </a:lnTo>
                  <a:lnTo>
                    <a:pt x="570" y="339"/>
                  </a:lnTo>
                  <a:lnTo>
                    <a:pt x="580" y="320"/>
                  </a:lnTo>
                  <a:lnTo>
                    <a:pt x="592" y="303"/>
                  </a:lnTo>
                  <a:lnTo>
                    <a:pt x="604" y="286"/>
                  </a:lnTo>
                  <a:lnTo>
                    <a:pt x="617" y="270"/>
                  </a:lnTo>
                  <a:lnTo>
                    <a:pt x="631" y="254"/>
                  </a:lnTo>
                  <a:lnTo>
                    <a:pt x="646" y="239"/>
                  </a:lnTo>
                  <a:lnTo>
                    <a:pt x="661" y="224"/>
                  </a:lnTo>
                  <a:lnTo>
                    <a:pt x="678" y="211"/>
                  </a:lnTo>
                  <a:lnTo>
                    <a:pt x="694" y="198"/>
                  </a:lnTo>
                  <a:lnTo>
                    <a:pt x="712" y="185"/>
                  </a:lnTo>
                  <a:lnTo>
                    <a:pt x="730" y="173"/>
                  </a:lnTo>
                  <a:lnTo>
                    <a:pt x="750" y="163"/>
                  </a:lnTo>
                  <a:lnTo>
                    <a:pt x="770" y="153"/>
                  </a:lnTo>
                  <a:lnTo>
                    <a:pt x="791" y="143"/>
                  </a:lnTo>
                  <a:lnTo>
                    <a:pt x="814" y="135"/>
                  </a:lnTo>
                  <a:lnTo>
                    <a:pt x="836" y="127"/>
                  </a:lnTo>
                  <a:lnTo>
                    <a:pt x="859" y="121"/>
                  </a:lnTo>
                  <a:lnTo>
                    <a:pt x="884" y="114"/>
                  </a:lnTo>
                  <a:lnTo>
                    <a:pt x="909" y="109"/>
                  </a:lnTo>
                  <a:lnTo>
                    <a:pt x="936" y="104"/>
                  </a:lnTo>
                  <a:lnTo>
                    <a:pt x="962" y="101"/>
                  </a:lnTo>
                  <a:lnTo>
                    <a:pt x="990" y="99"/>
                  </a:lnTo>
                  <a:lnTo>
                    <a:pt x="1019" y="97"/>
                  </a:lnTo>
                  <a:lnTo>
                    <a:pt x="3523" y="0"/>
                  </a:lnTo>
                  <a:lnTo>
                    <a:pt x="3544" y="0"/>
                  </a:lnTo>
                  <a:lnTo>
                    <a:pt x="3564" y="2"/>
                  </a:lnTo>
                  <a:lnTo>
                    <a:pt x="3584" y="6"/>
                  </a:lnTo>
                  <a:lnTo>
                    <a:pt x="3603" y="13"/>
                  </a:lnTo>
                  <a:lnTo>
                    <a:pt x="3622" y="20"/>
                  </a:lnTo>
                  <a:lnTo>
                    <a:pt x="3638" y="30"/>
                  </a:lnTo>
                  <a:lnTo>
                    <a:pt x="3654" y="41"/>
                  </a:lnTo>
                  <a:lnTo>
                    <a:pt x="3668" y="53"/>
                  </a:lnTo>
                  <a:lnTo>
                    <a:pt x="3680" y="67"/>
                  </a:lnTo>
                  <a:lnTo>
                    <a:pt x="3692" y="82"/>
                  </a:lnTo>
                  <a:lnTo>
                    <a:pt x="3696" y="89"/>
                  </a:lnTo>
                  <a:lnTo>
                    <a:pt x="3700" y="98"/>
                  </a:lnTo>
                  <a:lnTo>
                    <a:pt x="3705" y="106"/>
                  </a:lnTo>
                  <a:lnTo>
                    <a:pt x="3708" y="115"/>
                  </a:lnTo>
                  <a:lnTo>
                    <a:pt x="3710" y="124"/>
                  </a:lnTo>
                  <a:lnTo>
                    <a:pt x="3713" y="132"/>
                  </a:lnTo>
                  <a:lnTo>
                    <a:pt x="3715" y="142"/>
                  </a:lnTo>
                  <a:lnTo>
                    <a:pt x="3716" y="152"/>
                  </a:lnTo>
                  <a:lnTo>
                    <a:pt x="3717" y="162"/>
                  </a:lnTo>
                  <a:lnTo>
                    <a:pt x="3717" y="171"/>
                  </a:lnTo>
                  <a:lnTo>
                    <a:pt x="3716" y="182"/>
                  </a:lnTo>
                  <a:lnTo>
                    <a:pt x="3715" y="192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8372475" y="3473450"/>
              <a:ext cx="771525" cy="1765300"/>
            </a:xfrm>
            <a:custGeom>
              <a:avLst/>
              <a:gdLst>
                <a:gd name="T0" fmla="*/ 1458 w 1458"/>
                <a:gd name="T1" fmla="*/ 3144 h 3336"/>
                <a:gd name="T2" fmla="*/ 190 w 1458"/>
                <a:gd name="T3" fmla="*/ 3335 h 3336"/>
                <a:gd name="T4" fmla="*/ 180 w 1458"/>
                <a:gd name="T5" fmla="*/ 3336 h 3336"/>
                <a:gd name="T6" fmla="*/ 170 w 1458"/>
                <a:gd name="T7" fmla="*/ 3336 h 3336"/>
                <a:gd name="T8" fmla="*/ 160 w 1458"/>
                <a:gd name="T9" fmla="*/ 3336 h 3336"/>
                <a:gd name="T10" fmla="*/ 150 w 1458"/>
                <a:gd name="T11" fmla="*/ 3336 h 3336"/>
                <a:gd name="T12" fmla="*/ 140 w 1458"/>
                <a:gd name="T13" fmla="*/ 3334 h 3336"/>
                <a:gd name="T14" fmla="*/ 131 w 1458"/>
                <a:gd name="T15" fmla="*/ 3333 h 3336"/>
                <a:gd name="T16" fmla="*/ 122 w 1458"/>
                <a:gd name="T17" fmla="*/ 3329 h 3336"/>
                <a:gd name="T18" fmla="*/ 112 w 1458"/>
                <a:gd name="T19" fmla="*/ 3327 h 3336"/>
                <a:gd name="T20" fmla="*/ 104 w 1458"/>
                <a:gd name="T21" fmla="*/ 3323 h 3336"/>
                <a:gd name="T22" fmla="*/ 96 w 1458"/>
                <a:gd name="T23" fmla="*/ 3320 h 3336"/>
                <a:gd name="T24" fmla="*/ 87 w 1458"/>
                <a:gd name="T25" fmla="*/ 3315 h 3336"/>
                <a:gd name="T26" fmla="*/ 80 w 1458"/>
                <a:gd name="T27" fmla="*/ 3310 h 3336"/>
                <a:gd name="T28" fmla="*/ 65 w 1458"/>
                <a:gd name="T29" fmla="*/ 3299 h 3336"/>
                <a:gd name="T30" fmla="*/ 52 w 1458"/>
                <a:gd name="T31" fmla="*/ 3286 h 3336"/>
                <a:gd name="T32" fmla="*/ 39 w 1458"/>
                <a:gd name="T33" fmla="*/ 3271 h 3336"/>
                <a:gd name="T34" fmla="*/ 28 w 1458"/>
                <a:gd name="T35" fmla="*/ 3256 h 3336"/>
                <a:gd name="T36" fmla="*/ 19 w 1458"/>
                <a:gd name="T37" fmla="*/ 3239 h 3336"/>
                <a:gd name="T38" fmla="*/ 12 w 1458"/>
                <a:gd name="T39" fmla="*/ 3220 h 3336"/>
                <a:gd name="T40" fmla="*/ 6 w 1458"/>
                <a:gd name="T41" fmla="*/ 3202 h 3336"/>
                <a:gd name="T42" fmla="*/ 2 w 1458"/>
                <a:gd name="T43" fmla="*/ 3181 h 3336"/>
                <a:gd name="T44" fmla="*/ 0 w 1458"/>
                <a:gd name="T45" fmla="*/ 3162 h 3336"/>
                <a:gd name="T46" fmla="*/ 0 w 1458"/>
                <a:gd name="T47" fmla="*/ 3140 h 3336"/>
                <a:gd name="T48" fmla="*/ 138 w 1458"/>
                <a:gd name="T49" fmla="*/ 638 h 3336"/>
                <a:gd name="T50" fmla="*/ 139 w 1458"/>
                <a:gd name="T51" fmla="*/ 609 h 3336"/>
                <a:gd name="T52" fmla="*/ 143 w 1458"/>
                <a:gd name="T53" fmla="*/ 582 h 3336"/>
                <a:gd name="T54" fmla="*/ 147 w 1458"/>
                <a:gd name="T55" fmla="*/ 555 h 3336"/>
                <a:gd name="T56" fmla="*/ 151 w 1458"/>
                <a:gd name="T57" fmla="*/ 529 h 3336"/>
                <a:gd name="T58" fmla="*/ 157 w 1458"/>
                <a:gd name="T59" fmla="*/ 504 h 3336"/>
                <a:gd name="T60" fmla="*/ 163 w 1458"/>
                <a:gd name="T61" fmla="*/ 480 h 3336"/>
                <a:gd name="T62" fmla="*/ 171 w 1458"/>
                <a:gd name="T63" fmla="*/ 456 h 3336"/>
                <a:gd name="T64" fmla="*/ 179 w 1458"/>
                <a:gd name="T65" fmla="*/ 433 h 3336"/>
                <a:gd name="T66" fmla="*/ 188 w 1458"/>
                <a:gd name="T67" fmla="*/ 412 h 3336"/>
                <a:gd name="T68" fmla="*/ 198 w 1458"/>
                <a:gd name="T69" fmla="*/ 391 h 3336"/>
                <a:gd name="T70" fmla="*/ 208 w 1458"/>
                <a:gd name="T71" fmla="*/ 371 h 3336"/>
                <a:gd name="T72" fmla="*/ 219 w 1458"/>
                <a:gd name="T73" fmla="*/ 351 h 3336"/>
                <a:gd name="T74" fmla="*/ 231 w 1458"/>
                <a:gd name="T75" fmla="*/ 333 h 3336"/>
                <a:gd name="T76" fmla="*/ 244 w 1458"/>
                <a:gd name="T77" fmla="*/ 316 h 3336"/>
                <a:gd name="T78" fmla="*/ 257 w 1458"/>
                <a:gd name="T79" fmla="*/ 299 h 3336"/>
                <a:gd name="T80" fmla="*/ 271 w 1458"/>
                <a:gd name="T81" fmla="*/ 283 h 3336"/>
                <a:gd name="T82" fmla="*/ 286 w 1458"/>
                <a:gd name="T83" fmla="*/ 268 h 3336"/>
                <a:gd name="T84" fmla="*/ 301 w 1458"/>
                <a:gd name="T85" fmla="*/ 253 h 3336"/>
                <a:gd name="T86" fmla="*/ 318 w 1458"/>
                <a:gd name="T87" fmla="*/ 240 h 3336"/>
                <a:gd name="T88" fmla="*/ 334 w 1458"/>
                <a:gd name="T89" fmla="*/ 227 h 3336"/>
                <a:gd name="T90" fmla="*/ 351 w 1458"/>
                <a:gd name="T91" fmla="*/ 215 h 3336"/>
                <a:gd name="T92" fmla="*/ 368 w 1458"/>
                <a:gd name="T93" fmla="*/ 203 h 3336"/>
                <a:gd name="T94" fmla="*/ 387 w 1458"/>
                <a:gd name="T95" fmla="*/ 194 h 3336"/>
                <a:gd name="T96" fmla="*/ 405 w 1458"/>
                <a:gd name="T97" fmla="*/ 184 h 3336"/>
                <a:gd name="T98" fmla="*/ 424 w 1458"/>
                <a:gd name="T99" fmla="*/ 174 h 3336"/>
                <a:gd name="T100" fmla="*/ 444 w 1458"/>
                <a:gd name="T101" fmla="*/ 167 h 3336"/>
                <a:gd name="T102" fmla="*/ 464 w 1458"/>
                <a:gd name="T103" fmla="*/ 159 h 3336"/>
                <a:gd name="T104" fmla="*/ 485 w 1458"/>
                <a:gd name="T105" fmla="*/ 153 h 3336"/>
                <a:gd name="T106" fmla="*/ 507 w 1458"/>
                <a:gd name="T107" fmla="*/ 146 h 3336"/>
                <a:gd name="T108" fmla="*/ 528 w 1458"/>
                <a:gd name="T109" fmla="*/ 141 h 3336"/>
                <a:gd name="T110" fmla="*/ 550 w 1458"/>
                <a:gd name="T111" fmla="*/ 136 h 3336"/>
                <a:gd name="T112" fmla="*/ 572 w 1458"/>
                <a:gd name="T113" fmla="*/ 133 h 3336"/>
                <a:gd name="T114" fmla="*/ 1458 w 1458"/>
                <a:gd name="T115" fmla="*/ 0 h 3336"/>
                <a:gd name="T116" fmla="*/ 1458 w 1458"/>
                <a:gd name="T117" fmla="*/ 3144 h 3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58" h="3336">
                  <a:moveTo>
                    <a:pt x="1458" y="3144"/>
                  </a:moveTo>
                  <a:lnTo>
                    <a:pt x="190" y="3335"/>
                  </a:lnTo>
                  <a:lnTo>
                    <a:pt x="180" y="3336"/>
                  </a:lnTo>
                  <a:lnTo>
                    <a:pt x="170" y="3336"/>
                  </a:lnTo>
                  <a:lnTo>
                    <a:pt x="160" y="3336"/>
                  </a:lnTo>
                  <a:lnTo>
                    <a:pt x="150" y="3336"/>
                  </a:lnTo>
                  <a:lnTo>
                    <a:pt x="140" y="3334"/>
                  </a:lnTo>
                  <a:lnTo>
                    <a:pt x="131" y="3333"/>
                  </a:lnTo>
                  <a:lnTo>
                    <a:pt x="122" y="3329"/>
                  </a:lnTo>
                  <a:lnTo>
                    <a:pt x="112" y="3327"/>
                  </a:lnTo>
                  <a:lnTo>
                    <a:pt x="104" y="3323"/>
                  </a:lnTo>
                  <a:lnTo>
                    <a:pt x="96" y="3320"/>
                  </a:lnTo>
                  <a:lnTo>
                    <a:pt x="87" y="3315"/>
                  </a:lnTo>
                  <a:lnTo>
                    <a:pt x="80" y="3310"/>
                  </a:lnTo>
                  <a:lnTo>
                    <a:pt x="65" y="3299"/>
                  </a:lnTo>
                  <a:lnTo>
                    <a:pt x="52" y="3286"/>
                  </a:lnTo>
                  <a:lnTo>
                    <a:pt x="39" y="3271"/>
                  </a:lnTo>
                  <a:lnTo>
                    <a:pt x="28" y="3256"/>
                  </a:lnTo>
                  <a:lnTo>
                    <a:pt x="19" y="3239"/>
                  </a:lnTo>
                  <a:lnTo>
                    <a:pt x="12" y="3220"/>
                  </a:lnTo>
                  <a:lnTo>
                    <a:pt x="6" y="3202"/>
                  </a:lnTo>
                  <a:lnTo>
                    <a:pt x="2" y="3181"/>
                  </a:lnTo>
                  <a:lnTo>
                    <a:pt x="0" y="3162"/>
                  </a:lnTo>
                  <a:lnTo>
                    <a:pt x="0" y="3140"/>
                  </a:lnTo>
                  <a:lnTo>
                    <a:pt x="138" y="638"/>
                  </a:lnTo>
                  <a:lnTo>
                    <a:pt x="139" y="609"/>
                  </a:lnTo>
                  <a:lnTo>
                    <a:pt x="143" y="582"/>
                  </a:lnTo>
                  <a:lnTo>
                    <a:pt x="147" y="555"/>
                  </a:lnTo>
                  <a:lnTo>
                    <a:pt x="151" y="529"/>
                  </a:lnTo>
                  <a:lnTo>
                    <a:pt x="157" y="504"/>
                  </a:lnTo>
                  <a:lnTo>
                    <a:pt x="163" y="480"/>
                  </a:lnTo>
                  <a:lnTo>
                    <a:pt x="171" y="456"/>
                  </a:lnTo>
                  <a:lnTo>
                    <a:pt x="179" y="433"/>
                  </a:lnTo>
                  <a:lnTo>
                    <a:pt x="188" y="412"/>
                  </a:lnTo>
                  <a:lnTo>
                    <a:pt x="198" y="391"/>
                  </a:lnTo>
                  <a:lnTo>
                    <a:pt x="208" y="371"/>
                  </a:lnTo>
                  <a:lnTo>
                    <a:pt x="219" y="351"/>
                  </a:lnTo>
                  <a:lnTo>
                    <a:pt x="231" y="333"/>
                  </a:lnTo>
                  <a:lnTo>
                    <a:pt x="244" y="316"/>
                  </a:lnTo>
                  <a:lnTo>
                    <a:pt x="257" y="299"/>
                  </a:lnTo>
                  <a:lnTo>
                    <a:pt x="271" y="283"/>
                  </a:lnTo>
                  <a:lnTo>
                    <a:pt x="286" y="268"/>
                  </a:lnTo>
                  <a:lnTo>
                    <a:pt x="301" y="253"/>
                  </a:lnTo>
                  <a:lnTo>
                    <a:pt x="318" y="240"/>
                  </a:lnTo>
                  <a:lnTo>
                    <a:pt x="334" y="227"/>
                  </a:lnTo>
                  <a:lnTo>
                    <a:pt x="351" y="215"/>
                  </a:lnTo>
                  <a:lnTo>
                    <a:pt x="368" y="203"/>
                  </a:lnTo>
                  <a:lnTo>
                    <a:pt x="387" y="194"/>
                  </a:lnTo>
                  <a:lnTo>
                    <a:pt x="405" y="184"/>
                  </a:lnTo>
                  <a:lnTo>
                    <a:pt x="424" y="174"/>
                  </a:lnTo>
                  <a:lnTo>
                    <a:pt x="444" y="167"/>
                  </a:lnTo>
                  <a:lnTo>
                    <a:pt x="464" y="159"/>
                  </a:lnTo>
                  <a:lnTo>
                    <a:pt x="485" y="153"/>
                  </a:lnTo>
                  <a:lnTo>
                    <a:pt x="507" y="146"/>
                  </a:lnTo>
                  <a:lnTo>
                    <a:pt x="528" y="141"/>
                  </a:lnTo>
                  <a:lnTo>
                    <a:pt x="550" y="136"/>
                  </a:lnTo>
                  <a:lnTo>
                    <a:pt x="572" y="133"/>
                  </a:lnTo>
                  <a:lnTo>
                    <a:pt x="1458" y="0"/>
                  </a:lnTo>
                  <a:lnTo>
                    <a:pt x="1458" y="3144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7999413" y="5721350"/>
              <a:ext cx="1144588" cy="1136650"/>
            </a:xfrm>
            <a:custGeom>
              <a:avLst/>
              <a:gdLst>
                <a:gd name="T0" fmla="*/ 705 w 2162"/>
                <a:gd name="T1" fmla="*/ 2147 h 2147"/>
                <a:gd name="T2" fmla="*/ 17 w 2162"/>
                <a:gd name="T3" fmla="*/ 792 h 2147"/>
                <a:gd name="T4" fmla="*/ 13 w 2162"/>
                <a:gd name="T5" fmla="*/ 782 h 2147"/>
                <a:gd name="T6" fmla="*/ 8 w 2162"/>
                <a:gd name="T7" fmla="*/ 773 h 2147"/>
                <a:gd name="T8" fmla="*/ 5 w 2162"/>
                <a:gd name="T9" fmla="*/ 764 h 2147"/>
                <a:gd name="T10" fmla="*/ 3 w 2162"/>
                <a:gd name="T11" fmla="*/ 754 h 2147"/>
                <a:gd name="T12" fmla="*/ 1 w 2162"/>
                <a:gd name="T13" fmla="*/ 744 h 2147"/>
                <a:gd name="T14" fmla="*/ 0 w 2162"/>
                <a:gd name="T15" fmla="*/ 735 h 2147"/>
                <a:gd name="T16" fmla="*/ 0 w 2162"/>
                <a:gd name="T17" fmla="*/ 726 h 2147"/>
                <a:gd name="T18" fmla="*/ 0 w 2162"/>
                <a:gd name="T19" fmla="*/ 716 h 2147"/>
                <a:gd name="T20" fmla="*/ 0 w 2162"/>
                <a:gd name="T21" fmla="*/ 707 h 2147"/>
                <a:gd name="T22" fmla="*/ 1 w 2162"/>
                <a:gd name="T23" fmla="*/ 698 h 2147"/>
                <a:gd name="T24" fmla="*/ 3 w 2162"/>
                <a:gd name="T25" fmla="*/ 688 h 2147"/>
                <a:gd name="T26" fmla="*/ 5 w 2162"/>
                <a:gd name="T27" fmla="*/ 680 h 2147"/>
                <a:gd name="T28" fmla="*/ 12 w 2162"/>
                <a:gd name="T29" fmla="*/ 662 h 2147"/>
                <a:gd name="T30" fmla="*/ 19 w 2162"/>
                <a:gd name="T31" fmla="*/ 645 h 2147"/>
                <a:gd name="T32" fmla="*/ 29 w 2162"/>
                <a:gd name="T33" fmla="*/ 629 h 2147"/>
                <a:gd name="T34" fmla="*/ 41 w 2162"/>
                <a:gd name="T35" fmla="*/ 614 h 2147"/>
                <a:gd name="T36" fmla="*/ 54 w 2162"/>
                <a:gd name="T37" fmla="*/ 600 h 2147"/>
                <a:gd name="T38" fmla="*/ 69 w 2162"/>
                <a:gd name="T39" fmla="*/ 587 h 2147"/>
                <a:gd name="T40" fmla="*/ 85 w 2162"/>
                <a:gd name="T41" fmla="*/ 576 h 2147"/>
                <a:gd name="T42" fmla="*/ 102 w 2162"/>
                <a:gd name="T43" fmla="*/ 565 h 2147"/>
                <a:gd name="T44" fmla="*/ 121 w 2162"/>
                <a:gd name="T45" fmla="*/ 558 h 2147"/>
                <a:gd name="T46" fmla="*/ 141 w 2162"/>
                <a:gd name="T47" fmla="*/ 551 h 2147"/>
                <a:gd name="T48" fmla="*/ 2162 w 2162"/>
                <a:gd name="T49" fmla="*/ 0 h 2147"/>
                <a:gd name="T50" fmla="*/ 2162 w 2162"/>
                <a:gd name="T51" fmla="*/ 2147 h 2147"/>
                <a:gd name="T52" fmla="*/ 705 w 2162"/>
                <a:gd name="T53" fmla="*/ 2147 h 2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162" h="2147">
                  <a:moveTo>
                    <a:pt x="705" y="2147"/>
                  </a:moveTo>
                  <a:lnTo>
                    <a:pt x="17" y="792"/>
                  </a:lnTo>
                  <a:lnTo>
                    <a:pt x="13" y="782"/>
                  </a:lnTo>
                  <a:lnTo>
                    <a:pt x="8" y="773"/>
                  </a:lnTo>
                  <a:lnTo>
                    <a:pt x="5" y="764"/>
                  </a:lnTo>
                  <a:lnTo>
                    <a:pt x="3" y="754"/>
                  </a:lnTo>
                  <a:lnTo>
                    <a:pt x="1" y="744"/>
                  </a:lnTo>
                  <a:lnTo>
                    <a:pt x="0" y="735"/>
                  </a:lnTo>
                  <a:lnTo>
                    <a:pt x="0" y="726"/>
                  </a:lnTo>
                  <a:lnTo>
                    <a:pt x="0" y="716"/>
                  </a:lnTo>
                  <a:lnTo>
                    <a:pt x="0" y="707"/>
                  </a:lnTo>
                  <a:lnTo>
                    <a:pt x="1" y="698"/>
                  </a:lnTo>
                  <a:lnTo>
                    <a:pt x="3" y="688"/>
                  </a:lnTo>
                  <a:lnTo>
                    <a:pt x="5" y="680"/>
                  </a:lnTo>
                  <a:lnTo>
                    <a:pt x="12" y="662"/>
                  </a:lnTo>
                  <a:lnTo>
                    <a:pt x="19" y="645"/>
                  </a:lnTo>
                  <a:lnTo>
                    <a:pt x="29" y="629"/>
                  </a:lnTo>
                  <a:lnTo>
                    <a:pt x="41" y="614"/>
                  </a:lnTo>
                  <a:lnTo>
                    <a:pt x="54" y="600"/>
                  </a:lnTo>
                  <a:lnTo>
                    <a:pt x="69" y="587"/>
                  </a:lnTo>
                  <a:lnTo>
                    <a:pt x="85" y="576"/>
                  </a:lnTo>
                  <a:lnTo>
                    <a:pt x="102" y="565"/>
                  </a:lnTo>
                  <a:lnTo>
                    <a:pt x="121" y="558"/>
                  </a:lnTo>
                  <a:lnTo>
                    <a:pt x="141" y="551"/>
                  </a:lnTo>
                  <a:lnTo>
                    <a:pt x="2162" y="0"/>
                  </a:lnTo>
                  <a:lnTo>
                    <a:pt x="2162" y="2147"/>
                  </a:lnTo>
                  <a:lnTo>
                    <a:pt x="705" y="2147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" name="Freeform 11"/>
            <p:cNvSpPr>
              <a:spLocks/>
            </p:cNvSpPr>
            <p:nvPr userDrawn="1"/>
          </p:nvSpPr>
          <p:spPr bwMode="auto">
            <a:xfrm>
              <a:off x="6105525" y="5953125"/>
              <a:ext cx="1589088" cy="904875"/>
            </a:xfrm>
            <a:custGeom>
              <a:avLst/>
              <a:gdLst>
                <a:gd name="T0" fmla="*/ 0 w 3003"/>
                <a:gd name="T1" fmla="*/ 1709 h 1709"/>
                <a:gd name="T2" fmla="*/ 1688 w 3003"/>
                <a:gd name="T3" fmla="*/ 45 h 1709"/>
                <a:gd name="T4" fmla="*/ 1695 w 3003"/>
                <a:gd name="T5" fmla="*/ 39 h 1709"/>
                <a:gd name="T6" fmla="*/ 1704 w 3003"/>
                <a:gd name="T7" fmla="*/ 32 h 1709"/>
                <a:gd name="T8" fmla="*/ 1711 w 3003"/>
                <a:gd name="T9" fmla="*/ 26 h 1709"/>
                <a:gd name="T10" fmla="*/ 1720 w 3003"/>
                <a:gd name="T11" fmla="*/ 20 h 1709"/>
                <a:gd name="T12" fmla="*/ 1729 w 3003"/>
                <a:gd name="T13" fmla="*/ 16 h 1709"/>
                <a:gd name="T14" fmla="*/ 1737 w 3003"/>
                <a:gd name="T15" fmla="*/ 12 h 1709"/>
                <a:gd name="T16" fmla="*/ 1746 w 3003"/>
                <a:gd name="T17" fmla="*/ 8 h 1709"/>
                <a:gd name="T18" fmla="*/ 1755 w 3003"/>
                <a:gd name="T19" fmla="*/ 6 h 1709"/>
                <a:gd name="T20" fmla="*/ 1764 w 3003"/>
                <a:gd name="T21" fmla="*/ 3 h 1709"/>
                <a:gd name="T22" fmla="*/ 1773 w 3003"/>
                <a:gd name="T23" fmla="*/ 2 h 1709"/>
                <a:gd name="T24" fmla="*/ 1783 w 3003"/>
                <a:gd name="T25" fmla="*/ 1 h 1709"/>
                <a:gd name="T26" fmla="*/ 1791 w 3003"/>
                <a:gd name="T27" fmla="*/ 0 h 1709"/>
                <a:gd name="T28" fmla="*/ 1811 w 3003"/>
                <a:gd name="T29" fmla="*/ 0 h 1709"/>
                <a:gd name="T30" fmla="*/ 1829 w 3003"/>
                <a:gd name="T31" fmla="*/ 3 h 1709"/>
                <a:gd name="T32" fmla="*/ 1847 w 3003"/>
                <a:gd name="T33" fmla="*/ 7 h 1709"/>
                <a:gd name="T34" fmla="*/ 1865 w 3003"/>
                <a:gd name="T35" fmla="*/ 14 h 1709"/>
                <a:gd name="T36" fmla="*/ 1882 w 3003"/>
                <a:gd name="T37" fmla="*/ 22 h 1709"/>
                <a:gd name="T38" fmla="*/ 1899 w 3003"/>
                <a:gd name="T39" fmla="*/ 32 h 1709"/>
                <a:gd name="T40" fmla="*/ 1914 w 3003"/>
                <a:gd name="T41" fmla="*/ 44 h 1709"/>
                <a:gd name="T42" fmla="*/ 1930 w 3003"/>
                <a:gd name="T43" fmla="*/ 58 h 1709"/>
                <a:gd name="T44" fmla="*/ 1944 w 3003"/>
                <a:gd name="T45" fmla="*/ 73 h 1709"/>
                <a:gd name="T46" fmla="*/ 1955 w 3003"/>
                <a:gd name="T47" fmla="*/ 90 h 1709"/>
                <a:gd name="T48" fmla="*/ 3003 w 3003"/>
                <a:gd name="T49" fmla="*/ 1709 h 1709"/>
                <a:gd name="T50" fmla="*/ 0 w 3003"/>
                <a:gd name="T51" fmla="*/ 1709 h 1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03" h="1709">
                  <a:moveTo>
                    <a:pt x="0" y="1709"/>
                  </a:moveTo>
                  <a:lnTo>
                    <a:pt x="1688" y="45"/>
                  </a:lnTo>
                  <a:lnTo>
                    <a:pt x="1695" y="39"/>
                  </a:lnTo>
                  <a:lnTo>
                    <a:pt x="1704" y="32"/>
                  </a:lnTo>
                  <a:lnTo>
                    <a:pt x="1711" y="26"/>
                  </a:lnTo>
                  <a:lnTo>
                    <a:pt x="1720" y="20"/>
                  </a:lnTo>
                  <a:lnTo>
                    <a:pt x="1729" y="16"/>
                  </a:lnTo>
                  <a:lnTo>
                    <a:pt x="1737" y="12"/>
                  </a:lnTo>
                  <a:lnTo>
                    <a:pt x="1746" y="8"/>
                  </a:lnTo>
                  <a:lnTo>
                    <a:pt x="1755" y="6"/>
                  </a:lnTo>
                  <a:lnTo>
                    <a:pt x="1764" y="3"/>
                  </a:lnTo>
                  <a:lnTo>
                    <a:pt x="1773" y="2"/>
                  </a:lnTo>
                  <a:lnTo>
                    <a:pt x="1783" y="1"/>
                  </a:lnTo>
                  <a:lnTo>
                    <a:pt x="1791" y="0"/>
                  </a:lnTo>
                  <a:lnTo>
                    <a:pt x="1811" y="0"/>
                  </a:lnTo>
                  <a:lnTo>
                    <a:pt x="1829" y="3"/>
                  </a:lnTo>
                  <a:lnTo>
                    <a:pt x="1847" y="7"/>
                  </a:lnTo>
                  <a:lnTo>
                    <a:pt x="1865" y="14"/>
                  </a:lnTo>
                  <a:lnTo>
                    <a:pt x="1882" y="22"/>
                  </a:lnTo>
                  <a:lnTo>
                    <a:pt x="1899" y="32"/>
                  </a:lnTo>
                  <a:lnTo>
                    <a:pt x="1914" y="44"/>
                  </a:lnTo>
                  <a:lnTo>
                    <a:pt x="1930" y="58"/>
                  </a:lnTo>
                  <a:lnTo>
                    <a:pt x="1944" y="73"/>
                  </a:lnTo>
                  <a:lnTo>
                    <a:pt x="1955" y="90"/>
                  </a:lnTo>
                  <a:lnTo>
                    <a:pt x="3003" y="1709"/>
                  </a:lnTo>
                  <a:lnTo>
                    <a:pt x="0" y="1709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4" name="Freeform 13"/>
            <p:cNvSpPr>
              <a:spLocks/>
            </p:cNvSpPr>
            <p:nvPr userDrawn="1"/>
          </p:nvSpPr>
          <p:spPr bwMode="auto">
            <a:xfrm>
              <a:off x="4116388" y="3810000"/>
              <a:ext cx="2773363" cy="2447925"/>
            </a:xfrm>
            <a:custGeom>
              <a:avLst/>
              <a:gdLst>
                <a:gd name="T0" fmla="*/ 5156 w 5241"/>
                <a:gd name="T1" fmla="*/ 2193 h 4627"/>
                <a:gd name="T2" fmla="*/ 5173 w 5241"/>
                <a:gd name="T3" fmla="*/ 2204 h 4627"/>
                <a:gd name="T4" fmla="*/ 5190 w 5241"/>
                <a:gd name="T5" fmla="*/ 2216 h 4627"/>
                <a:gd name="T6" fmla="*/ 5203 w 5241"/>
                <a:gd name="T7" fmla="*/ 2230 h 4627"/>
                <a:gd name="T8" fmla="*/ 5214 w 5241"/>
                <a:gd name="T9" fmla="*/ 2244 h 4627"/>
                <a:gd name="T10" fmla="*/ 5224 w 5241"/>
                <a:gd name="T11" fmla="*/ 2260 h 4627"/>
                <a:gd name="T12" fmla="*/ 5232 w 5241"/>
                <a:gd name="T13" fmla="*/ 2278 h 4627"/>
                <a:gd name="T14" fmla="*/ 5240 w 5241"/>
                <a:gd name="T15" fmla="*/ 2314 h 4627"/>
                <a:gd name="T16" fmla="*/ 5241 w 5241"/>
                <a:gd name="T17" fmla="*/ 2352 h 4627"/>
                <a:gd name="T18" fmla="*/ 5234 w 5241"/>
                <a:gd name="T19" fmla="*/ 2390 h 4627"/>
                <a:gd name="T20" fmla="*/ 5219 w 5241"/>
                <a:gd name="T21" fmla="*/ 2427 h 4627"/>
                <a:gd name="T22" fmla="*/ 5196 w 5241"/>
                <a:gd name="T23" fmla="*/ 2461 h 4627"/>
                <a:gd name="T24" fmla="*/ 3600 w 5241"/>
                <a:gd name="T25" fmla="*/ 4431 h 4627"/>
                <a:gd name="T26" fmla="*/ 3563 w 5241"/>
                <a:gd name="T27" fmla="*/ 4471 h 4627"/>
                <a:gd name="T28" fmla="*/ 3524 w 5241"/>
                <a:gd name="T29" fmla="*/ 4506 h 4627"/>
                <a:gd name="T30" fmla="*/ 3485 w 5241"/>
                <a:gd name="T31" fmla="*/ 4537 h 4627"/>
                <a:gd name="T32" fmla="*/ 3445 w 5241"/>
                <a:gd name="T33" fmla="*/ 4562 h 4627"/>
                <a:gd name="T34" fmla="*/ 3405 w 5241"/>
                <a:gd name="T35" fmla="*/ 4584 h 4627"/>
                <a:gd name="T36" fmla="*/ 3364 w 5241"/>
                <a:gd name="T37" fmla="*/ 4601 h 4627"/>
                <a:gd name="T38" fmla="*/ 3323 w 5241"/>
                <a:gd name="T39" fmla="*/ 4614 h 4627"/>
                <a:gd name="T40" fmla="*/ 3281 w 5241"/>
                <a:gd name="T41" fmla="*/ 4623 h 4627"/>
                <a:gd name="T42" fmla="*/ 3240 w 5241"/>
                <a:gd name="T43" fmla="*/ 4627 h 4627"/>
                <a:gd name="T44" fmla="*/ 3198 w 5241"/>
                <a:gd name="T45" fmla="*/ 4627 h 4627"/>
                <a:gd name="T46" fmla="*/ 3157 w 5241"/>
                <a:gd name="T47" fmla="*/ 4624 h 4627"/>
                <a:gd name="T48" fmla="*/ 3115 w 5241"/>
                <a:gd name="T49" fmla="*/ 4616 h 4627"/>
                <a:gd name="T50" fmla="*/ 3073 w 5241"/>
                <a:gd name="T51" fmla="*/ 4606 h 4627"/>
                <a:gd name="T52" fmla="*/ 3032 w 5241"/>
                <a:gd name="T53" fmla="*/ 4592 h 4627"/>
                <a:gd name="T54" fmla="*/ 2991 w 5241"/>
                <a:gd name="T55" fmla="*/ 4574 h 4627"/>
                <a:gd name="T56" fmla="*/ 277 w 5241"/>
                <a:gd name="T57" fmla="*/ 3172 h 4627"/>
                <a:gd name="T58" fmla="*/ 237 w 5241"/>
                <a:gd name="T59" fmla="*/ 3150 h 4627"/>
                <a:gd name="T60" fmla="*/ 200 w 5241"/>
                <a:gd name="T61" fmla="*/ 3125 h 4627"/>
                <a:gd name="T62" fmla="*/ 166 w 5241"/>
                <a:gd name="T63" fmla="*/ 3099 h 4627"/>
                <a:gd name="T64" fmla="*/ 134 w 5241"/>
                <a:gd name="T65" fmla="*/ 3070 h 4627"/>
                <a:gd name="T66" fmla="*/ 106 w 5241"/>
                <a:gd name="T67" fmla="*/ 3039 h 4627"/>
                <a:gd name="T68" fmla="*/ 81 w 5241"/>
                <a:gd name="T69" fmla="*/ 3006 h 4627"/>
                <a:gd name="T70" fmla="*/ 58 w 5241"/>
                <a:gd name="T71" fmla="*/ 2971 h 4627"/>
                <a:gd name="T72" fmla="*/ 40 w 5241"/>
                <a:gd name="T73" fmla="*/ 2933 h 4627"/>
                <a:gd name="T74" fmla="*/ 24 w 5241"/>
                <a:gd name="T75" fmla="*/ 2893 h 4627"/>
                <a:gd name="T76" fmla="*/ 13 w 5241"/>
                <a:gd name="T77" fmla="*/ 2851 h 4627"/>
                <a:gd name="T78" fmla="*/ 4 w 5241"/>
                <a:gd name="T79" fmla="*/ 2807 h 4627"/>
                <a:gd name="T80" fmla="*/ 1 w 5241"/>
                <a:gd name="T81" fmla="*/ 2761 h 4627"/>
                <a:gd name="T82" fmla="*/ 1 w 5241"/>
                <a:gd name="T83" fmla="*/ 2713 h 4627"/>
                <a:gd name="T84" fmla="*/ 6 w 5241"/>
                <a:gd name="T85" fmla="*/ 2662 h 4627"/>
                <a:gd name="T86" fmla="*/ 14 w 5241"/>
                <a:gd name="T87" fmla="*/ 2609 h 4627"/>
                <a:gd name="T88" fmla="*/ 28 w 5241"/>
                <a:gd name="T89" fmla="*/ 2554 h 4627"/>
                <a:gd name="T90" fmla="*/ 711 w 5241"/>
                <a:gd name="T91" fmla="*/ 121 h 4627"/>
                <a:gd name="T92" fmla="*/ 729 w 5241"/>
                <a:gd name="T93" fmla="*/ 84 h 4627"/>
                <a:gd name="T94" fmla="*/ 753 w 5241"/>
                <a:gd name="T95" fmla="*/ 54 h 4627"/>
                <a:gd name="T96" fmla="*/ 782 w 5241"/>
                <a:gd name="T97" fmla="*/ 29 h 4627"/>
                <a:gd name="T98" fmla="*/ 816 w 5241"/>
                <a:gd name="T99" fmla="*/ 11 h 4627"/>
                <a:gd name="T100" fmla="*/ 843 w 5241"/>
                <a:gd name="T101" fmla="*/ 3 h 4627"/>
                <a:gd name="T102" fmla="*/ 861 w 5241"/>
                <a:gd name="T103" fmla="*/ 1 h 4627"/>
                <a:gd name="T104" fmla="*/ 879 w 5241"/>
                <a:gd name="T105" fmla="*/ 0 h 4627"/>
                <a:gd name="T106" fmla="*/ 899 w 5241"/>
                <a:gd name="T107" fmla="*/ 2 h 4627"/>
                <a:gd name="T108" fmla="*/ 917 w 5241"/>
                <a:gd name="T109" fmla="*/ 7 h 4627"/>
                <a:gd name="T110" fmla="*/ 937 w 5241"/>
                <a:gd name="T111" fmla="*/ 13 h 4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241" h="4627">
                  <a:moveTo>
                    <a:pt x="946" y="19"/>
                  </a:moveTo>
                  <a:lnTo>
                    <a:pt x="5156" y="2193"/>
                  </a:lnTo>
                  <a:lnTo>
                    <a:pt x="5165" y="2199"/>
                  </a:lnTo>
                  <a:lnTo>
                    <a:pt x="5173" y="2204"/>
                  </a:lnTo>
                  <a:lnTo>
                    <a:pt x="5182" y="2210"/>
                  </a:lnTo>
                  <a:lnTo>
                    <a:pt x="5190" y="2216"/>
                  </a:lnTo>
                  <a:lnTo>
                    <a:pt x="5196" y="2223"/>
                  </a:lnTo>
                  <a:lnTo>
                    <a:pt x="5203" y="2230"/>
                  </a:lnTo>
                  <a:lnTo>
                    <a:pt x="5209" y="2237"/>
                  </a:lnTo>
                  <a:lnTo>
                    <a:pt x="5214" y="2244"/>
                  </a:lnTo>
                  <a:lnTo>
                    <a:pt x="5220" y="2253"/>
                  </a:lnTo>
                  <a:lnTo>
                    <a:pt x="5224" y="2260"/>
                  </a:lnTo>
                  <a:lnTo>
                    <a:pt x="5228" y="2269"/>
                  </a:lnTo>
                  <a:lnTo>
                    <a:pt x="5232" y="2278"/>
                  </a:lnTo>
                  <a:lnTo>
                    <a:pt x="5237" y="2296"/>
                  </a:lnTo>
                  <a:lnTo>
                    <a:pt x="5240" y="2314"/>
                  </a:lnTo>
                  <a:lnTo>
                    <a:pt x="5241" y="2333"/>
                  </a:lnTo>
                  <a:lnTo>
                    <a:pt x="5241" y="2352"/>
                  </a:lnTo>
                  <a:lnTo>
                    <a:pt x="5238" y="2370"/>
                  </a:lnTo>
                  <a:lnTo>
                    <a:pt x="5234" y="2390"/>
                  </a:lnTo>
                  <a:lnTo>
                    <a:pt x="5227" y="2408"/>
                  </a:lnTo>
                  <a:lnTo>
                    <a:pt x="5219" y="2427"/>
                  </a:lnTo>
                  <a:lnTo>
                    <a:pt x="5209" y="2445"/>
                  </a:lnTo>
                  <a:lnTo>
                    <a:pt x="5196" y="2461"/>
                  </a:lnTo>
                  <a:lnTo>
                    <a:pt x="3619" y="4409"/>
                  </a:lnTo>
                  <a:lnTo>
                    <a:pt x="3600" y="4431"/>
                  </a:lnTo>
                  <a:lnTo>
                    <a:pt x="3581" y="4451"/>
                  </a:lnTo>
                  <a:lnTo>
                    <a:pt x="3563" y="4471"/>
                  </a:lnTo>
                  <a:lnTo>
                    <a:pt x="3544" y="4489"/>
                  </a:lnTo>
                  <a:lnTo>
                    <a:pt x="3524" y="4506"/>
                  </a:lnTo>
                  <a:lnTo>
                    <a:pt x="3505" y="4523"/>
                  </a:lnTo>
                  <a:lnTo>
                    <a:pt x="3485" y="4537"/>
                  </a:lnTo>
                  <a:lnTo>
                    <a:pt x="3466" y="4551"/>
                  </a:lnTo>
                  <a:lnTo>
                    <a:pt x="3445" y="4562"/>
                  </a:lnTo>
                  <a:lnTo>
                    <a:pt x="3426" y="4574"/>
                  </a:lnTo>
                  <a:lnTo>
                    <a:pt x="3405" y="4584"/>
                  </a:lnTo>
                  <a:lnTo>
                    <a:pt x="3385" y="4594"/>
                  </a:lnTo>
                  <a:lnTo>
                    <a:pt x="3364" y="4601"/>
                  </a:lnTo>
                  <a:lnTo>
                    <a:pt x="3344" y="4608"/>
                  </a:lnTo>
                  <a:lnTo>
                    <a:pt x="3323" y="4614"/>
                  </a:lnTo>
                  <a:lnTo>
                    <a:pt x="3303" y="4619"/>
                  </a:lnTo>
                  <a:lnTo>
                    <a:pt x="3281" y="4623"/>
                  </a:lnTo>
                  <a:lnTo>
                    <a:pt x="3261" y="4625"/>
                  </a:lnTo>
                  <a:lnTo>
                    <a:pt x="3240" y="4627"/>
                  </a:lnTo>
                  <a:lnTo>
                    <a:pt x="3220" y="4627"/>
                  </a:lnTo>
                  <a:lnTo>
                    <a:pt x="3198" y="4627"/>
                  </a:lnTo>
                  <a:lnTo>
                    <a:pt x="3178" y="4626"/>
                  </a:lnTo>
                  <a:lnTo>
                    <a:pt x="3157" y="4624"/>
                  </a:lnTo>
                  <a:lnTo>
                    <a:pt x="3135" y="4621"/>
                  </a:lnTo>
                  <a:lnTo>
                    <a:pt x="3115" y="4616"/>
                  </a:lnTo>
                  <a:lnTo>
                    <a:pt x="3094" y="4612"/>
                  </a:lnTo>
                  <a:lnTo>
                    <a:pt x="3073" y="4606"/>
                  </a:lnTo>
                  <a:lnTo>
                    <a:pt x="3052" y="4599"/>
                  </a:lnTo>
                  <a:lnTo>
                    <a:pt x="3032" y="4592"/>
                  </a:lnTo>
                  <a:lnTo>
                    <a:pt x="3011" y="4583"/>
                  </a:lnTo>
                  <a:lnTo>
                    <a:pt x="2991" y="4574"/>
                  </a:lnTo>
                  <a:lnTo>
                    <a:pt x="2970" y="4564"/>
                  </a:lnTo>
                  <a:lnTo>
                    <a:pt x="277" y="3172"/>
                  </a:lnTo>
                  <a:lnTo>
                    <a:pt x="256" y="3161"/>
                  </a:lnTo>
                  <a:lnTo>
                    <a:pt x="237" y="3150"/>
                  </a:lnTo>
                  <a:lnTo>
                    <a:pt x="218" y="3138"/>
                  </a:lnTo>
                  <a:lnTo>
                    <a:pt x="200" y="3125"/>
                  </a:lnTo>
                  <a:lnTo>
                    <a:pt x="183" y="3112"/>
                  </a:lnTo>
                  <a:lnTo>
                    <a:pt x="166" y="3099"/>
                  </a:lnTo>
                  <a:lnTo>
                    <a:pt x="150" y="3085"/>
                  </a:lnTo>
                  <a:lnTo>
                    <a:pt x="134" y="3070"/>
                  </a:lnTo>
                  <a:lnTo>
                    <a:pt x="120" y="3055"/>
                  </a:lnTo>
                  <a:lnTo>
                    <a:pt x="106" y="3039"/>
                  </a:lnTo>
                  <a:lnTo>
                    <a:pt x="93" y="3023"/>
                  </a:lnTo>
                  <a:lnTo>
                    <a:pt x="81" y="3006"/>
                  </a:lnTo>
                  <a:lnTo>
                    <a:pt x="69" y="2989"/>
                  </a:lnTo>
                  <a:lnTo>
                    <a:pt x="58" y="2971"/>
                  </a:lnTo>
                  <a:lnTo>
                    <a:pt x="49" y="2952"/>
                  </a:lnTo>
                  <a:lnTo>
                    <a:pt x="40" y="2933"/>
                  </a:lnTo>
                  <a:lnTo>
                    <a:pt x="31" y="2914"/>
                  </a:lnTo>
                  <a:lnTo>
                    <a:pt x="24" y="2893"/>
                  </a:lnTo>
                  <a:lnTo>
                    <a:pt x="17" y="2873"/>
                  </a:lnTo>
                  <a:lnTo>
                    <a:pt x="13" y="2851"/>
                  </a:lnTo>
                  <a:lnTo>
                    <a:pt x="8" y="2829"/>
                  </a:lnTo>
                  <a:lnTo>
                    <a:pt x="4" y="2807"/>
                  </a:lnTo>
                  <a:lnTo>
                    <a:pt x="2" y="2784"/>
                  </a:lnTo>
                  <a:lnTo>
                    <a:pt x="1" y="2761"/>
                  </a:lnTo>
                  <a:lnTo>
                    <a:pt x="0" y="2737"/>
                  </a:lnTo>
                  <a:lnTo>
                    <a:pt x="1" y="2713"/>
                  </a:lnTo>
                  <a:lnTo>
                    <a:pt x="2" y="2687"/>
                  </a:lnTo>
                  <a:lnTo>
                    <a:pt x="6" y="2662"/>
                  </a:lnTo>
                  <a:lnTo>
                    <a:pt x="10" y="2635"/>
                  </a:lnTo>
                  <a:lnTo>
                    <a:pt x="14" y="2609"/>
                  </a:lnTo>
                  <a:lnTo>
                    <a:pt x="21" y="2582"/>
                  </a:lnTo>
                  <a:lnTo>
                    <a:pt x="28" y="2554"/>
                  </a:lnTo>
                  <a:lnTo>
                    <a:pt x="704" y="141"/>
                  </a:lnTo>
                  <a:lnTo>
                    <a:pt x="711" y="121"/>
                  </a:lnTo>
                  <a:lnTo>
                    <a:pt x="718" y="102"/>
                  </a:lnTo>
                  <a:lnTo>
                    <a:pt x="729" y="84"/>
                  </a:lnTo>
                  <a:lnTo>
                    <a:pt x="740" y="68"/>
                  </a:lnTo>
                  <a:lnTo>
                    <a:pt x="753" y="54"/>
                  </a:lnTo>
                  <a:lnTo>
                    <a:pt x="767" y="40"/>
                  </a:lnTo>
                  <a:lnTo>
                    <a:pt x="782" y="29"/>
                  </a:lnTo>
                  <a:lnTo>
                    <a:pt x="798" y="20"/>
                  </a:lnTo>
                  <a:lnTo>
                    <a:pt x="816" y="11"/>
                  </a:lnTo>
                  <a:lnTo>
                    <a:pt x="833" y="6"/>
                  </a:lnTo>
                  <a:lnTo>
                    <a:pt x="843" y="3"/>
                  </a:lnTo>
                  <a:lnTo>
                    <a:pt x="851" y="2"/>
                  </a:lnTo>
                  <a:lnTo>
                    <a:pt x="861" y="1"/>
                  </a:lnTo>
                  <a:lnTo>
                    <a:pt x="871" y="0"/>
                  </a:lnTo>
                  <a:lnTo>
                    <a:pt x="879" y="0"/>
                  </a:lnTo>
                  <a:lnTo>
                    <a:pt x="889" y="1"/>
                  </a:lnTo>
                  <a:lnTo>
                    <a:pt x="899" y="2"/>
                  </a:lnTo>
                  <a:lnTo>
                    <a:pt x="908" y="5"/>
                  </a:lnTo>
                  <a:lnTo>
                    <a:pt x="917" y="7"/>
                  </a:lnTo>
                  <a:lnTo>
                    <a:pt x="927" y="10"/>
                  </a:lnTo>
                  <a:lnTo>
                    <a:pt x="937" y="13"/>
                  </a:lnTo>
                  <a:lnTo>
                    <a:pt x="946" y="19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18" name="Группа 17"/>
          <p:cNvGrpSpPr/>
          <p:nvPr userDrawn="1"/>
        </p:nvGrpSpPr>
        <p:grpSpPr>
          <a:xfrm>
            <a:off x="531416" y="487363"/>
            <a:ext cx="2332038" cy="455612"/>
            <a:chOff x="490538" y="487363"/>
            <a:chExt cx="2152650" cy="455612"/>
          </a:xfrm>
        </p:grpSpPr>
        <p:sp>
          <p:nvSpPr>
            <p:cNvPr id="19" name="Freeform 5"/>
            <p:cNvSpPr>
              <a:spLocks noEditPoints="1"/>
            </p:cNvSpPr>
            <p:nvPr userDrawn="1"/>
          </p:nvSpPr>
          <p:spPr bwMode="auto">
            <a:xfrm>
              <a:off x="1144588" y="590550"/>
              <a:ext cx="1498600" cy="247650"/>
            </a:xfrm>
            <a:custGeom>
              <a:avLst/>
              <a:gdLst>
                <a:gd name="T0" fmla="*/ 2465 w 11327"/>
                <a:gd name="T1" fmla="*/ 803 h 1868"/>
                <a:gd name="T2" fmla="*/ 2667 w 11327"/>
                <a:gd name="T3" fmla="*/ 466 h 1868"/>
                <a:gd name="T4" fmla="*/ 3049 w 11327"/>
                <a:gd name="T5" fmla="*/ 345 h 1868"/>
                <a:gd name="T6" fmla="*/ 3430 w 11327"/>
                <a:gd name="T7" fmla="*/ 466 h 1868"/>
                <a:gd name="T8" fmla="*/ 3632 w 11327"/>
                <a:gd name="T9" fmla="*/ 803 h 1868"/>
                <a:gd name="T10" fmla="*/ 3574 w 11327"/>
                <a:gd name="T11" fmla="*/ 1233 h 1868"/>
                <a:gd name="T12" fmla="*/ 3284 w 11327"/>
                <a:gd name="T13" fmla="*/ 1483 h 1868"/>
                <a:gd name="T14" fmla="*/ 2870 w 11327"/>
                <a:gd name="T15" fmla="*/ 1500 h 1868"/>
                <a:gd name="T16" fmla="*/ 2553 w 11327"/>
                <a:gd name="T17" fmla="*/ 1281 h 1868"/>
                <a:gd name="T18" fmla="*/ 4046 w 11327"/>
                <a:gd name="T19" fmla="*/ 882 h 1868"/>
                <a:gd name="T20" fmla="*/ 3784 w 11327"/>
                <a:gd name="T21" fmla="*/ 289 h 1868"/>
                <a:gd name="T22" fmla="*/ 3199 w 11327"/>
                <a:gd name="T23" fmla="*/ 10 h 1868"/>
                <a:gd name="T24" fmla="*/ 2536 w 11327"/>
                <a:gd name="T25" fmla="*/ 125 h 1868"/>
                <a:gd name="T26" fmla="*/ 2113 w 11327"/>
                <a:gd name="T27" fmla="*/ 595 h 1868"/>
                <a:gd name="T28" fmla="*/ 2113 w 11327"/>
                <a:gd name="T29" fmla="*/ 1273 h 1868"/>
                <a:gd name="T30" fmla="*/ 2536 w 11327"/>
                <a:gd name="T31" fmla="*/ 1743 h 1868"/>
                <a:gd name="T32" fmla="*/ 3199 w 11327"/>
                <a:gd name="T33" fmla="*/ 1858 h 1868"/>
                <a:gd name="T34" fmla="*/ 3784 w 11327"/>
                <a:gd name="T35" fmla="*/ 1579 h 1868"/>
                <a:gd name="T36" fmla="*/ 4046 w 11327"/>
                <a:gd name="T37" fmla="*/ 985 h 1868"/>
                <a:gd name="T38" fmla="*/ 4444 w 11327"/>
                <a:gd name="T39" fmla="*/ 1443 h 1868"/>
                <a:gd name="T40" fmla="*/ 4540 w 11327"/>
                <a:gd name="T41" fmla="*/ 1808 h 1868"/>
                <a:gd name="T42" fmla="*/ 4811 w 11327"/>
                <a:gd name="T43" fmla="*/ 1650 h 1868"/>
                <a:gd name="T44" fmla="*/ 5796 w 11327"/>
                <a:gd name="T45" fmla="*/ 403 h 1868"/>
                <a:gd name="T46" fmla="*/ 7304 w 11327"/>
                <a:gd name="T47" fmla="*/ 1292 h 1868"/>
                <a:gd name="T48" fmla="*/ 7673 w 11327"/>
                <a:gd name="T49" fmla="*/ 1730 h 1868"/>
                <a:gd name="T50" fmla="*/ 8267 w 11327"/>
                <a:gd name="T51" fmla="*/ 1867 h 1868"/>
                <a:gd name="T52" fmla="*/ 8871 w 11327"/>
                <a:gd name="T53" fmla="*/ 1653 h 1868"/>
                <a:gd name="T54" fmla="*/ 9178 w 11327"/>
                <a:gd name="T55" fmla="*/ 1094 h 1868"/>
                <a:gd name="T56" fmla="*/ 9049 w 11327"/>
                <a:gd name="T57" fmla="*/ 414 h 1868"/>
                <a:gd name="T58" fmla="*/ 8552 w 11327"/>
                <a:gd name="T59" fmla="*/ 48 h 1868"/>
                <a:gd name="T60" fmla="*/ 7924 w 11327"/>
                <a:gd name="T61" fmla="*/ 36 h 1868"/>
                <a:gd name="T62" fmla="*/ 7459 w 11327"/>
                <a:gd name="T63" fmla="*/ 313 h 1868"/>
                <a:gd name="T64" fmla="*/ 6585 w 11327"/>
                <a:gd name="T65" fmla="*/ 42 h 1868"/>
                <a:gd name="T66" fmla="*/ 7740 w 11327"/>
                <a:gd name="T67" fmla="*/ 563 h 1868"/>
                <a:gd name="T68" fmla="*/ 8053 w 11327"/>
                <a:gd name="T69" fmla="*/ 361 h 1868"/>
                <a:gd name="T70" fmla="*/ 8492 w 11327"/>
                <a:gd name="T71" fmla="*/ 396 h 1868"/>
                <a:gd name="T72" fmla="*/ 8744 w 11327"/>
                <a:gd name="T73" fmla="*/ 660 h 1868"/>
                <a:gd name="T74" fmla="*/ 8775 w 11327"/>
                <a:gd name="T75" fmla="*/ 1095 h 1868"/>
                <a:gd name="T76" fmla="*/ 8585 w 11327"/>
                <a:gd name="T77" fmla="*/ 1418 h 1868"/>
                <a:gd name="T78" fmla="*/ 8182 w 11327"/>
                <a:gd name="T79" fmla="*/ 1522 h 1868"/>
                <a:gd name="T80" fmla="*/ 7807 w 11327"/>
                <a:gd name="T81" fmla="*/ 1385 h 1868"/>
                <a:gd name="T82" fmla="*/ 7649 w 11327"/>
                <a:gd name="T83" fmla="*/ 1033 h 1868"/>
                <a:gd name="T84" fmla="*/ 11121 w 11327"/>
                <a:gd name="T85" fmla="*/ 228 h 1868"/>
                <a:gd name="T86" fmla="*/ 10716 w 11327"/>
                <a:gd name="T87" fmla="*/ 30 h 1868"/>
                <a:gd name="T88" fmla="*/ 10126 w 11327"/>
                <a:gd name="T89" fmla="*/ 37 h 1868"/>
                <a:gd name="T90" fmla="*/ 9598 w 11327"/>
                <a:gd name="T91" fmla="*/ 385 h 1868"/>
                <a:gd name="T92" fmla="*/ 9435 w 11327"/>
                <a:gd name="T93" fmla="*/ 1039 h 1868"/>
                <a:gd name="T94" fmla="*/ 9714 w 11327"/>
                <a:gd name="T95" fmla="*/ 1617 h 1868"/>
                <a:gd name="T96" fmla="*/ 10320 w 11327"/>
                <a:gd name="T97" fmla="*/ 1863 h 1868"/>
                <a:gd name="T98" fmla="*/ 10845 w 11327"/>
                <a:gd name="T99" fmla="*/ 1799 h 1868"/>
                <a:gd name="T100" fmla="*/ 11211 w 11327"/>
                <a:gd name="T101" fmla="*/ 1551 h 1868"/>
                <a:gd name="T102" fmla="*/ 10919 w 11327"/>
                <a:gd name="T103" fmla="*/ 1325 h 1868"/>
                <a:gd name="T104" fmla="*/ 10676 w 11327"/>
                <a:gd name="T105" fmla="*/ 1473 h 1868"/>
                <a:gd name="T106" fmla="*/ 10324 w 11327"/>
                <a:gd name="T107" fmla="*/ 1504 h 1868"/>
                <a:gd name="T108" fmla="*/ 9975 w 11327"/>
                <a:gd name="T109" fmla="*/ 1332 h 1868"/>
                <a:gd name="T110" fmla="*/ 9831 w 11327"/>
                <a:gd name="T111" fmla="*/ 966 h 1868"/>
                <a:gd name="T112" fmla="*/ 9938 w 11327"/>
                <a:gd name="T113" fmla="*/ 575 h 1868"/>
                <a:gd name="T114" fmla="*/ 10261 w 11327"/>
                <a:gd name="T115" fmla="*/ 373 h 1868"/>
                <a:gd name="T116" fmla="*/ 10634 w 11327"/>
                <a:gd name="T117" fmla="*/ 382 h 1868"/>
                <a:gd name="T118" fmla="*/ 10890 w 11327"/>
                <a:gd name="T119" fmla="*/ 515 h 1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27" h="1868">
                  <a:moveTo>
                    <a:pt x="0" y="42"/>
                  </a:moveTo>
                  <a:lnTo>
                    <a:pt x="0" y="1822"/>
                  </a:lnTo>
                  <a:lnTo>
                    <a:pt x="399" y="1822"/>
                  </a:lnTo>
                  <a:lnTo>
                    <a:pt x="399" y="400"/>
                  </a:lnTo>
                  <a:lnTo>
                    <a:pt x="1352" y="400"/>
                  </a:lnTo>
                  <a:lnTo>
                    <a:pt x="1352" y="1822"/>
                  </a:lnTo>
                  <a:lnTo>
                    <a:pt x="1755" y="1822"/>
                  </a:lnTo>
                  <a:lnTo>
                    <a:pt x="1755" y="42"/>
                  </a:lnTo>
                  <a:lnTo>
                    <a:pt x="0" y="42"/>
                  </a:lnTo>
                  <a:close/>
                  <a:moveTo>
                    <a:pt x="2454" y="933"/>
                  </a:moveTo>
                  <a:lnTo>
                    <a:pt x="2454" y="900"/>
                  </a:lnTo>
                  <a:lnTo>
                    <a:pt x="2457" y="866"/>
                  </a:lnTo>
                  <a:lnTo>
                    <a:pt x="2460" y="835"/>
                  </a:lnTo>
                  <a:lnTo>
                    <a:pt x="2465" y="803"/>
                  </a:lnTo>
                  <a:lnTo>
                    <a:pt x="2472" y="773"/>
                  </a:lnTo>
                  <a:lnTo>
                    <a:pt x="2480" y="743"/>
                  </a:lnTo>
                  <a:lnTo>
                    <a:pt x="2489" y="715"/>
                  </a:lnTo>
                  <a:lnTo>
                    <a:pt x="2499" y="686"/>
                  </a:lnTo>
                  <a:lnTo>
                    <a:pt x="2511" y="660"/>
                  </a:lnTo>
                  <a:lnTo>
                    <a:pt x="2524" y="634"/>
                  </a:lnTo>
                  <a:lnTo>
                    <a:pt x="2538" y="610"/>
                  </a:lnTo>
                  <a:lnTo>
                    <a:pt x="2553" y="586"/>
                  </a:lnTo>
                  <a:lnTo>
                    <a:pt x="2570" y="563"/>
                  </a:lnTo>
                  <a:lnTo>
                    <a:pt x="2588" y="542"/>
                  </a:lnTo>
                  <a:lnTo>
                    <a:pt x="2606" y="521"/>
                  </a:lnTo>
                  <a:lnTo>
                    <a:pt x="2626" y="501"/>
                  </a:lnTo>
                  <a:lnTo>
                    <a:pt x="2646" y="483"/>
                  </a:lnTo>
                  <a:lnTo>
                    <a:pt x="2667" y="466"/>
                  </a:lnTo>
                  <a:lnTo>
                    <a:pt x="2691" y="449"/>
                  </a:lnTo>
                  <a:lnTo>
                    <a:pt x="2713" y="434"/>
                  </a:lnTo>
                  <a:lnTo>
                    <a:pt x="2737" y="420"/>
                  </a:lnTo>
                  <a:lnTo>
                    <a:pt x="2763" y="408"/>
                  </a:lnTo>
                  <a:lnTo>
                    <a:pt x="2788" y="396"/>
                  </a:lnTo>
                  <a:lnTo>
                    <a:pt x="2815" y="385"/>
                  </a:lnTo>
                  <a:lnTo>
                    <a:pt x="2842" y="375"/>
                  </a:lnTo>
                  <a:lnTo>
                    <a:pt x="2870" y="367"/>
                  </a:lnTo>
                  <a:lnTo>
                    <a:pt x="2898" y="361"/>
                  </a:lnTo>
                  <a:lnTo>
                    <a:pt x="2928" y="355"/>
                  </a:lnTo>
                  <a:lnTo>
                    <a:pt x="2957" y="351"/>
                  </a:lnTo>
                  <a:lnTo>
                    <a:pt x="2988" y="347"/>
                  </a:lnTo>
                  <a:lnTo>
                    <a:pt x="3018" y="345"/>
                  </a:lnTo>
                  <a:lnTo>
                    <a:pt x="3049" y="345"/>
                  </a:lnTo>
                  <a:lnTo>
                    <a:pt x="3080" y="345"/>
                  </a:lnTo>
                  <a:lnTo>
                    <a:pt x="3111" y="347"/>
                  </a:lnTo>
                  <a:lnTo>
                    <a:pt x="3141" y="351"/>
                  </a:lnTo>
                  <a:lnTo>
                    <a:pt x="3171" y="355"/>
                  </a:lnTo>
                  <a:lnTo>
                    <a:pt x="3200" y="361"/>
                  </a:lnTo>
                  <a:lnTo>
                    <a:pt x="3229" y="367"/>
                  </a:lnTo>
                  <a:lnTo>
                    <a:pt x="3256" y="375"/>
                  </a:lnTo>
                  <a:lnTo>
                    <a:pt x="3284" y="385"/>
                  </a:lnTo>
                  <a:lnTo>
                    <a:pt x="3310" y="396"/>
                  </a:lnTo>
                  <a:lnTo>
                    <a:pt x="3335" y="408"/>
                  </a:lnTo>
                  <a:lnTo>
                    <a:pt x="3361" y="420"/>
                  </a:lnTo>
                  <a:lnTo>
                    <a:pt x="3384" y="434"/>
                  </a:lnTo>
                  <a:lnTo>
                    <a:pt x="3408" y="449"/>
                  </a:lnTo>
                  <a:lnTo>
                    <a:pt x="3430" y="466"/>
                  </a:lnTo>
                  <a:lnTo>
                    <a:pt x="3452" y="483"/>
                  </a:lnTo>
                  <a:lnTo>
                    <a:pt x="3473" y="501"/>
                  </a:lnTo>
                  <a:lnTo>
                    <a:pt x="3492" y="521"/>
                  </a:lnTo>
                  <a:lnTo>
                    <a:pt x="3510" y="542"/>
                  </a:lnTo>
                  <a:lnTo>
                    <a:pt x="3528" y="563"/>
                  </a:lnTo>
                  <a:lnTo>
                    <a:pt x="3545" y="586"/>
                  </a:lnTo>
                  <a:lnTo>
                    <a:pt x="3560" y="610"/>
                  </a:lnTo>
                  <a:lnTo>
                    <a:pt x="3574" y="634"/>
                  </a:lnTo>
                  <a:lnTo>
                    <a:pt x="3587" y="660"/>
                  </a:lnTo>
                  <a:lnTo>
                    <a:pt x="3599" y="686"/>
                  </a:lnTo>
                  <a:lnTo>
                    <a:pt x="3609" y="715"/>
                  </a:lnTo>
                  <a:lnTo>
                    <a:pt x="3618" y="743"/>
                  </a:lnTo>
                  <a:lnTo>
                    <a:pt x="3626" y="773"/>
                  </a:lnTo>
                  <a:lnTo>
                    <a:pt x="3632" y="803"/>
                  </a:lnTo>
                  <a:lnTo>
                    <a:pt x="3637" y="835"/>
                  </a:lnTo>
                  <a:lnTo>
                    <a:pt x="3642" y="866"/>
                  </a:lnTo>
                  <a:lnTo>
                    <a:pt x="3644" y="900"/>
                  </a:lnTo>
                  <a:lnTo>
                    <a:pt x="3645" y="933"/>
                  </a:lnTo>
                  <a:lnTo>
                    <a:pt x="3644" y="968"/>
                  </a:lnTo>
                  <a:lnTo>
                    <a:pt x="3642" y="1001"/>
                  </a:lnTo>
                  <a:lnTo>
                    <a:pt x="3637" y="1033"/>
                  </a:lnTo>
                  <a:lnTo>
                    <a:pt x="3632" y="1065"/>
                  </a:lnTo>
                  <a:lnTo>
                    <a:pt x="3626" y="1095"/>
                  </a:lnTo>
                  <a:lnTo>
                    <a:pt x="3618" y="1125"/>
                  </a:lnTo>
                  <a:lnTo>
                    <a:pt x="3609" y="1153"/>
                  </a:lnTo>
                  <a:lnTo>
                    <a:pt x="3599" y="1181"/>
                  </a:lnTo>
                  <a:lnTo>
                    <a:pt x="3587" y="1207"/>
                  </a:lnTo>
                  <a:lnTo>
                    <a:pt x="3574" y="1233"/>
                  </a:lnTo>
                  <a:lnTo>
                    <a:pt x="3560" y="1258"/>
                  </a:lnTo>
                  <a:lnTo>
                    <a:pt x="3545" y="1281"/>
                  </a:lnTo>
                  <a:lnTo>
                    <a:pt x="3528" y="1305"/>
                  </a:lnTo>
                  <a:lnTo>
                    <a:pt x="3510" y="1326"/>
                  </a:lnTo>
                  <a:lnTo>
                    <a:pt x="3492" y="1346"/>
                  </a:lnTo>
                  <a:lnTo>
                    <a:pt x="3473" y="1366"/>
                  </a:lnTo>
                  <a:lnTo>
                    <a:pt x="3452" y="1385"/>
                  </a:lnTo>
                  <a:lnTo>
                    <a:pt x="3430" y="1402"/>
                  </a:lnTo>
                  <a:lnTo>
                    <a:pt x="3408" y="1418"/>
                  </a:lnTo>
                  <a:lnTo>
                    <a:pt x="3384" y="1434"/>
                  </a:lnTo>
                  <a:lnTo>
                    <a:pt x="3361" y="1447"/>
                  </a:lnTo>
                  <a:lnTo>
                    <a:pt x="3335" y="1460"/>
                  </a:lnTo>
                  <a:lnTo>
                    <a:pt x="3310" y="1472"/>
                  </a:lnTo>
                  <a:lnTo>
                    <a:pt x="3284" y="1483"/>
                  </a:lnTo>
                  <a:lnTo>
                    <a:pt x="3256" y="1492"/>
                  </a:lnTo>
                  <a:lnTo>
                    <a:pt x="3229" y="1500"/>
                  </a:lnTo>
                  <a:lnTo>
                    <a:pt x="3200" y="1507"/>
                  </a:lnTo>
                  <a:lnTo>
                    <a:pt x="3171" y="1513"/>
                  </a:lnTo>
                  <a:lnTo>
                    <a:pt x="3141" y="1517"/>
                  </a:lnTo>
                  <a:lnTo>
                    <a:pt x="3111" y="1520"/>
                  </a:lnTo>
                  <a:lnTo>
                    <a:pt x="3080" y="1522"/>
                  </a:lnTo>
                  <a:lnTo>
                    <a:pt x="3049" y="1523"/>
                  </a:lnTo>
                  <a:lnTo>
                    <a:pt x="3018" y="1522"/>
                  </a:lnTo>
                  <a:lnTo>
                    <a:pt x="2988" y="1520"/>
                  </a:lnTo>
                  <a:lnTo>
                    <a:pt x="2957" y="1517"/>
                  </a:lnTo>
                  <a:lnTo>
                    <a:pt x="2928" y="1513"/>
                  </a:lnTo>
                  <a:lnTo>
                    <a:pt x="2898" y="1507"/>
                  </a:lnTo>
                  <a:lnTo>
                    <a:pt x="2870" y="1500"/>
                  </a:lnTo>
                  <a:lnTo>
                    <a:pt x="2842" y="1492"/>
                  </a:lnTo>
                  <a:lnTo>
                    <a:pt x="2815" y="1483"/>
                  </a:lnTo>
                  <a:lnTo>
                    <a:pt x="2788" y="1472"/>
                  </a:lnTo>
                  <a:lnTo>
                    <a:pt x="2763" y="1460"/>
                  </a:lnTo>
                  <a:lnTo>
                    <a:pt x="2737" y="1447"/>
                  </a:lnTo>
                  <a:lnTo>
                    <a:pt x="2713" y="1434"/>
                  </a:lnTo>
                  <a:lnTo>
                    <a:pt x="2691" y="1418"/>
                  </a:lnTo>
                  <a:lnTo>
                    <a:pt x="2667" y="1402"/>
                  </a:lnTo>
                  <a:lnTo>
                    <a:pt x="2646" y="1385"/>
                  </a:lnTo>
                  <a:lnTo>
                    <a:pt x="2626" y="1366"/>
                  </a:lnTo>
                  <a:lnTo>
                    <a:pt x="2606" y="1346"/>
                  </a:lnTo>
                  <a:lnTo>
                    <a:pt x="2588" y="1326"/>
                  </a:lnTo>
                  <a:lnTo>
                    <a:pt x="2570" y="1305"/>
                  </a:lnTo>
                  <a:lnTo>
                    <a:pt x="2553" y="1281"/>
                  </a:lnTo>
                  <a:lnTo>
                    <a:pt x="2538" y="1258"/>
                  </a:lnTo>
                  <a:lnTo>
                    <a:pt x="2524" y="1233"/>
                  </a:lnTo>
                  <a:lnTo>
                    <a:pt x="2511" y="1207"/>
                  </a:lnTo>
                  <a:lnTo>
                    <a:pt x="2499" y="1181"/>
                  </a:lnTo>
                  <a:lnTo>
                    <a:pt x="2489" y="1153"/>
                  </a:lnTo>
                  <a:lnTo>
                    <a:pt x="2480" y="1125"/>
                  </a:lnTo>
                  <a:lnTo>
                    <a:pt x="2472" y="1095"/>
                  </a:lnTo>
                  <a:lnTo>
                    <a:pt x="2465" y="1065"/>
                  </a:lnTo>
                  <a:lnTo>
                    <a:pt x="2460" y="1033"/>
                  </a:lnTo>
                  <a:lnTo>
                    <a:pt x="2457" y="1001"/>
                  </a:lnTo>
                  <a:lnTo>
                    <a:pt x="2454" y="968"/>
                  </a:lnTo>
                  <a:lnTo>
                    <a:pt x="2454" y="933"/>
                  </a:lnTo>
                  <a:close/>
                  <a:moveTo>
                    <a:pt x="4047" y="933"/>
                  </a:moveTo>
                  <a:lnTo>
                    <a:pt x="4046" y="882"/>
                  </a:lnTo>
                  <a:lnTo>
                    <a:pt x="4042" y="831"/>
                  </a:lnTo>
                  <a:lnTo>
                    <a:pt x="4035" y="781"/>
                  </a:lnTo>
                  <a:lnTo>
                    <a:pt x="4026" y="733"/>
                  </a:lnTo>
                  <a:lnTo>
                    <a:pt x="4015" y="685"/>
                  </a:lnTo>
                  <a:lnTo>
                    <a:pt x="4002" y="640"/>
                  </a:lnTo>
                  <a:lnTo>
                    <a:pt x="3985" y="595"/>
                  </a:lnTo>
                  <a:lnTo>
                    <a:pt x="3967" y="551"/>
                  </a:lnTo>
                  <a:lnTo>
                    <a:pt x="3947" y="509"/>
                  </a:lnTo>
                  <a:lnTo>
                    <a:pt x="3924" y="469"/>
                  </a:lnTo>
                  <a:lnTo>
                    <a:pt x="3900" y="430"/>
                  </a:lnTo>
                  <a:lnTo>
                    <a:pt x="3874" y="392"/>
                  </a:lnTo>
                  <a:lnTo>
                    <a:pt x="3846" y="356"/>
                  </a:lnTo>
                  <a:lnTo>
                    <a:pt x="3815" y="321"/>
                  </a:lnTo>
                  <a:lnTo>
                    <a:pt x="3784" y="289"/>
                  </a:lnTo>
                  <a:lnTo>
                    <a:pt x="3751" y="257"/>
                  </a:lnTo>
                  <a:lnTo>
                    <a:pt x="3716" y="227"/>
                  </a:lnTo>
                  <a:lnTo>
                    <a:pt x="3679" y="199"/>
                  </a:lnTo>
                  <a:lnTo>
                    <a:pt x="3642" y="173"/>
                  </a:lnTo>
                  <a:lnTo>
                    <a:pt x="3603" y="147"/>
                  </a:lnTo>
                  <a:lnTo>
                    <a:pt x="3562" y="125"/>
                  </a:lnTo>
                  <a:lnTo>
                    <a:pt x="3521" y="104"/>
                  </a:lnTo>
                  <a:lnTo>
                    <a:pt x="3477" y="84"/>
                  </a:lnTo>
                  <a:lnTo>
                    <a:pt x="3433" y="67"/>
                  </a:lnTo>
                  <a:lnTo>
                    <a:pt x="3388" y="52"/>
                  </a:lnTo>
                  <a:lnTo>
                    <a:pt x="3342" y="39"/>
                  </a:lnTo>
                  <a:lnTo>
                    <a:pt x="3295" y="26"/>
                  </a:lnTo>
                  <a:lnTo>
                    <a:pt x="3247" y="17"/>
                  </a:lnTo>
                  <a:lnTo>
                    <a:pt x="3199" y="10"/>
                  </a:lnTo>
                  <a:lnTo>
                    <a:pt x="3149" y="4"/>
                  </a:lnTo>
                  <a:lnTo>
                    <a:pt x="3099" y="1"/>
                  </a:lnTo>
                  <a:lnTo>
                    <a:pt x="3049" y="0"/>
                  </a:lnTo>
                  <a:lnTo>
                    <a:pt x="2999" y="1"/>
                  </a:lnTo>
                  <a:lnTo>
                    <a:pt x="2949" y="4"/>
                  </a:lnTo>
                  <a:lnTo>
                    <a:pt x="2899" y="10"/>
                  </a:lnTo>
                  <a:lnTo>
                    <a:pt x="2851" y="17"/>
                  </a:lnTo>
                  <a:lnTo>
                    <a:pt x="2804" y="26"/>
                  </a:lnTo>
                  <a:lnTo>
                    <a:pt x="2756" y="39"/>
                  </a:lnTo>
                  <a:lnTo>
                    <a:pt x="2710" y="52"/>
                  </a:lnTo>
                  <a:lnTo>
                    <a:pt x="2665" y="67"/>
                  </a:lnTo>
                  <a:lnTo>
                    <a:pt x="2620" y="84"/>
                  </a:lnTo>
                  <a:lnTo>
                    <a:pt x="2578" y="104"/>
                  </a:lnTo>
                  <a:lnTo>
                    <a:pt x="2536" y="125"/>
                  </a:lnTo>
                  <a:lnTo>
                    <a:pt x="2495" y="147"/>
                  </a:lnTo>
                  <a:lnTo>
                    <a:pt x="2457" y="173"/>
                  </a:lnTo>
                  <a:lnTo>
                    <a:pt x="2418" y="199"/>
                  </a:lnTo>
                  <a:lnTo>
                    <a:pt x="2382" y="227"/>
                  </a:lnTo>
                  <a:lnTo>
                    <a:pt x="2347" y="257"/>
                  </a:lnTo>
                  <a:lnTo>
                    <a:pt x="2313" y="289"/>
                  </a:lnTo>
                  <a:lnTo>
                    <a:pt x="2282" y="321"/>
                  </a:lnTo>
                  <a:lnTo>
                    <a:pt x="2252" y="356"/>
                  </a:lnTo>
                  <a:lnTo>
                    <a:pt x="2224" y="392"/>
                  </a:lnTo>
                  <a:lnTo>
                    <a:pt x="2197" y="430"/>
                  </a:lnTo>
                  <a:lnTo>
                    <a:pt x="2173" y="469"/>
                  </a:lnTo>
                  <a:lnTo>
                    <a:pt x="2152" y="509"/>
                  </a:lnTo>
                  <a:lnTo>
                    <a:pt x="2131" y="551"/>
                  </a:lnTo>
                  <a:lnTo>
                    <a:pt x="2113" y="595"/>
                  </a:lnTo>
                  <a:lnTo>
                    <a:pt x="2097" y="640"/>
                  </a:lnTo>
                  <a:lnTo>
                    <a:pt x="2083" y="685"/>
                  </a:lnTo>
                  <a:lnTo>
                    <a:pt x="2071" y="733"/>
                  </a:lnTo>
                  <a:lnTo>
                    <a:pt x="2063" y="781"/>
                  </a:lnTo>
                  <a:lnTo>
                    <a:pt x="2056" y="831"/>
                  </a:lnTo>
                  <a:lnTo>
                    <a:pt x="2052" y="882"/>
                  </a:lnTo>
                  <a:lnTo>
                    <a:pt x="2051" y="933"/>
                  </a:lnTo>
                  <a:lnTo>
                    <a:pt x="2052" y="985"/>
                  </a:lnTo>
                  <a:lnTo>
                    <a:pt x="2056" y="1036"/>
                  </a:lnTo>
                  <a:lnTo>
                    <a:pt x="2063" y="1086"/>
                  </a:lnTo>
                  <a:lnTo>
                    <a:pt x="2071" y="1135"/>
                  </a:lnTo>
                  <a:lnTo>
                    <a:pt x="2083" y="1182"/>
                  </a:lnTo>
                  <a:lnTo>
                    <a:pt x="2097" y="1228"/>
                  </a:lnTo>
                  <a:lnTo>
                    <a:pt x="2113" y="1273"/>
                  </a:lnTo>
                  <a:lnTo>
                    <a:pt x="2131" y="1316"/>
                  </a:lnTo>
                  <a:lnTo>
                    <a:pt x="2152" y="1357"/>
                  </a:lnTo>
                  <a:lnTo>
                    <a:pt x="2173" y="1398"/>
                  </a:lnTo>
                  <a:lnTo>
                    <a:pt x="2197" y="1438"/>
                  </a:lnTo>
                  <a:lnTo>
                    <a:pt x="2224" y="1475"/>
                  </a:lnTo>
                  <a:lnTo>
                    <a:pt x="2252" y="1512"/>
                  </a:lnTo>
                  <a:lnTo>
                    <a:pt x="2282" y="1547"/>
                  </a:lnTo>
                  <a:lnTo>
                    <a:pt x="2313" y="1579"/>
                  </a:lnTo>
                  <a:lnTo>
                    <a:pt x="2347" y="1611"/>
                  </a:lnTo>
                  <a:lnTo>
                    <a:pt x="2382" y="1640"/>
                  </a:lnTo>
                  <a:lnTo>
                    <a:pt x="2418" y="1669"/>
                  </a:lnTo>
                  <a:lnTo>
                    <a:pt x="2457" y="1695"/>
                  </a:lnTo>
                  <a:lnTo>
                    <a:pt x="2495" y="1719"/>
                  </a:lnTo>
                  <a:lnTo>
                    <a:pt x="2536" y="1743"/>
                  </a:lnTo>
                  <a:lnTo>
                    <a:pt x="2578" y="1764"/>
                  </a:lnTo>
                  <a:lnTo>
                    <a:pt x="2620" y="1782"/>
                  </a:lnTo>
                  <a:lnTo>
                    <a:pt x="2665" y="1801"/>
                  </a:lnTo>
                  <a:lnTo>
                    <a:pt x="2710" y="1816"/>
                  </a:lnTo>
                  <a:lnTo>
                    <a:pt x="2756" y="1829"/>
                  </a:lnTo>
                  <a:lnTo>
                    <a:pt x="2804" y="1840"/>
                  </a:lnTo>
                  <a:lnTo>
                    <a:pt x="2851" y="1851"/>
                  </a:lnTo>
                  <a:lnTo>
                    <a:pt x="2899" y="1858"/>
                  </a:lnTo>
                  <a:lnTo>
                    <a:pt x="2949" y="1863"/>
                  </a:lnTo>
                  <a:lnTo>
                    <a:pt x="2999" y="1866"/>
                  </a:lnTo>
                  <a:lnTo>
                    <a:pt x="3049" y="1868"/>
                  </a:lnTo>
                  <a:lnTo>
                    <a:pt x="3099" y="1866"/>
                  </a:lnTo>
                  <a:lnTo>
                    <a:pt x="3149" y="1863"/>
                  </a:lnTo>
                  <a:lnTo>
                    <a:pt x="3199" y="1858"/>
                  </a:lnTo>
                  <a:lnTo>
                    <a:pt x="3247" y="1851"/>
                  </a:lnTo>
                  <a:lnTo>
                    <a:pt x="3295" y="1840"/>
                  </a:lnTo>
                  <a:lnTo>
                    <a:pt x="3342" y="1829"/>
                  </a:lnTo>
                  <a:lnTo>
                    <a:pt x="3388" y="1816"/>
                  </a:lnTo>
                  <a:lnTo>
                    <a:pt x="3433" y="1801"/>
                  </a:lnTo>
                  <a:lnTo>
                    <a:pt x="3477" y="1782"/>
                  </a:lnTo>
                  <a:lnTo>
                    <a:pt x="3521" y="1764"/>
                  </a:lnTo>
                  <a:lnTo>
                    <a:pt x="3562" y="1743"/>
                  </a:lnTo>
                  <a:lnTo>
                    <a:pt x="3603" y="1719"/>
                  </a:lnTo>
                  <a:lnTo>
                    <a:pt x="3642" y="1695"/>
                  </a:lnTo>
                  <a:lnTo>
                    <a:pt x="3679" y="1669"/>
                  </a:lnTo>
                  <a:lnTo>
                    <a:pt x="3716" y="1640"/>
                  </a:lnTo>
                  <a:lnTo>
                    <a:pt x="3751" y="1611"/>
                  </a:lnTo>
                  <a:lnTo>
                    <a:pt x="3784" y="1579"/>
                  </a:lnTo>
                  <a:lnTo>
                    <a:pt x="3815" y="1547"/>
                  </a:lnTo>
                  <a:lnTo>
                    <a:pt x="3846" y="1512"/>
                  </a:lnTo>
                  <a:lnTo>
                    <a:pt x="3874" y="1475"/>
                  </a:lnTo>
                  <a:lnTo>
                    <a:pt x="3900" y="1438"/>
                  </a:lnTo>
                  <a:lnTo>
                    <a:pt x="3924" y="1398"/>
                  </a:lnTo>
                  <a:lnTo>
                    <a:pt x="3947" y="1357"/>
                  </a:lnTo>
                  <a:lnTo>
                    <a:pt x="3967" y="1316"/>
                  </a:lnTo>
                  <a:lnTo>
                    <a:pt x="3985" y="1273"/>
                  </a:lnTo>
                  <a:lnTo>
                    <a:pt x="4002" y="1228"/>
                  </a:lnTo>
                  <a:lnTo>
                    <a:pt x="4015" y="1182"/>
                  </a:lnTo>
                  <a:lnTo>
                    <a:pt x="4026" y="1135"/>
                  </a:lnTo>
                  <a:lnTo>
                    <a:pt x="4035" y="1086"/>
                  </a:lnTo>
                  <a:lnTo>
                    <a:pt x="4042" y="1036"/>
                  </a:lnTo>
                  <a:lnTo>
                    <a:pt x="4046" y="985"/>
                  </a:lnTo>
                  <a:lnTo>
                    <a:pt x="4047" y="933"/>
                  </a:lnTo>
                  <a:close/>
                  <a:moveTo>
                    <a:pt x="4779" y="42"/>
                  </a:moveTo>
                  <a:lnTo>
                    <a:pt x="4540" y="1317"/>
                  </a:lnTo>
                  <a:lnTo>
                    <a:pt x="4535" y="1334"/>
                  </a:lnTo>
                  <a:lnTo>
                    <a:pt x="4530" y="1350"/>
                  </a:lnTo>
                  <a:lnTo>
                    <a:pt x="4524" y="1366"/>
                  </a:lnTo>
                  <a:lnTo>
                    <a:pt x="4517" y="1379"/>
                  </a:lnTo>
                  <a:lnTo>
                    <a:pt x="4510" y="1392"/>
                  </a:lnTo>
                  <a:lnTo>
                    <a:pt x="4501" y="1403"/>
                  </a:lnTo>
                  <a:lnTo>
                    <a:pt x="4491" y="1413"/>
                  </a:lnTo>
                  <a:lnTo>
                    <a:pt x="4481" y="1423"/>
                  </a:lnTo>
                  <a:lnTo>
                    <a:pt x="4469" y="1431"/>
                  </a:lnTo>
                  <a:lnTo>
                    <a:pt x="4457" y="1437"/>
                  </a:lnTo>
                  <a:lnTo>
                    <a:pt x="4444" y="1443"/>
                  </a:lnTo>
                  <a:lnTo>
                    <a:pt x="4430" y="1447"/>
                  </a:lnTo>
                  <a:lnTo>
                    <a:pt x="4415" y="1451"/>
                  </a:lnTo>
                  <a:lnTo>
                    <a:pt x="4399" y="1453"/>
                  </a:lnTo>
                  <a:lnTo>
                    <a:pt x="4383" y="1455"/>
                  </a:lnTo>
                  <a:lnTo>
                    <a:pt x="4366" y="1455"/>
                  </a:lnTo>
                  <a:lnTo>
                    <a:pt x="4172" y="1455"/>
                  </a:lnTo>
                  <a:lnTo>
                    <a:pt x="4172" y="1822"/>
                  </a:lnTo>
                  <a:lnTo>
                    <a:pt x="4385" y="1822"/>
                  </a:lnTo>
                  <a:lnTo>
                    <a:pt x="4412" y="1822"/>
                  </a:lnTo>
                  <a:lnTo>
                    <a:pt x="4439" y="1821"/>
                  </a:lnTo>
                  <a:lnTo>
                    <a:pt x="4465" y="1819"/>
                  </a:lnTo>
                  <a:lnTo>
                    <a:pt x="4491" y="1816"/>
                  </a:lnTo>
                  <a:lnTo>
                    <a:pt x="4515" y="1812"/>
                  </a:lnTo>
                  <a:lnTo>
                    <a:pt x="4540" y="1808"/>
                  </a:lnTo>
                  <a:lnTo>
                    <a:pt x="4563" y="1802"/>
                  </a:lnTo>
                  <a:lnTo>
                    <a:pt x="4586" y="1796"/>
                  </a:lnTo>
                  <a:lnTo>
                    <a:pt x="4609" y="1789"/>
                  </a:lnTo>
                  <a:lnTo>
                    <a:pt x="4630" y="1780"/>
                  </a:lnTo>
                  <a:lnTo>
                    <a:pt x="4651" y="1771"/>
                  </a:lnTo>
                  <a:lnTo>
                    <a:pt x="4672" y="1762"/>
                  </a:lnTo>
                  <a:lnTo>
                    <a:pt x="4692" y="1751"/>
                  </a:lnTo>
                  <a:lnTo>
                    <a:pt x="4710" y="1740"/>
                  </a:lnTo>
                  <a:lnTo>
                    <a:pt x="4730" y="1728"/>
                  </a:lnTo>
                  <a:lnTo>
                    <a:pt x="4747" y="1713"/>
                  </a:lnTo>
                  <a:lnTo>
                    <a:pt x="4764" y="1699"/>
                  </a:lnTo>
                  <a:lnTo>
                    <a:pt x="4781" y="1684"/>
                  </a:lnTo>
                  <a:lnTo>
                    <a:pt x="4796" y="1668"/>
                  </a:lnTo>
                  <a:lnTo>
                    <a:pt x="4811" y="1650"/>
                  </a:lnTo>
                  <a:lnTo>
                    <a:pt x="4825" y="1633"/>
                  </a:lnTo>
                  <a:lnTo>
                    <a:pt x="4839" y="1614"/>
                  </a:lnTo>
                  <a:lnTo>
                    <a:pt x="4852" y="1593"/>
                  </a:lnTo>
                  <a:lnTo>
                    <a:pt x="4864" y="1572"/>
                  </a:lnTo>
                  <a:lnTo>
                    <a:pt x="4875" y="1551"/>
                  </a:lnTo>
                  <a:lnTo>
                    <a:pt x="4885" y="1527"/>
                  </a:lnTo>
                  <a:lnTo>
                    <a:pt x="4895" y="1504"/>
                  </a:lnTo>
                  <a:lnTo>
                    <a:pt x="4905" y="1478"/>
                  </a:lnTo>
                  <a:lnTo>
                    <a:pt x="4913" y="1452"/>
                  </a:lnTo>
                  <a:lnTo>
                    <a:pt x="4920" y="1426"/>
                  </a:lnTo>
                  <a:lnTo>
                    <a:pt x="4927" y="1397"/>
                  </a:lnTo>
                  <a:lnTo>
                    <a:pt x="4932" y="1369"/>
                  </a:lnTo>
                  <a:lnTo>
                    <a:pt x="5113" y="403"/>
                  </a:lnTo>
                  <a:lnTo>
                    <a:pt x="5796" y="403"/>
                  </a:lnTo>
                  <a:lnTo>
                    <a:pt x="5796" y="1822"/>
                  </a:lnTo>
                  <a:lnTo>
                    <a:pt x="6198" y="1822"/>
                  </a:lnTo>
                  <a:lnTo>
                    <a:pt x="6198" y="42"/>
                  </a:lnTo>
                  <a:lnTo>
                    <a:pt x="4779" y="42"/>
                  </a:lnTo>
                  <a:close/>
                  <a:moveTo>
                    <a:pt x="6585" y="42"/>
                  </a:moveTo>
                  <a:lnTo>
                    <a:pt x="6585" y="1822"/>
                  </a:lnTo>
                  <a:lnTo>
                    <a:pt x="6980" y="1822"/>
                  </a:lnTo>
                  <a:lnTo>
                    <a:pt x="6980" y="1069"/>
                  </a:lnTo>
                  <a:lnTo>
                    <a:pt x="7251" y="1069"/>
                  </a:lnTo>
                  <a:lnTo>
                    <a:pt x="7258" y="1116"/>
                  </a:lnTo>
                  <a:lnTo>
                    <a:pt x="7266" y="1162"/>
                  </a:lnTo>
                  <a:lnTo>
                    <a:pt x="7277" y="1207"/>
                  </a:lnTo>
                  <a:lnTo>
                    <a:pt x="7290" y="1251"/>
                  </a:lnTo>
                  <a:lnTo>
                    <a:pt x="7304" y="1292"/>
                  </a:lnTo>
                  <a:lnTo>
                    <a:pt x="7320" y="1333"/>
                  </a:lnTo>
                  <a:lnTo>
                    <a:pt x="7338" y="1372"/>
                  </a:lnTo>
                  <a:lnTo>
                    <a:pt x="7358" y="1409"/>
                  </a:lnTo>
                  <a:lnTo>
                    <a:pt x="7379" y="1446"/>
                  </a:lnTo>
                  <a:lnTo>
                    <a:pt x="7402" y="1482"/>
                  </a:lnTo>
                  <a:lnTo>
                    <a:pt x="7427" y="1514"/>
                  </a:lnTo>
                  <a:lnTo>
                    <a:pt x="7452" y="1547"/>
                  </a:lnTo>
                  <a:lnTo>
                    <a:pt x="7480" y="1577"/>
                  </a:lnTo>
                  <a:lnTo>
                    <a:pt x="7509" y="1607"/>
                  </a:lnTo>
                  <a:lnTo>
                    <a:pt x="7540" y="1634"/>
                  </a:lnTo>
                  <a:lnTo>
                    <a:pt x="7571" y="1660"/>
                  </a:lnTo>
                  <a:lnTo>
                    <a:pt x="7604" y="1685"/>
                  </a:lnTo>
                  <a:lnTo>
                    <a:pt x="7637" y="1708"/>
                  </a:lnTo>
                  <a:lnTo>
                    <a:pt x="7673" y="1730"/>
                  </a:lnTo>
                  <a:lnTo>
                    <a:pt x="7710" y="1750"/>
                  </a:lnTo>
                  <a:lnTo>
                    <a:pt x="7747" y="1768"/>
                  </a:lnTo>
                  <a:lnTo>
                    <a:pt x="7786" y="1786"/>
                  </a:lnTo>
                  <a:lnTo>
                    <a:pt x="7824" y="1801"/>
                  </a:lnTo>
                  <a:lnTo>
                    <a:pt x="7865" y="1815"/>
                  </a:lnTo>
                  <a:lnTo>
                    <a:pt x="7907" y="1827"/>
                  </a:lnTo>
                  <a:lnTo>
                    <a:pt x="7949" y="1837"/>
                  </a:lnTo>
                  <a:lnTo>
                    <a:pt x="7991" y="1847"/>
                  </a:lnTo>
                  <a:lnTo>
                    <a:pt x="8035" y="1854"/>
                  </a:lnTo>
                  <a:lnTo>
                    <a:pt x="8080" y="1860"/>
                  </a:lnTo>
                  <a:lnTo>
                    <a:pt x="8124" y="1864"/>
                  </a:lnTo>
                  <a:lnTo>
                    <a:pt x="8170" y="1867"/>
                  </a:lnTo>
                  <a:lnTo>
                    <a:pt x="8217" y="1868"/>
                  </a:lnTo>
                  <a:lnTo>
                    <a:pt x="8267" y="1867"/>
                  </a:lnTo>
                  <a:lnTo>
                    <a:pt x="8317" y="1864"/>
                  </a:lnTo>
                  <a:lnTo>
                    <a:pt x="8364" y="1859"/>
                  </a:lnTo>
                  <a:lnTo>
                    <a:pt x="8413" y="1852"/>
                  </a:lnTo>
                  <a:lnTo>
                    <a:pt x="8460" y="1842"/>
                  </a:lnTo>
                  <a:lnTo>
                    <a:pt x="8506" y="1832"/>
                  </a:lnTo>
                  <a:lnTo>
                    <a:pt x="8552" y="1820"/>
                  </a:lnTo>
                  <a:lnTo>
                    <a:pt x="8595" y="1805"/>
                  </a:lnTo>
                  <a:lnTo>
                    <a:pt x="8639" y="1789"/>
                  </a:lnTo>
                  <a:lnTo>
                    <a:pt x="8681" y="1771"/>
                  </a:lnTo>
                  <a:lnTo>
                    <a:pt x="8721" y="1751"/>
                  </a:lnTo>
                  <a:lnTo>
                    <a:pt x="8761" y="1729"/>
                  </a:lnTo>
                  <a:lnTo>
                    <a:pt x="8799" y="1705"/>
                  </a:lnTo>
                  <a:lnTo>
                    <a:pt x="8835" y="1680"/>
                  </a:lnTo>
                  <a:lnTo>
                    <a:pt x="8871" y="1653"/>
                  </a:lnTo>
                  <a:lnTo>
                    <a:pt x="8905" y="1624"/>
                  </a:lnTo>
                  <a:lnTo>
                    <a:pt x="8937" y="1593"/>
                  </a:lnTo>
                  <a:lnTo>
                    <a:pt x="8968" y="1561"/>
                  </a:lnTo>
                  <a:lnTo>
                    <a:pt x="8996" y="1526"/>
                  </a:lnTo>
                  <a:lnTo>
                    <a:pt x="9023" y="1491"/>
                  </a:lnTo>
                  <a:lnTo>
                    <a:pt x="9049" y="1453"/>
                  </a:lnTo>
                  <a:lnTo>
                    <a:pt x="9072" y="1414"/>
                  </a:lnTo>
                  <a:lnTo>
                    <a:pt x="9094" y="1374"/>
                  </a:lnTo>
                  <a:lnTo>
                    <a:pt x="9113" y="1331"/>
                  </a:lnTo>
                  <a:lnTo>
                    <a:pt x="9130" y="1287"/>
                  </a:lnTo>
                  <a:lnTo>
                    <a:pt x="9146" y="1242"/>
                  </a:lnTo>
                  <a:lnTo>
                    <a:pt x="9159" y="1194"/>
                  </a:lnTo>
                  <a:lnTo>
                    <a:pt x="9169" y="1145"/>
                  </a:lnTo>
                  <a:lnTo>
                    <a:pt x="9178" y="1094"/>
                  </a:lnTo>
                  <a:lnTo>
                    <a:pt x="9184" y="1042"/>
                  </a:lnTo>
                  <a:lnTo>
                    <a:pt x="9188" y="988"/>
                  </a:lnTo>
                  <a:lnTo>
                    <a:pt x="9189" y="933"/>
                  </a:lnTo>
                  <a:lnTo>
                    <a:pt x="9188" y="879"/>
                  </a:lnTo>
                  <a:lnTo>
                    <a:pt x="9184" y="825"/>
                  </a:lnTo>
                  <a:lnTo>
                    <a:pt x="9178" y="773"/>
                  </a:lnTo>
                  <a:lnTo>
                    <a:pt x="9169" y="723"/>
                  </a:lnTo>
                  <a:lnTo>
                    <a:pt x="9159" y="674"/>
                  </a:lnTo>
                  <a:lnTo>
                    <a:pt x="9146" y="626"/>
                  </a:lnTo>
                  <a:lnTo>
                    <a:pt x="9130" y="581"/>
                  </a:lnTo>
                  <a:lnTo>
                    <a:pt x="9113" y="537"/>
                  </a:lnTo>
                  <a:lnTo>
                    <a:pt x="9094" y="494"/>
                  </a:lnTo>
                  <a:lnTo>
                    <a:pt x="9072" y="453"/>
                  </a:lnTo>
                  <a:lnTo>
                    <a:pt x="9049" y="414"/>
                  </a:lnTo>
                  <a:lnTo>
                    <a:pt x="9023" y="376"/>
                  </a:lnTo>
                  <a:lnTo>
                    <a:pt x="8996" y="341"/>
                  </a:lnTo>
                  <a:lnTo>
                    <a:pt x="8968" y="307"/>
                  </a:lnTo>
                  <a:lnTo>
                    <a:pt x="8937" y="275"/>
                  </a:lnTo>
                  <a:lnTo>
                    <a:pt x="8905" y="244"/>
                  </a:lnTo>
                  <a:lnTo>
                    <a:pt x="8871" y="215"/>
                  </a:lnTo>
                  <a:lnTo>
                    <a:pt x="8835" y="187"/>
                  </a:lnTo>
                  <a:lnTo>
                    <a:pt x="8799" y="162"/>
                  </a:lnTo>
                  <a:lnTo>
                    <a:pt x="8761" y="138"/>
                  </a:lnTo>
                  <a:lnTo>
                    <a:pt x="8721" y="117"/>
                  </a:lnTo>
                  <a:lnTo>
                    <a:pt x="8681" y="97"/>
                  </a:lnTo>
                  <a:lnTo>
                    <a:pt x="8639" y="78"/>
                  </a:lnTo>
                  <a:lnTo>
                    <a:pt x="8595" y="62"/>
                  </a:lnTo>
                  <a:lnTo>
                    <a:pt x="8552" y="48"/>
                  </a:lnTo>
                  <a:lnTo>
                    <a:pt x="8506" y="36"/>
                  </a:lnTo>
                  <a:lnTo>
                    <a:pt x="8460" y="24"/>
                  </a:lnTo>
                  <a:lnTo>
                    <a:pt x="8413" y="16"/>
                  </a:lnTo>
                  <a:lnTo>
                    <a:pt x="8364" y="9"/>
                  </a:lnTo>
                  <a:lnTo>
                    <a:pt x="8317" y="4"/>
                  </a:lnTo>
                  <a:lnTo>
                    <a:pt x="8267" y="1"/>
                  </a:lnTo>
                  <a:lnTo>
                    <a:pt x="8217" y="0"/>
                  </a:lnTo>
                  <a:lnTo>
                    <a:pt x="8173" y="1"/>
                  </a:lnTo>
                  <a:lnTo>
                    <a:pt x="8131" y="3"/>
                  </a:lnTo>
                  <a:lnTo>
                    <a:pt x="8088" y="7"/>
                  </a:lnTo>
                  <a:lnTo>
                    <a:pt x="8046" y="12"/>
                  </a:lnTo>
                  <a:lnTo>
                    <a:pt x="8004" y="18"/>
                  </a:lnTo>
                  <a:lnTo>
                    <a:pt x="7964" y="26"/>
                  </a:lnTo>
                  <a:lnTo>
                    <a:pt x="7924" y="36"/>
                  </a:lnTo>
                  <a:lnTo>
                    <a:pt x="7884" y="47"/>
                  </a:lnTo>
                  <a:lnTo>
                    <a:pt x="7846" y="59"/>
                  </a:lnTo>
                  <a:lnTo>
                    <a:pt x="7808" y="73"/>
                  </a:lnTo>
                  <a:lnTo>
                    <a:pt x="7772" y="88"/>
                  </a:lnTo>
                  <a:lnTo>
                    <a:pt x="7736" y="105"/>
                  </a:lnTo>
                  <a:lnTo>
                    <a:pt x="7700" y="122"/>
                  </a:lnTo>
                  <a:lnTo>
                    <a:pt x="7667" y="141"/>
                  </a:lnTo>
                  <a:lnTo>
                    <a:pt x="7633" y="162"/>
                  </a:lnTo>
                  <a:lnTo>
                    <a:pt x="7602" y="184"/>
                  </a:lnTo>
                  <a:lnTo>
                    <a:pt x="7571" y="207"/>
                  </a:lnTo>
                  <a:lnTo>
                    <a:pt x="7542" y="232"/>
                  </a:lnTo>
                  <a:lnTo>
                    <a:pt x="7512" y="257"/>
                  </a:lnTo>
                  <a:lnTo>
                    <a:pt x="7486" y="285"/>
                  </a:lnTo>
                  <a:lnTo>
                    <a:pt x="7459" y="313"/>
                  </a:lnTo>
                  <a:lnTo>
                    <a:pt x="7435" y="343"/>
                  </a:lnTo>
                  <a:lnTo>
                    <a:pt x="7412" y="374"/>
                  </a:lnTo>
                  <a:lnTo>
                    <a:pt x="7389" y="406"/>
                  </a:lnTo>
                  <a:lnTo>
                    <a:pt x="7369" y="439"/>
                  </a:lnTo>
                  <a:lnTo>
                    <a:pt x="7350" y="475"/>
                  </a:lnTo>
                  <a:lnTo>
                    <a:pt x="7331" y="510"/>
                  </a:lnTo>
                  <a:lnTo>
                    <a:pt x="7315" y="548"/>
                  </a:lnTo>
                  <a:lnTo>
                    <a:pt x="7301" y="586"/>
                  </a:lnTo>
                  <a:lnTo>
                    <a:pt x="7287" y="625"/>
                  </a:lnTo>
                  <a:lnTo>
                    <a:pt x="7276" y="666"/>
                  </a:lnTo>
                  <a:lnTo>
                    <a:pt x="7267" y="709"/>
                  </a:lnTo>
                  <a:lnTo>
                    <a:pt x="6980" y="709"/>
                  </a:lnTo>
                  <a:lnTo>
                    <a:pt x="6980" y="42"/>
                  </a:lnTo>
                  <a:lnTo>
                    <a:pt x="6585" y="42"/>
                  </a:lnTo>
                  <a:close/>
                  <a:moveTo>
                    <a:pt x="7643" y="933"/>
                  </a:moveTo>
                  <a:lnTo>
                    <a:pt x="7644" y="900"/>
                  </a:lnTo>
                  <a:lnTo>
                    <a:pt x="7645" y="866"/>
                  </a:lnTo>
                  <a:lnTo>
                    <a:pt x="7649" y="835"/>
                  </a:lnTo>
                  <a:lnTo>
                    <a:pt x="7653" y="803"/>
                  </a:lnTo>
                  <a:lnTo>
                    <a:pt x="7658" y="773"/>
                  </a:lnTo>
                  <a:lnTo>
                    <a:pt x="7664" y="743"/>
                  </a:lnTo>
                  <a:lnTo>
                    <a:pt x="7672" y="715"/>
                  </a:lnTo>
                  <a:lnTo>
                    <a:pt x="7680" y="686"/>
                  </a:lnTo>
                  <a:lnTo>
                    <a:pt x="7690" y="660"/>
                  </a:lnTo>
                  <a:lnTo>
                    <a:pt x="7700" y="634"/>
                  </a:lnTo>
                  <a:lnTo>
                    <a:pt x="7713" y="610"/>
                  </a:lnTo>
                  <a:lnTo>
                    <a:pt x="7726" y="586"/>
                  </a:lnTo>
                  <a:lnTo>
                    <a:pt x="7740" y="563"/>
                  </a:lnTo>
                  <a:lnTo>
                    <a:pt x="7755" y="542"/>
                  </a:lnTo>
                  <a:lnTo>
                    <a:pt x="7772" y="521"/>
                  </a:lnTo>
                  <a:lnTo>
                    <a:pt x="7789" y="501"/>
                  </a:lnTo>
                  <a:lnTo>
                    <a:pt x="7807" y="483"/>
                  </a:lnTo>
                  <a:lnTo>
                    <a:pt x="7828" y="466"/>
                  </a:lnTo>
                  <a:lnTo>
                    <a:pt x="7848" y="449"/>
                  </a:lnTo>
                  <a:lnTo>
                    <a:pt x="7870" y="434"/>
                  </a:lnTo>
                  <a:lnTo>
                    <a:pt x="7893" y="420"/>
                  </a:lnTo>
                  <a:lnTo>
                    <a:pt x="7917" y="408"/>
                  </a:lnTo>
                  <a:lnTo>
                    <a:pt x="7942" y="396"/>
                  </a:lnTo>
                  <a:lnTo>
                    <a:pt x="7968" y="385"/>
                  </a:lnTo>
                  <a:lnTo>
                    <a:pt x="7995" y="375"/>
                  </a:lnTo>
                  <a:lnTo>
                    <a:pt x="8024" y="367"/>
                  </a:lnTo>
                  <a:lnTo>
                    <a:pt x="8053" y="361"/>
                  </a:lnTo>
                  <a:lnTo>
                    <a:pt x="8084" y="355"/>
                  </a:lnTo>
                  <a:lnTo>
                    <a:pt x="8115" y="351"/>
                  </a:lnTo>
                  <a:lnTo>
                    <a:pt x="8148" y="347"/>
                  </a:lnTo>
                  <a:lnTo>
                    <a:pt x="8182" y="345"/>
                  </a:lnTo>
                  <a:lnTo>
                    <a:pt x="8217" y="345"/>
                  </a:lnTo>
                  <a:lnTo>
                    <a:pt x="8252" y="345"/>
                  </a:lnTo>
                  <a:lnTo>
                    <a:pt x="8285" y="347"/>
                  </a:lnTo>
                  <a:lnTo>
                    <a:pt x="8318" y="351"/>
                  </a:lnTo>
                  <a:lnTo>
                    <a:pt x="8349" y="355"/>
                  </a:lnTo>
                  <a:lnTo>
                    <a:pt x="8380" y="361"/>
                  </a:lnTo>
                  <a:lnTo>
                    <a:pt x="8409" y="367"/>
                  </a:lnTo>
                  <a:lnTo>
                    <a:pt x="8438" y="375"/>
                  </a:lnTo>
                  <a:lnTo>
                    <a:pt x="8465" y="385"/>
                  </a:lnTo>
                  <a:lnTo>
                    <a:pt x="8492" y="396"/>
                  </a:lnTo>
                  <a:lnTo>
                    <a:pt x="8517" y="408"/>
                  </a:lnTo>
                  <a:lnTo>
                    <a:pt x="8540" y="420"/>
                  </a:lnTo>
                  <a:lnTo>
                    <a:pt x="8564" y="434"/>
                  </a:lnTo>
                  <a:lnTo>
                    <a:pt x="8585" y="449"/>
                  </a:lnTo>
                  <a:lnTo>
                    <a:pt x="8607" y="466"/>
                  </a:lnTo>
                  <a:lnTo>
                    <a:pt x="8626" y="483"/>
                  </a:lnTo>
                  <a:lnTo>
                    <a:pt x="8644" y="501"/>
                  </a:lnTo>
                  <a:lnTo>
                    <a:pt x="8662" y="521"/>
                  </a:lnTo>
                  <a:lnTo>
                    <a:pt x="8679" y="542"/>
                  </a:lnTo>
                  <a:lnTo>
                    <a:pt x="8694" y="563"/>
                  </a:lnTo>
                  <a:lnTo>
                    <a:pt x="8708" y="586"/>
                  </a:lnTo>
                  <a:lnTo>
                    <a:pt x="8720" y="610"/>
                  </a:lnTo>
                  <a:lnTo>
                    <a:pt x="8733" y="634"/>
                  </a:lnTo>
                  <a:lnTo>
                    <a:pt x="8744" y="660"/>
                  </a:lnTo>
                  <a:lnTo>
                    <a:pt x="8753" y="686"/>
                  </a:lnTo>
                  <a:lnTo>
                    <a:pt x="8762" y="715"/>
                  </a:lnTo>
                  <a:lnTo>
                    <a:pt x="8769" y="743"/>
                  </a:lnTo>
                  <a:lnTo>
                    <a:pt x="8775" y="773"/>
                  </a:lnTo>
                  <a:lnTo>
                    <a:pt x="8780" y="803"/>
                  </a:lnTo>
                  <a:lnTo>
                    <a:pt x="8785" y="835"/>
                  </a:lnTo>
                  <a:lnTo>
                    <a:pt x="8788" y="866"/>
                  </a:lnTo>
                  <a:lnTo>
                    <a:pt x="8790" y="900"/>
                  </a:lnTo>
                  <a:lnTo>
                    <a:pt x="8790" y="933"/>
                  </a:lnTo>
                  <a:lnTo>
                    <a:pt x="8790" y="968"/>
                  </a:lnTo>
                  <a:lnTo>
                    <a:pt x="8788" y="1001"/>
                  </a:lnTo>
                  <a:lnTo>
                    <a:pt x="8785" y="1033"/>
                  </a:lnTo>
                  <a:lnTo>
                    <a:pt x="8780" y="1065"/>
                  </a:lnTo>
                  <a:lnTo>
                    <a:pt x="8775" y="1095"/>
                  </a:lnTo>
                  <a:lnTo>
                    <a:pt x="8769" y="1125"/>
                  </a:lnTo>
                  <a:lnTo>
                    <a:pt x="8762" y="1153"/>
                  </a:lnTo>
                  <a:lnTo>
                    <a:pt x="8753" y="1181"/>
                  </a:lnTo>
                  <a:lnTo>
                    <a:pt x="8744" y="1207"/>
                  </a:lnTo>
                  <a:lnTo>
                    <a:pt x="8733" y="1233"/>
                  </a:lnTo>
                  <a:lnTo>
                    <a:pt x="8720" y="1258"/>
                  </a:lnTo>
                  <a:lnTo>
                    <a:pt x="8708" y="1281"/>
                  </a:lnTo>
                  <a:lnTo>
                    <a:pt x="8694" y="1305"/>
                  </a:lnTo>
                  <a:lnTo>
                    <a:pt x="8679" y="1326"/>
                  </a:lnTo>
                  <a:lnTo>
                    <a:pt x="8662" y="1346"/>
                  </a:lnTo>
                  <a:lnTo>
                    <a:pt x="8644" y="1366"/>
                  </a:lnTo>
                  <a:lnTo>
                    <a:pt x="8626" y="1385"/>
                  </a:lnTo>
                  <a:lnTo>
                    <a:pt x="8607" y="1402"/>
                  </a:lnTo>
                  <a:lnTo>
                    <a:pt x="8585" y="1418"/>
                  </a:lnTo>
                  <a:lnTo>
                    <a:pt x="8564" y="1434"/>
                  </a:lnTo>
                  <a:lnTo>
                    <a:pt x="8540" y="1447"/>
                  </a:lnTo>
                  <a:lnTo>
                    <a:pt x="8517" y="1460"/>
                  </a:lnTo>
                  <a:lnTo>
                    <a:pt x="8492" y="1472"/>
                  </a:lnTo>
                  <a:lnTo>
                    <a:pt x="8465" y="1483"/>
                  </a:lnTo>
                  <a:lnTo>
                    <a:pt x="8438" y="1492"/>
                  </a:lnTo>
                  <a:lnTo>
                    <a:pt x="8409" y="1500"/>
                  </a:lnTo>
                  <a:lnTo>
                    <a:pt x="8380" y="1507"/>
                  </a:lnTo>
                  <a:lnTo>
                    <a:pt x="8349" y="1513"/>
                  </a:lnTo>
                  <a:lnTo>
                    <a:pt x="8318" y="1517"/>
                  </a:lnTo>
                  <a:lnTo>
                    <a:pt x="8285" y="1520"/>
                  </a:lnTo>
                  <a:lnTo>
                    <a:pt x="8252" y="1522"/>
                  </a:lnTo>
                  <a:lnTo>
                    <a:pt x="8217" y="1523"/>
                  </a:lnTo>
                  <a:lnTo>
                    <a:pt x="8182" y="1522"/>
                  </a:lnTo>
                  <a:lnTo>
                    <a:pt x="8148" y="1520"/>
                  </a:lnTo>
                  <a:lnTo>
                    <a:pt x="8115" y="1517"/>
                  </a:lnTo>
                  <a:lnTo>
                    <a:pt x="8084" y="1513"/>
                  </a:lnTo>
                  <a:lnTo>
                    <a:pt x="8053" y="1507"/>
                  </a:lnTo>
                  <a:lnTo>
                    <a:pt x="8024" y="1500"/>
                  </a:lnTo>
                  <a:lnTo>
                    <a:pt x="7995" y="1492"/>
                  </a:lnTo>
                  <a:lnTo>
                    <a:pt x="7968" y="1483"/>
                  </a:lnTo>
                  <a:lnTo>
                    <a:pt x="7942" y="1472"/>
                  </a:lnTo>
                  <a:lnTo>
                    <a:pt x="7917" y="1460"/>
                  </a:lnTo>
                  <a:lnTo>
                    <a:pt x="7893" y="1447"/>
                  </a:lnTo>
                  <a:lnTo>
                    <a:pt x="7870" y="1434"/>
                  </a:lnTo>
                  <a:lnTo>
                    <a:pt x="7848" y="1418"/>
                  </a:lnTo>
                  <a:lnTo>
                    <a:pt x="7828" y="1402"/>
                  </a:lnTo>
                  <a:lnTo>
                    <a:pt x="7807" y="1385"/>
                  </a:lnTo>
                  <a:lnTo>
                    <a:pt x="7789" y="1366"/>
                  </a:lnTo>
                  <a:lnTo>
                    <a:pt x="7772" y="1346"/>
                  </a:lnTo>
                  <a:lnTo>
                    <a:pt x="7755" y="1326"/>
                  </a:lnTo>
                  <a:lnTo>
                    <a:pt x="7740" y="1305"/>
                  </a:lnTo>
                  <a:lnTo>
                    <a:pt x="7726" y="1281"/>
                  </a:lnTo>
                  <a:lnTo>
                    <a:pt x="7713" y="1258"/>
                  </a:lnTo>
                  <a:lnTo>
                    <a:pt x="7700" y="1233"/>
                  </a:lnTo>
                  <a:lnTo>
                    <a:pt x="7690" y="1207"/>
                  </a:lnTo>
                  <a:lnTo>
                    <a:pt x="7680" y="1181"/>
                  </a:lnTo>
                  <a:lnTo>
                    <a:pt x="7672" y="1153"/>
                  </a:lnTo>
                  <a:lnTo>
                    <a:pt x="7664" y="1125"/>
                  </a:lnTo>
                  <a:lnTo>
                    <a:pt x="7658" y="1095"/>
                  </a:lnTo>
                  <a:lnTo>
                    <a:pt x="7653" y="1065"/>
                  </a:lnTo>
                  <a:lnTo>
                    <a:pt x="7649" y="1033"/>
                  </a:lnTo>
                  <a:lnTo>
                    <a:pt x="7645" y="1001"/>
                  </a:lnTo>
                  <a:lnTo>
                    <a:pt x="7644" y="968"/>
                  </a:lnTo>
                  <a:lnTo>
                    <a:pt x="7643" y="933"/>
                  </a:lnTo>
                  <a:close/>
                  <a:moveTo>
                    <a:pt x="11327" y="477"/>
                  </a:moveTo>
                  <a:lnTo>
                    <a:pt x="11310" y="447"/>
                  </a:lnTo>
                  <a:lnTo>
                    <a:pt x="11291" y="420"/>
                  </a:lnTo>
                  <a:lnTo>
                    <a:pt x="11272" y="392"/>
                  </a:lnTo>
                  <a:lnTo>
                    <a:pt x="11253" y="366"/>
                  </a:lnTo>
                  <a:lnTo>
                    <a:pt x="11232" y="341"/>
                  </a:lnTo>
                  <a:lnTo>
                    <a:pt x="11211" y="316"/>
                  </a:lnTo>
                  <a:lnTo>
                    <a:pt x="11190" y="293"/>
                  </a:lnTo>
                  <a:lnTo>
                    <a:pt x="11167" y="270"/>
                  </a:lnTo>
                  <a:lnTo>
                    <a:pt x="11144" y="248"/>
                  </a:lnTo>
                  <a:lnTo>
                    <a:pt x="11121" y="228"/>
                  </a:lnTo>
                  <a:lnTo>
                    <a:pt x="11096" y="207"/>
                  </a:lnTo>
                  <a:lnTo>
                    <a:pt x="11071" y="188"/>
                  </a:lnTo>
                  <a:lnTo>
                    <a:pt x="11045" y="171"/>
                  </a:lnTo>
                  <a:lnTo>
                    <a:pt x="11018" y="154"/>
                  </a:lnTo>
                  <a:lnTo>
                    <a:pt x="10991" y="136"/>
                  </a:lnTo>
                  <a:lnTo>
                    <a:pt x="10963" y="121"/>
                  </a:lnTo>
                  <a:lnTo>
                    <a:pt x="10934" y="107"/>
                  </a:lnTo>
                  <a:lnTo>
                    <a:pt x="10905" y="93"/>
                  </a:lnTo>
                  <a:lnTo>
                    <a:pt x="10875" y="80"/>
                  </a:lnTo>
                  <a:lnTo>
                    <a:pt x="10845" y="68"/>
                  </a:lnTo>
                  <a:lnTo>
                    <a:pt x="10813" y="58"/>
                  </a:lnTo>
                  <a:lnTo>
                    <a:pt x="10782" y="48"/>
                  </a:lnTo>
                  <a:lnTo>
                    <a:pt x="10749" y="39"/>
                  </a:lnTo>
                  <a:lnTo>
                    <a:pt x="10716" y="30"/>
                  </a:lnTo>
                  <a:lnTo>
                    <a:pt x="10682" y="23"/>
                  </a:lnTo>
                  <a:lnTo>
                    <a:pt x="10648" y="17"/>
                  </a:lnTo>
                  <a:lnTo>
                    <a:pt x="10612" y="12"/>
                  </a:lnTo>
                  <a:lnTo>
                    <a:pt x="10576" y="8"/>
                  </a:lnTo>
                  <a:lnTo>
                    <a:pt x="10540" y="4"/>
                  </a:lnTo>
                  <a:lnTo>
                    <a:pt x="10502" y="2"/>
                  </a:lnTo>
                  <a:lnTo>
                    <a:pt x="10465" y="1"/>
                  </a:lnTo>
                  <a:lnTo>
                    <a:pt x="10426" y="0"/>
                  </a:lnTo>
                  <a:lnTo>
                    <a:pt x="10373" y="1"/>
                  </a:lnTo>
                  <a:lnTo>
                    <a:pt x="10322" y="4"/>
                  </a:lnTo>
                  <a:lnTo>
                    <a:pt x="10271" y="9"/>
                  </a:lnTo>
                  <a:lnTo>
                    <a:pt x="10222" y="16"/>
                  </a:lnTo>
                  <a:lnTo>
                    <a:pt x="10174" y="25"/>
                  </a:lnTo>
                  <a:lnTo>
                    <a:pt x="10126" y="37"/>
                  </a:lnTo>
                  <a:lnTo>
                    <a:pt x="10079" y="50"/>
                  </a:lnTo>
                  <a:lnTo>
                    <a:pt x="10033" y="65"/>
                  </a:lnTo>
                  <a:lnTo>
                    <a:pt x="9990" y="81"/>
                  </a:lnTo>
                  <a:lnTo>
                    <a:pt x="9947" y="101"/>
                  </a:lnTo>
                  <a:lnTo>
                    <a:pt x="9905" y="121"/>
                  </a:lnTo>
                  <a:lnTo>
                    <a:pt x="9865" y="143"/>
                  </a:lnTo>
                  <a:lnTo>
                    <a:pt x="9826" y="168"/>
                  </a:lnTo>
                  <a:lnTo>
                    <a:pt x="9788" y="194"/>
                  </a:lnTo>
                  <a:lnTo>
                    <a:pt x="9753" y="222"/>
                  </a:lnTo>
                  <a:lnTo>
                    <a:pt x="9718" y="251"/>
                  </a:lnTo>
                  <a:lnTo>
                    <a:pt x="9686" y="282"/>
                  </a:lnTo>
                  <a:lnTo>
                    <a:pt x="9654" y="314"/>
                  </a:lnTo>
                  <a:lnTo>
                    <a:pt x="9626" y="349"/>
                  </a:lnTo>
                  <a:lnTo>
                    <a:pt x="9598" y="385"/>
                  </a:lnTo>
                  <a:lnTo>
                    <a:pt x="9572" y="423"/>
                  </a:lnTo>
                  <a:lnTo>
                    <a:pt x="9548" y="462"/>
                  </a:lnTo>
                  <a:lnTo>
                    <a:pt x="9527" y="502"/>
                  </a:lnTo>
                  <a:lnTo>
                    <a:pt x="9508" y="545"/>
                  </a:lnTo>
                  <a:lnTo>
                    <a:pt x="9489" y="589"/>
                  </a:lnTo>
                  <a:lnTo>
                    <a:pt x="9474" y="633"/>
                  </a:lnTo>
                  <a:lnTo>
                    <a:pt x="9461" y="680"/>
                  </a:lnTo>
                  <a:lnTo>
                    <a:pt x="9451" y="728"/>
                  </a:lnTo>
                  <a:lnTo>
                    <a:pt x="9441" y="778"/>
                  </a:lnTo>
                  <a:lnTo>
                    <a:pt x="9435" y="829"/>
                  </a:lnTo>
                  <a:lnTo>
                    <a:pt x="9432" y="881"/>
                  </a:lnTo>
                  <a:lnTo>
                    <a:pt x="9430" y="933"/>
                  </a:lnTo>
                  <a:lnTo>
                    <a:pt x="9431" y="987"/>
                  </a:lnTo>
                  <a:lnTo>
                    <a:pt x="9435" y="1039"/>
                  </a:lnTo>
                  <a:lnTo>
                    <a:pt x="9441" y="1090"/>
                  </a:lnTo>
                  <a:lnTo>
                    <a:pt x="9450" y="1139"/>
                  </a:lnTo>
                  <a:lnTo>
                    <a:pt x="9461" y="1188"/>
                  </a:lnTo>
                  <a:lnTo>
                    <a:pt x="9474" y="1234"/>
                  </a:lnTo>
                  <a:lnTo>
                    <a:pt x="9488" y="1279"/>
                  </a:lnTo>
                  <a:lnTo>
                    <a:pt x="9506" y="1323"/>
                  </a:lnTo>
                  <a:lnTo>
                    <a:pt x="9525" y="1365"/>
                  </a:lnTo>
                  <a:lnTo>
                    <a:pt x="9546" y="1405"/>
                  </a:lnTo>
                  <a:lnTo>
                    <a:pt x="9570" y="1445"/>
                  </a:lnTo>
                  <a:lnTo>
                    <a:pt x="9595" y="1483"/>
                  </a:lnTo>
                  <a:lnTo>
                    <a:pt x="9623" y="1518"/>
                  </a:lnTo>
                  <a:lnTo>
                    <a:pt x="9651" y="1553"/>
                  </a:lnTo>
                  <a:lnTo>
                    <a:pt x="9681" y="1585"/>
                  </a:lnTo>
                  <a:lnTo>
                    <a:pt x="9714" y="1617"/>
                  </a:lnTo>
                  <a:lnTo>
                    <a:pt x="9749" y="1646"/>
                  </a:lnTo>
                  <a:lnTo>
                    <a:pt x="9784" y="1674"/>
                  </a:lnTo>
                  <a:lnTo>
                    <a:pt x="9822" y="1700"/>
                  </a:lnTo>
                  <a:lnTo>
                    <a:pt x="9860" y="1724"/>
                  </a:lnTo>
                  <a:lnTo>
                    <a:pt x="9900" y="1746"/>
                  </a:lnTo>
                  <a:lnTo>
                    <a:pt x="9942" y="1767"/>
                  </a:lnTo>
                  <a:lnTo>
                    <a:pt x="9986" y="1786"/>
                  </a:lnTo>
                  <a:lnTo>
                    <a:pt x="10029" y="1803"/>
                  </a:lnTo>
                  <a:lnTo>
                    <a:pt x="10075" y="1818"/>
                  </a:lnTo>
                  <a:lnTo>
                    <a:pt x="10122" y="1830"/>
                  </a:lnTo>
                  <a:lnTo>
                    <a:pt x="10170" y="1841"/>
                  </a:lnTo>
                  <a:lnTo>
                    <a:pt x="10219" y="1851"/>
                  </a:lnTo>
                  <a:lnTo>
                    <a:pt x="10269" y="1858"/>
                  </a:lnTo>
                  <a:lnTo>
                    <a:pt x="10320" y="1863"/>
                  </a:lnTo>
                  <a:lnTo>
                    <a:pt x="10372" y="1867"/>
                  </a:lnTo>
                  <a:lnTo>
                    <a:pt x="10426" y="1868"/>
                  </a:lnTo>
                  <a:lnTo>
                    <a:pt x="10465" y="1867"/>
                  </a:lnTo>
                  <a:lnTo>
                    <a:pt x="10502" y="1866"/>
                  </a:lnTo>
                  <a:lnTo>
                    <a:pt x="10540" y="1863"/>
                  </a:lnTo>
                  <a:lnTo>
                    <a:pt x="10576" y="1860"/>
                  </a:lnTo>
                  <a:lnTo>
                    <a:pt x="10612" y="1856"/>
                  </a:lnTo>
                  <a:lnTo>
                    <a:pt x="10648" y="1851"/>
                  </a:lnTo>
                  <a:lnTo>
                    <a:pt x="10682" y="1845"/>
                  </a:lnTo>
                  <a:lnTo>
                    <a:pt x="10716" y="1837"/>
                  </a:lnTo>
                  <a:lnTo>
                    <a:pt x="10749" y="1829"/>
                  </a:lnTo>
                  <a:lnTo>
                    <a:pt x="10782" y="1820"/>
                  </a:lnTo>
                  <a:lnTo>
                    <a:pt x="10813" y="1810"/>
                  </a:lnTo>
                  <a:lnTo>
                    <a:pt x="10845" y="1799"/>
                  </a:lnTo>
                  <a:lnTo>
                    <a:pt x="10875" y="1788"/>
                  </a:lnTo>
                  <a:lnTo>
                    <a:pt x="10905" y="1774"/>
                  </a:lnTo>
                  <a:lnTo>
                    <a:pt x="10934" y="1761"/>
                  </a:lnTo>
                  <a:lnTo>
                    <a:pt x="10963" y="1746"/>
                  </a:lnTo>
                  <a:lnTo>
                    <a:pt x="10991" y="1731"/>
                  </a:lnTo>
                  <a:lnTo>
                    <a:pt x="11018" y="1714"/>
                  </a:lnTo>
                  <a:lnTo>
                    <a:pt x="11045" y="1697"/>
                  </a:lnTo>
                  <a:lnTo>
                    <a:pt x="11071" y="1679"/>
                  </a:lnTo>
                  <a:lnTo>
                    <a:pt x="11096" y="1659"/>
                  </a:lnTo>
                  <a:lnTo>
                    <a:pt x="11121" y="1640"/>
                  </a:lnTo>
                  <a:lnTo>
                    <a:pt x="11144" y="1619"/>
                  </a:lnTo>
                  <a:lnTo>
                    <a:pt x="11167" y="1597"/>
                  </a:lnTo>
                  <a:lnTo>
                    <a:pt x="11190" y="1574"/>
                  </a:lnTo>
                  <a:lnTo>
                    <a:pt x="11211" y="1551"/>
                  </a:lnTo>
                  <a:lnTo>
                    <a:pt x="11232" y="1526"/>
                  </a:lnTo>
                  <a:lnTo>
                    <a:pt x="11253" y="1501"/>
                  </a:lnTo>
                  <a:lnTo>
                    <a:pt x="11272" y="1474"/>
                  </a:lnTo>
                  <a:lnTo>
                    <a:pt x="11291" y="1448"/>
                  </a:lnTo>
                  <a:lnTo>
                    <a:pt x="11310" y="1419"/>
                  </a:lnTo>
                  <a:lnTo>
                    <a:pt x="11327" y="1391"/>
                  </a:lnTo>
                  <a:lnTo>
                    <a:pt x="11015" y="1211"/>
                  </a:lnTo>
                  <a:lnTo>
                    <a:pt x="11002" y="1228"/>
                  </a:lnTo>
                  <a:lnTo>
                    <a:pt x="10988" y="1246"/>
                  </a:lnTo>
                  <a:lnTo>
                    <a:pt x="10975" y="1263"/>
                  </a:lnTo>
                  <a:lnTo>
                    <a:pt x="10962" y="1279"/>
                  </a:lnTo>
                  <a:lnTo>
                    <a:pt x="10948" y="1294"/>
                  </a:lnTo>
                  <a:lnTo>
                    <a:pt x="10933" y="1310"/>
                  </a:lnTo>
                  <a:lnTo>
                    <a:pt x="10919" y="1325"/>
                  </a:lnTo>
                  <a:lnTo>
                    <a:pt x="10904" y="1339"/>
                  </a:lnTo>
                  <a:lnTo>
                    <a:pt x="10890" y="1352"/>
                  </a:lnTo>
                  <a:lnTo>
                    <a:pt x="10873" y="1366"/>
                  </a:lnTo>
                  <a:lnTo>
                    <a:pt x="10858" y="1378"/>
                  </a:lnTo>
                  <a:lnTo>
                    <a:pt x="10842" y="1390"/>
                  </a:lnTo>
                  <a:lnTo>
                    <a:pt x="10825" y="1402"/>
                  </a:lnTo>
                  <a:lnTo>
                    <a:pt x="10807" y="1412"/>
                  </a:lnTo>
                  <a:lnTo>
                    <a:pt x="10790" y="1423"/>
                  </a:lnTo>
                  <a:lnTo>
                    <a:pt x="10773" y="1433"/>
                  </a:lnTo>
                  <a:lnTo>
                    <a:pt x="10754" y="1442"/>
                  </a:lnTo>
                  <a:lnTo>
                    <a:pt x="10735" y="1451"/>
                  </a:lnTo>
                  <a:lnTo>
                    <a:pt x="10716" y="1459"/>
                  </a:lnTo>
                  <a:lnTo>
                    <a:pt x="10696" y="1466"/>
                  </a:lnTo>
                  <a:lnTo>
                    <a:pt x="10676" y="1473"/>
                  </a:lnTo>
                  <a:lnTo>
                    <a:pt x="10656" y="1479"/>
                  </a:lnTo>
                  <a:lnTo>
                    <a:pt x="10634" y="1486"/>
                  </a:lnTo>
                  <a:lnTo>
                    <a:pt x="10613" y="1491"/>
                  </a:lnTo>
                  <a:lnTo>
                    <a:pt x="10591" y="1495"/>
                  </a:lnTo>
                  <a:lnTo>
                    <a:pt x="10567" y="1499"/>
                  </a:lnTo>
                  <a:lnTo>
                    <a:pt x="10544" y="1502"/>
                  </a:lnTo>
                  <a:lnTo>
                    <a:pt x="10521" y="1505"/>
                  </a:lnTo>
                  <a:lnTo>
                    <a:pt x="10496" y="1507"/>
                  </a:lnTo>
                  <a:lnTo>
                    <a:pt x="10471" y="1509"/>
                  </a:lnTo>
                  <a:lnTo>
                    <a:pt x="10445" y="1510"/>
                  </a:lnTo>
                  <a:lnTo>
                    <a:pt x="10419" y="1510"/>
                  </a:lnTo>
                  <a:lnTo>
                    <a:pt x="10386" y="1509"/>
                  </a:lnTo>
                  <a:lnTo>
                    <a:pt x="10355" y="1507"/>
                  </a:lnTo>
                  <a:lnTo>
                    <a:pt x="10324" y="1504"/>
                  </a:lnTo>
                  <a:lnTo>
                    <a:pt x="10294" y="1500"/>
                  </a:lnTo>
                  <a:lnTo>
                    <a:pt x="10264" y="1494"/>
                  </a:lnTo>
                  <a:lnTo>
                    <a:pt x="10236" y="1487"/>
                  </a:lnTo>
                  <a:lnTo>
                    <a:pt x="10207" y="1478"/>
                  </a:lnTo>
                  <a:lnTo>
                    <a:pt x="10180" y="1468"/>
                  </a:lnTo>
                  <a:lnTo>
                    <a:pt x="10153" y="1458"/>
                  </a:lnTo>
                  <a:lnTo>
                    <a:pt x="10128" y="1446"/>
                  </a:lnTo>
                  <a:lnTo>
                    <a:pt x="10104" y="1433"/>
                  </a:lnTo>
                  <a:lnTo>
                    <a:pt x="10080" y="1418"/>
                  </a:lnTo>
                  <a:lnTo>
                    <a:pt x="10057" y="1403"/>
                  </a:lnTo>
                  <a:lnTo>
                    <a:pt x="10035" y="1387"/>
                  </a:lnTo>
                  <a:lnTo>
                    <a:pt x="10014" y="1370"/>
                  </a:lnTo>
                  <a:lnTo>
                    <a:pt x="9994" y="1351"/>
                  </a:lnTo>
                  <a:lnTo>
                    <a:pt x="9975" y="1332"/>
                  </a:lnTo>
                  <a:lnTo>
                    <a:pt x="9957" y="1312"/>
                  </a:lnTo>
                  <a:lnTo>
                    <a:pt x="9941" y="1289"/>
                  </a:lnTo>
                  <a:lnTo>
                    <a:pt x="9925" y="1268"/>
                  </a:lnTo>
                  <a:lnTo>
                    <a:pt x="9910" y="1245"/>
                  </a:lnTo>
                  <a:lnTo>
                    <a:pt x="9896" y="1220"/>
                  </a:lnTo>
                  <a:lnTo>
                    <a:pt x="9884" y="1195"/>
                  </a:lnTo>
                  <a:lnTo>
                    <a:pt x="9873" y="1169"/>
                  </a:lnTo>
                  <a:lnTo>
                    <a:pt x="9864" y="1143"/>
                  </a:lnTo>
                  <a:lnTo>
                    <a:pt x="9854" y="1114"/>
                  </a:lnTo>
                  <a:lnTo>
                    <a:pt x="9847" y="1087"/>
                  </a:lnTo>
                  <a:lnTo>
                    <a:pt x="9841" y="1057"/>
                  </a:lnTo>
                  <a:lnTo>
                    <a:pt x="9836" y="1028"/>
                  </a:lnTo>
                  <a:lnTo>
                    <a:pt x="9833" y="998"/>
                  </a:lnTo>
                  <a:lnTo>
                    <a:pt x="9831" y="966"/>
                  </a:lnTo>
                  <a:lnTo>
                    <a:pt x="9830" y="933"/>
                  </a:lnTo>
                  <a:lnTo>
                    <a:pt x="9831" y="901"/>
                  </a:lnTo>
                  <a:lnTo>
                    <a:pt x="9833" y="869"/>
                  </a:lnTo>
                  <a:lnTo>
                    <a:pt x="9836" y="839"/>
                  </a:lnTo>
                  <a:lnTo>
                    <a:pt x="9840" y="808"/>
                  </a:lnTo>
                  <a:lnTo>
                    <a:pt x="9846" y="779"/>
                  </a:lnTo>
                  <a:lnTo>
                    <a:pt x="9853" y="750"/>
                  </a:lnTo>
                  <a:lnTo>
                    <a:pt x="9863" y="723"/>
                  </a:lnTo>
                  <a:lnTo>
                    <a:pt x="9872" y="696"/>
                  </a:lnTo>
                  <a:lnTo>
                    <a:pt x="9883" y="670"/>
                  </a:lnTo>
                  <a:lnTo>
                    <a:pt x="9894" y="645"/>
                  </a:lnTo>
                  <a:lnTo>
                    <a:pt x="9907" y="620"/>
                  </a:lnTo>
                  <a:lnTo>
                    <a:pt x="9923" y="597"/>
                  </a:lnTo>
                  <a:lnTo>
                    <a:pt x="9938" y="575"/>
                  </a:lnTo>
                  <a:lnTo>
                    <a:pt x="9954" y="553"/>
                  </a:lnTo>
                  <a:lnTo>
                    <a:pt x="9971" y="533"/>
                  </a:lnTo>
                  <a:lnTo>
                    <a:pt x="9991" y="513"/>
                  </a:lnTo>
                  <a:lnTo>
                    <a:pt x="10010" y="496"/>
                  </a:lnTo>
                  <a:lnTo>
                    <a:pt x="10031" y="479"/>
                  </a:lnTo>
                  <a:lnTo>
                    <a:pt x="10053" y="463"/>
                  </a:lnTo>
                  <a:lnTo>
                    <a:pt x="10075" y="447"/>
                  </a:lnTo>
                  <a:lnTo>
                    <a:pt x="10099" y="433"/>
                  </a:lnTo>
                  <a:lnTo>
                    <a:pt x="10124" y="420"/>
                  </a:lnTo>
                  <a:lnTo>
                    <a:pt x="10149" y="409"/>
                  </a:lnTo>
                  <a:lnTo>
                    <a:pt x="10176" y="399"/>
                  </a:lnTo>
                  <a:lnTo>
                    <a:pt x="10203" y="388"/>
                  </a:lnTo>
                  <a:lnTo>
                    <a:pt x="10232" y="380"/>
                  </a:lnTo>
                  <a:lnTo>
                    <a:pt x="10261" y="373"/>
                  </a:lnTo>
                  <a:lnTo>
                    <a:pt x="10291" y="368"/>
                  </a:lnTo>
                  <a:lnTo>
                    <a:pt x="10322" y="363"/>
                  </a:lnTo>
                  <a:lnTo>
                    <a:pt x="10354" y="360"/>
                  </a:lnTo>
                  <a:lnTo>
                    <a:pt x="10386" y="358"/>
                  </a:lnTo>
                  <a:lnTo>
                    <a:pt x="10419" y="358"/>
                  </a:lnTo>
                  <a:lnTo>
                    <a:pt x="10445" y="358"/>
                  </a:lnTo>
                  <a:lnTo>
                    <a:pt x="10471" y="359"/>
                  </a:lnTo>
                  <a:lnTo>
                    <a:pt x="10496" y="360"/>
                  </a:lnTo>
                  <a:lnTo>
                    <a:pt x="10521" y="362"/>
                  </a:lnTo>
                  <a:lnTo>
                    <a:pt x="10544" y="365"/>
                  </a:lnTo>
                  <a:lnTo>
                    <a:pt x="10567" y="368"/>
                  </a:lnTo>
                  <a:lnTo>
                    <a:pt x="10591" y="372"/>
                  </a:lnTo>
                  <a:lnTo>
                    <a:pt x="10613" y="377"/>
                  </a:lnTo>
                  <a:lnTo>
                    <a:pt x="10634" y="382"/>
                  </a:lnTo>
                  <a:lnTo>
                    <a:pt x="10656" y="388"/>
                  </a:lnTo>
                  <a:lnTo>
                    <a:pt x="10676" y="395"/>
                  </a:lnTo>
                  <a:lnTo>
                    <a:pt x="10696" y="402"/>
                  </a:lnTo>
                  <a:lnTo>
                    <a:pt x="10716" y="409"/>
                  </a:lnTo>
                  <a:lnTo>
                    <a:pt x="10735" y="417"/>
                  </a:lnTo>
                  <a:lnTo>
                    <a:pt x="10754" y="425"/>
                  </a:lnTo>
                  <a:lnTo>
                    <a:pt x="10773" y="435"/>
                  </a:lnTo>
                  <a:lnTo>
                    <a:pt x="10790" y="444"/>
                  </a:lnTo>
                  <a:lnTo>
                    <a:pt x="10807" y="455"/>
                  </a:lnTo>
                  <a:lnTo>
                    <a:pt x="10825" y="466"/>
                  </a:lnTo>
                  <a:lnTo>
                    <a:pt x="10842" y="477"/>
                  </a:lnTo>
                  <a:lnTo>
                    <a:pt x="10858" y="489"/>
                  </a:lnTo>
                  <a:lnTo>
                    <a:pt x="10873" y="502"/>
                  </a:lnTo>
                  <a:lnTo>
                    <a:pt x="10890" y="515"/>
                  </a:lnTo>
                  <a:lnTo>
                    <a:pt x="10904" y="529"/>
                  </a:lnTo>
                  <a:lnTo>
                    <a:pt x="10919" y="543"/>
                  </a:lnTo>
                  <a:lnTo>
                    <a:pt x="10933" y="557"/>
                  </a:lnTo>
                  <a:lnTo>
                    <a:pt x="10948" y="572"/>
                  </a:lnTo>
                  <a:lnTo>
                    <a:pt x="10962" y="589"/>
                  </a:lnTo>
                  <a:lnTo>
                    <a:pt x="10975" y="605"/>
                  </a:lnTo>
                  <a:lnTo>
                    <a:pt x="10988" y="621"/>
                  </a:lnTo>
                  <a:lnTo>
                    <a:pt x="11002" y="639"/>
                  </a:lnTo>
                  <a:lnTo>
                    <a:pt x="11015" y="657"/>
                  </a:lnTo>
                  <a:lnTo>
                    <a:pt x="11327" y="4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2" name="Freeform 6"/>
            <p:cNvSpPr>
              <a:spLocks noEditPoints="1"/>
            </p:cNvSpPr>
            <p:nvPr userDrawn="1"/>
          </p:nvSpPr>
          <p:spPr bwMode="auto">
            <a:xfrm>
              <a:off x="490538" y="487363"/>
              <a:ext cx="466725" cy="455612"/>
            </a:xfrm>
            <a:custGeom>
              <a:avLst/>
              <a:gdLst>
                <a:gd name="T0" fmla="*/ 1853 w 3532"/>
                <a:gd name="T1" fmla="*/ 1336 h 3444"/>
                <a:gd name="T2" fmla="*/ 1828 w 3532"/>
                <a:gd name="T3" fmla="*/ 1351 h 3444"/>
                <a:gd name="T4" fmla="*/ 1795 w 3532"/>
                <a:gd name="T5" fmla="*/ 1349 h 3444"/>
                <a:gd name="T6" fmla="*/ 1104 w 3532"/>
                <a:gd name="T7" fmla="*/ 1069 h 3444"/>
                <a:gd name="T8" fmla="*/ 1071 w 3532"/>
                <a:gd name="T9" fmla="*/ 1010 h 3444"/>
                <a:gd name="T10" fmla="*/ 1204 w 3532"/>
                <a:gd name="T11" fmla="*/ 141 h 3444"/>
                <a:gd name="T12" fmla="*/ 1231 w 3532"/>
                <a:gd name="T13" fmla="*/ 77 h 3444"/>
                <a:gd name="T14" fmla="*/ 1287 w 3532"/>
                <a:gd name="T15" fmla="*/ 37 h 3444"/>
                <a:gd name="T16" fmla="*/ 2026 w 3532"/>
                <a:gd name="T17" fmla="*/ 0 h 3444"/>
                <a:gd name="T18" fmla="*/ 2055 w 3532"/>
                <a:gd name="T19" fmla="*/ 11 h 3444"/>
                <a:gd name="T20" fmla="*/ 2072 w 3532"/>
                <a:gd name="T21" fmla="*/ 37 h 3444"/>
                <a:gd name="T22" fmla="*/ 1399 w 3532"/>
                <a:gd name="T23" fmla="*/ 1554 h 3444"/>
                <a:gd name="T24" fmla="*/ 1417 w 3532"/>
                <a:gd name="T25" fmla="*/ 1578 h 3444"/>
                <a:gd name="T26" fmla="*/ 1414 w 3532"/>
                <a:gd name="T27" fmla="*/ 1610 h 3444"/>
                <a:gd name="T28" fmla="*/ 958 w 3532"/>
                <a:gd name="T29" fmla="*/ 2172 h 3444"/>
                <a:gd name="T30" fmla="*/ 893 w 3532"/>
                <a:gd name="T31" fmla="*/ 2208 h 3444"/>
                <a:gd name="T32" fmla="*/ 826 w 3532"/>
                <a:gd name="T33" fmla="*/ 2201 h 3444"/>
                <a:gd name="T34" fmla="*/ 45 w 3532"/>
                <a:gd name="T35" fmla="*/ 1796 h 3444"/>
                <a:gd name="T36" fmla="*/ 6 w 3532"/>
                <a:gd name="T37" fmla="*/ 1741 h 3444"/>
                <a:gd name="T38" fmla="*/ 4 w 3532"/>
                <a:gd name="T39" fmla="*/ 1664 h 3444"/>
                <a:gd name="T40" fmla="*/ 200 w 3532"/>
                <a:gd name="T41" fmla="*/ 976 h 3444"/>
                <a:gd name="T42" fmla="*/ 226 w 3532"/>
                <a:gd name="T43" fmla="*/ 959 h 3444"/>
                <a:gd name="T44" fmla="*/ 255 w 3532"/>
                <a:gd name="T45" fmla="*/ 963 h 3444"/>
                <a:gd name="T46" fmla="*/ 1491 w 3532"/>
                <a:gd name="T47" fmla="*/ 2055 h 3444"/>
                <a:gd name="T48" fmla="*/ 1521 w 3532"/>
                <a:gd name="T49" fmla="*/ 2057 h 3444"/>
                <a:gd name="T50" fmla="*/ 1546 w 3532"/>
                <a:gd name="T51" fmla="*/ 2077 h 3444"/>
                <a:gd name="T52" fmla="*/ 1940 w 3532"/>
                <a:gd name="T53" fmla="*/ 2711 h 3444"/>
                <a:gd name="T54" fmla="*/ 1933 w 3532"/>
                <a:gd name="T55" fmla="*/ 2779 h 3444"/>
                <a:gd name="T56" fmla="*/ 1315 w 3532"/>
                <a:gd name="T57" fmla="*/ 3402 h 3444"/>
                <a:gd name="T58" fmla="*/ 1256 w 3532"/>
                <a:gd name="T59" fmla="*/ 3439 h 3444"/>
                <a:gd name="T60" fmla="*/ 1187 w 3532"/>
                <a:gd name="T61" fmla="*/ 3439 h 3444"/>
                <a:gd name="T62" fmla="*/ 567 w 3532"/>
                <a:gd name="T63" fmla="*/ 3035 h 3444"/>
                <a:gd name="T64" fmla="*/ 549 w 3532"/>
                <a:gd name="T65" fmla="*/ 3009 h 3444"/>
                <a:gd name="T66" fmla="*/ 551 w 3532"/>
                <a:gd name="T67" fmla="*/ 2978 h 3444"/>
                <a:gd name="T68" fmla="*/ 1987 w 3532"/>
                <a:gd name="T69" fmla="*/ 2144 h 3444"/>
                <a:gd name="T70" fmla="*/ 1988 w 3532"/>
                <a:gd name="T71" fmla="*/ 2114 h 3444"/>
                <a:gd name="T72" fmla="*/ 2009 w 3532"/>
                <a:gd name="T73" fmla="*/ 2091 h 3444"/>
                <a:gd name="T74" fmla="*/ 2707 w 3532"/>
                <a:gd name="T75" fmla="*/ 1899 h 3444"/>
                <a:gd name="T76" fmla="*/ 2780 w 3532"/>
                <a:gd name="T77" fmla="*/ 1910 h 3444"/>
                <a:gd name="T78" fmla="*/ 2832 w 3532"/>
                <a:gd name="T79" fmla="*/ 1953 h 3444"/>
                <a:gd name="T80" fmla="*/ 3229 w 3532"/>
                <a:gd name="T81" fmla="*/ 2739 h 3444"/>
                <a:gd name="T82" fmla="*/ 3227 w 3532"/>
                <a:gd name="T83" fmla="*/ 2806 h 3444"/>
                <a:gd name="T84" fmla="*/ 3184 w 3532"/>
                <a:gd name="T85" fmla="*/ 2871 h 3444"/>
                <a:gd name="T86" fmla="*/ 2624 w 3532"/>
                <a:gd name="T87" fmla="*/ 3314 h 3444"/>
                <a:gd name="T88" fmla="*/ 2593 w 3532"/>
                <a:gd name="T89" fmla="*/ 3313 h 3444"/>
                <a:gd name="T90" fmla="*/ 2570 w 3532"/>
                <a:gd name="T91" fmla="*/ 3292 h 3444"/>
                <a:gd name="T92" fmla="*/ 2206 w 3532"/>
                <a:gd name="T93" fmla="*/ 1686 h 3444"/>
                <a:gd name="T94" fmla="*/ 2183 w 3532"/>
                <a:gd name="T95" fmla="*/ 1667 h 3444"/>
                <a:gd name="T96" fmla="*/ 2176 w 3532"/>
                <a:gd name="T97" fmla="*/ 1635 h 3444"/>
                <a:gd name="T98" fmla="*/ 2229 w 3532"/>
                <a:gd name="T99" fmla="*/ 892 h 3444"/>
                <a:gd name="T100" fmla="*/ 2275 w 3532"/>
                <a:gd name="T101" fmla="*/ 841 h 3444"/>
                <a:gd name="T102" fmla="*/ 3142 w 3532"/>
                <a:gd name="T103" fmla="*/ 700 h 3444"/>
                <a:gd name="T104" fmla="*/ 3211 w 3532"/>
                <a:gd name="T105" fmla="*/ 706 h 3444"/>
                <a:gd name="T106" fmla="*/ 3268 w 3532"/>
                <a:gd name="T107" fmla="*/ 746 h 3444"/>
                <a:gd name="T108" fmla="*/ 3530 w 3532"/>
                <a:gd name="T109" fmla="*/ 1438 h 3444"/>
                <a:gd name="T110" fmla="*/ 3529 w 3532"/>
                <a:gd name="T111" fmla="*/ 1469 h 3444"/>
                <a:gd name="T112" fmla="*/ 3510 w 3532"/>
                <a:gd name="T113" fmla="*/ 1493 h 3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32" h="3444">
                  <a:moveTo>
                    <a:pt x="2072" y="52"/>
                  </a:moveTo>
                  <a:lnTo>
                    <a:pt x="1861" y="1317"/>
                  </a:lnTo>
                  <a:lnTo>
                    <a:pt x="1860" y="1322"/>
                  </a:lnTo>
                  <a:lnTo>
                    <a:pt x="1858" y="1327"/>
                  </a:lnTo>
                  <a:lnTo>
                    <a:pt x="1856" y="1332"/>
                  </a:lnTo>
                  <a:lnTo>
                    <a:pt x="1853" y="1336"/>
                  </a:lnTo>
                  <a:lnTo>
                    <a:pt x="1849" y="1340"/>
                  </a:lnTo>
                  <a:lnTo>
                    <a:pt x="1846" y="1343"/>
                  </a:lnTo>
                  <a:lnTo>
                    <a:pt x="1842" y="1346"/>
                  </a:lnTo>
                  <a:lnTo>
                    <a:pt x="1837" y="1348"/>
                  </a:lnTo>
                  <a:lnTo>
                    <a:pt x="1833" y="1350"/>
                  </a:lnTo>
                  <a:lnTo>
                    <a:pt x="1828" y="1351"/>
                  </a:lnTo>
                  <a:lnTo>
                    <a:pt x="1822" y="1352"/>
                  </a:lnTo>
                  <a:lnTo>
                    <a:pt x="1817" y="1353"/>
                  </a:lnTo>
                  <a:lnTo>
                    <a:pt x="1811" y="1352"/>
                  </a:lnTo>
                  <a:lnTo>
                    <a:pt x="1806" y="1352"/>
                  </a:lnTo>
                  <a:lnTo>
                    <a:pt x="1801" y="1351"/>
                  </a:lnTo>
                  <a:lnTo>
                    <a:pt x="1795" y="1349"/>
                  </a:lnTo>
                  <a:lnTo>
                    <a:pt x="1163" y="1105"/>
                  </a:lnTo>
                  <a:lnTo>
                    <a:pt x="1149" y="1099"/>
                  </a:lnTo>
                  <a:lnTo>
                    <a:pt x="1136" y="1092"/>
                  </a:lnTo>
                  <a:lnTo>
                    <a:pt x="1125" y="1085"/>
                  </a:lnTo>
                  <a:lnTo>
                    <a:pt x="1114" y="1077"/>
                  </a:lnTo>
                  <a:lnTo>
                    <a:pt x="1104" y="1069"/>
                  </a:lnTo>
                  <a:lnTo>
                    <a:pt x="1096" y="1060"/>
                  </a:lnTo>
                  <a:lnTo>
                    <a:pt x="1089" y="1050"/>
                  </a:lnTo>
                  <a:lnTo>
                    <a:pt x="1083" y="1041"/>
                  </a:lnTo>
                  <a:lnTo>
                    <a:pt x="1078" y="1031"/>
                  </a:lnTo>
                  <a:lnTo>
                    <a:pt x="1074" y="1020"/>
                  </a:lnTo>
                  <a:lnTo>
                    <a:pt x="1071" y="1010"/>
                  </a:lnTo>
                  <a:lnTo>
                    <a:pt x="1068" y="999"/>
                  </a:lnTo>
                  <a:lnTo>
                    <a:pt x="1067" y="986"/>
                  </a:lnTo>
                  <a:lnTo>
                    <a:pt x="1067" y="975"/>
                  </a:lnTo>
                  <a:lnTo>
                    <a:pt x="1068" y="963"/>
                  </a:lnTo>
                  <a:lnTo>
                    <a:pt x="1069" y="951"/>
                  </a:lnTo>
                  <a:lnTo>
                    <a:pt x="1204" y="141"/>
                  </a:lnTo>
                  <a:lnTo>
                    <a:pt x="1206" y="130"/>
                  </a:lnTo>
                  <a:lnTo>
                    <a:pt x="1209" y="118"/>
                  </a:lnTo>
                  <a:lnTo>
                    <a:pt x="1213" y="107"/>
                  </a:lnTo>
                  <a:lnTo>
                    <a:pt x="1218" y="97"/>
                  </a:lnTo>
                  <a:lnTo>
                    <a:pt x="1224" y="86"/>
                  </a:lnTo>
                  <a:lnTo>
                    <a:pt x="1231" y="77"/>
                  </a:lnTo>
                  <a:lnTo>
                    <a:pt x="1238" y="69"/>
                  </a:lnTo>
                  <a:lnTo>
                    <a:pt x="1246" y="61"/>
                  </a:lnTo>
                  <a:lnTo>
                    <a:pt x="1255" y="54"/>
                  </a:lnTo>
                  <a:lnTo>
                    <a:pt x="1265" y="47"/>
                  </a:lnTo>
                  <a:lnTo>
                    <a:pt x="1275" y="42"/>
                  </a:lnTo>
                  <a:lnTo>
                    <a:pt x="1287" y="37"/>
                  </a:lnTo>
                  <a:lnTo>
                    <a:pt x="1300" y="33"/>
                  </a:lnTo>
                  <a:lnTo>
                    <a:pt x="1313" y="29"/>
                  </a:lnTo>
                  <a:lnTo>
                    <a:pt x="1327" y="27"/>
                  </a:lnTo>
                  <a:lnTo>
                    <a:pt x="1342" y="26"/>
                  </a:lnTo>
                  <a:lnTo>
                    <a:pt x="2020" y="0"/>
                  </a:lnTo>
                  <a:lnTo>
                    <a:pt x="2026" y="0"/>
                  </a:lnTo>
                  <a:lnTo>
                    <a:pt x="2031" y="1"/>
                  </a:lnTo>
                  <a:lnTo>
                    <a:pt x="2036" y="2"/>
                  </a:lnTo>
                  <a:lnTo>
                    <a:pt x="2042" y="3"/>
                  </a:lnTo>
                  <a:lnTo>
                    <a:pt x="2046" y="5"/>
                  </a:lnTo>
                  <a:lnTo>
                    <a:pt x="2051" y="8"/>
                  </a:lnTo>
                  <a:lnTo>
                    <a:pt x="2055" y="11"/>
                  </a:lnTo>
                  <a:lnTo>
                    <a:pt x="2059" y="14"/>
                  </a:lnTo>
                  <a:lnTo>
                    <a:pt x="2062" y="18"/>
                  </a:lnTo>
                  <a:lnTo>
                    <a:pt x="2066" y="22"/>
                  </a:lnTo>
                  <a:lnTo>
                    <a:pt x="2068" y="26"/>
                  </a:lnTo>
                  <a:lnTo>
                    <a:pt x="2070" y="32"/>
                  </a:lnTo>
                  <a:lnTo>
                    <a:pt x="2072" y="37"/>
                  </a:lnTo>
                  <a:lnTo>
                    <a:pt x="2072" y="42"/>
                  </a:lnTo>
                  <a:lnTo>
                    <a:pt x="2073" y="47"/>
                  </a:lnTo>
                  <a:lnTo>
                    <a:pt x="2072" y="52"/>
                  </a:lnTo>
                  <a:close/>
                  <a:moveTo>
                    <a:pt x="255" y="963"/>
                  </a:moveTo>
                  <a:lnTo>
                    <a:pt x="1394" y="1551"/>
                  </a:lnTo>
                  <a:lnTo>
                    <a:pt x="1399" y="1554"/>
                  </a:lnTo>
                  <a:lnTo>
                    <a:pt x="1403" y="1557"/>
                  </a:lnTo>
                  <a:lnTo>
                    <a:pt x="1408" y="1561"/>
                  </a:lnTo>
                  <a:lnTo>
                    <a:pt x="1411" y="1565"/>
                  </a:lnTo>
                  <a:lnTo>
                    <a:pt x="1413" y="1569"/>
                  </a:lnTo>
                  <a:lnTo>
                    <a:pt x="1415" y="1574"/>
                  </a:lnTo>
                  <a:lnTo>
                    <a:pt x="1417" y="1578"/>
                  </a:lnTo>
                  <a:lnTo>
                    <a:pt x="1418" y="1583"/>
                  </a:lnTo>
                  <a:lnTo>
                    <a:pt x="1418" y="1588"/>
                  </a:lnTo>
                  <a:lnTo>
                    <a:pt x="1418" y="1593"/>
                  </a:lnTo>
                  <a:lnTo>
                    <a:pt x="1417" y="1599"/>
                  </a:lnTo>
                  <a:lnTo>
                    <a:pt x="1416" y="1605"/>
                  </a:lnTo>
                  <a:lnTo>
                    <a:pt x="1414" y="1610"/>
                  </a:lnTo>
                  <a:lnTo>
                    <a:pt x="1412" y="1614"/>
                  </a:lnTo>
                  <a:lnTo>
                    <a:pt x="1409" y="1619"/>
                  </a:lnTo>
                  <a:lnTo>
                    <a:pt x="1405" y="1624"/>
                  </a:lnTo>
                  <a:lnTo>
                    <a:pt x="978" y="2151"/>
                  </a:lnTo>
                  <a:lnTo>
                    <a:pt x="969" y="2162"/>
                  </a:lnTo>
                  <a:lnTo>
                    <a:pt x="958" y="2172"/>
                  </a:lnTo>
                  <a:lnTo>
                    <a:pt x="948" y="2181"/>
                  </a:lnTo>
                  <a:lnTo>
                    <a:pt x="938" y="2188"/>
                  </a:lnTo>
                  <a:lnTo>
                    <a:pt x="926" y="2195"/>
                  </a:lnTo>
                  <a:lnTo>
                    <a:pt x="915" y="2200"/>
                  </a:lnTo>
                  <a:lnTo>
                    <a:pt x="904" y="2204"/>
                  </a:lnTo>
                  <a:lnTo>
                    <a:pt x="893" y="2208"/>
                  </a:lnTo>
                  <a:lnTo>
                    <a:pt x="882" y="2209"/>
                  </a:lnTo>
                  <a:lnTo>
                    <a:pt x="871" y="2210"/>
                  </a:lnTo>
                  <a:lnTo>
                    <a:pt x="859" y="2209"/>
                  </a:lnTo>
                  <a:lnTo>
                    <a:pt x="848" y="2208"/>
                  </a:lnTo>
                  <a:lnTo>
                    <a:pt x="837" y="2206"/>
                  </a:lnTo>
                  <a:lnTo>
                    <a:pt x="826" y="2201"/>
                  </a:lnTo>
                  <a:lnTo>
                    <a:pt x="815" y="2197"/>
                  </a:lnTo>
                  <a:lnTo>
                    <a:pt x="803" y="2192"/>
                  </a:lnTo>
                  <a:lnTo>
                    <a:pt x="74" y="1816"/>
                  </a:lnTo>
                  <a:lnTo>
                    <a:pt x="64" y="1810"/>
                  </a:lnTo>
                  <a:lnTo>
                    <a:pt x="54" y="1803"/>
                  </a:lnTo>
                  <a:lnTo>
                    <a:pt x="45" y="1796"/>
                  </a:lnTo>
                  <a:lnTo>
                    <a:pt x="37" y="1789"/>
                  </a:lnTo>
                  <a:lnTo>
                    <a:pt x="28" y="1779"/>
                  </a:lnTo>
                  <a:lnTo>
                    <a:pt x="21" y="1771"/>
                  </a:lnTo>
                  <a:lnTo>
                    <a:pt x="15" y="1761"/>
                  </a:lnTo>
                  <a:lnTo>
                    <a:pt x="10" y="1751"/>
                  </a:lnTo>
                  <a:lnTo>
                    <a:pt x="6" y="1741"/>
                  </a:lnTo>
                  <a:lnTo>
                    <a:pt x="3" y="1729"/>
                  </a:lnTo>
                  <a:lnTo>
                    <a:pt x="1" y="1717"/>
                  </a:lnTo>
                  <a:lnTo>
                    <a:pt x="0" y="1704"/>
                  </a:lnTo>
                  <a:lnTo>
                    <a:pt x="0" y="1691"/>
                  </a:lnTo>
                  <a:lnTo>
                    <a:pt x="1" y="1678"/>
                  </a:lnTo>
                  <a:lnTo>
                    <a:pt x="4" y="1664"/>
                  </a:lnTo>
                  <a:lnTo>
                    <a:pt x="7" y="1648"/>
                  </a:lnTo>
                  <a:lnTo>
                    <a:pt x="190" y="995"/>
                  </a:lnTo>
                  <a:lnTo>
                    <a:pt x="192" y="990"/>
                  </a:lnTo>
                  <a:lnTo>
                    <a:pt x="194" y="985"/>
                  </a:lnTo>
                  <a:lnTo>
                    <a:pt x="197" y="980"/>
                  </a:lnTo>
                  <a:lnTo>
                    <a:pt x="200" y="976"/>
                  </a:lnTo>
                  <a:lnTo>
                    <a:pt x="203" y="972"/>
                  </a:lnTo>
                  <a:lnTo>
                    <a:pt x="207" y="969"/>
                  </a:lnTo>
                  <a:lnTo>
                    <a:pt x="212" y="965"/>
                  </a:lnTo>
                  <a:lnTo>
                    <a:pt x="216" y="963"/>
                  </a:lnTo>
                  <a:lnTo>
                    <a:pt x="221" y="961"/>
                  </a:lnTo>
                  <a:lnTo>
                    <a:pt x="226" y="959"/>
                  </a:lnTo>
                  <a:lnTo>
                    <a:pt x="230" y="958"/>
                  </a:lnTo>
                  <a:lnTo>
                    <a:pt x="235" y="958"/>
                  </a:lnTo>
                  <a:lnTo>
                    <a:pt x="240" y="958"/>
                  </a:lnTo>
                  <a:lnTo>
                    <a:pt x="245" y="959"/>
                  </a:lnTo>
                  <a:lnTo>
                    <a:pt x="250" y="960"/>
                  </a:lnTo>
                  <a:lnTo>
                    <a:pt x="255" y="963"/>
                  </a:lnTo>
                  <a:close/>
                  <a:moveTo>
                    <a:pt x="560" y="2966"/>
                  </a:moveTo>
                  <a:lnTo>
                    <a:pt x="1474" y="2066"/>
                  </a:lnTo>
                  <a:lnTo>
                    <a:pt x="1478" y="2062"/>
                  </a:lnTo>
                  <a:lnTo>
                    <a:pt x="1482" y="2059"/>
                  </a:lnTo>
                  <a:lnTo>
                    <a:pt x="1487" y="2057"/>
                  </a:lnTo>
                  <a:lnTo>
                    <a:pt x="1491" y="2055"/>
                  </a:lnTo>
                  <a:lnTo>
                    <a:pt x="1496" y="2054"/>
                  </a:lnTo>
                  <a:lnTo>
                    <a:pt x="1501" y="2053"/>
                  </a:lnTo>
                  <a:lnTo>
                    <a:pt x="1506" y="2054"/>
                  </a:lnTo>
                  <a:lnTo>
                    <a:pt x="1511" y="2054"/>
                  </a:lnTo>
                  <a:lnTo>
                    <a:pt x="1516" y="2055"/>
                  </a:lnTo>
                  <a:lnTo>
                    <a:pt x="1521" y="2057"/>
                  </a:lnTo>
                  <a:lnTo>
                    <a:pt x="1526" y="2059"/>
                  </a:lnTo>
                  <a:lnTo>
                    <a:pt x="1531" y="2062"/>
                  </a:lnTo>
                  <a:lnTo>
                    <a:pt x="1535" y="2065"/>
                  </a:lnTo>
                  <a:lnTo>
                    <a:pt x="1539" y="2069"/>
                  </a:lnTo>
                  <a:lnTo>
                    <a:pt x="1543" y="2073"/>
                  </a:lnTo>
                  <a:lnTo>
                    <a:pt x="1546" y="2077"/>
                  </a:lnTo>
                  <a:lnTo>
                    <a:pt x="1914" y="2647"/>
                  </a:lnTo>
                  <a:lnTo>
                    <a:pt x="1922" y="2660"/>
                  </a:lnTo>
                  <a:lnTo>
                    <a:pt x="1928" y="2673"/>
                  </a:lnTo>
                  <a:lnTo>
                    <a:pt x="1933" y="2685"/>
                  </a:lnTo>
                  <a:lnTo>
                    <a:pt x="1937" y="2699"/>
                  </a:lnTo>
                  <a:lnTo>
                    <a:pt x="1940" y="2711"/>
                  </a:lnTo>
                  <a:lnTo>
                    <a:pt x="1941" y="2723"/>
                  </a:lnTo>
                  <a:lnTo>
                    <a:pt x="1942" y="2734"/>
                  </a:lnTo>
                  <a:lnTo>
                    <a:pt x="1941" y="2745"/>
                  </a:lnTo>
                  <a:lnTo>
                    <a:pt x="1939" y="2758"/>
                  </a:lnTo>
                  <a:lnTo>
                    <a:pt x="1936" y="2768"/>
                  </a:lnTo>
                  <a:lnTo>
                    <a:pt x="1933" y="2779"/>
                  </a:lnTo>
                  <a:lnTo>
                    <a:pt x="1928" y="2789"/>
                  </a:lnTo>
                  <a:lnTo>
                    <a:pt x="1922" y="2799"/>
                  </a:lnTo>
                  <a:lnTo>
                    <a:pt x="1915" y="2808"/>
                  </a:lnTo>
                  <a:lnTo>
                    <a:pt x="1908" y="2818"/>
                  </a:lnTo>
                  <a:lnTo>
                    <a:pt x="1900" y="2827"/>
                  </a:lnTo>
                  <a:lnTo>
                    <a:pt x="1315" y="3402"/>
                  </a:lnTo>
                  <a:lnTo>
                    <a:pt x="1307" y="3410"/>
                  </a:lnTo>
                  <a:lnTo>
                    <a:pt x="1297" y="3419"/>
                  </a:lnTo>
                  <a:lnTo>
                    <a:pt x="1288" y="3425"/>
                  </a:lnTo>
                  <a:lnTo>
                    <a:pt x="1277" y="3431"/>
                  </a:lnTo>
                  <a:lnTo>
                    <a:pt x="1267" y="3435"/>
                  </a:lnTo>
                  <a:lnTo>
                    <a:pt x="1256" y="3439"/>
                  </a:lnTo>
                  <a:lnTo>
                    <a:pt x="1245" y="3442"/>
                  </a:lnTo>
                  <a:lnTo>
                    <a:pt x="1234" y="3443"/>
                  </a:lnTo>
                  <a:lnTo>
                    <a:pt x="1222" y="3444"/>
                  </a:lnTo>
                  <a:lnTo>
                    <a:pt x="1211" y="3443"/>
                  </a:lnTo>
                  <a:lnTo>
                    <a:pt x="1199" y="3442"/>
                  </a:lnTo>
                  <a:lnTo>
                    <a:pt x="1187" y="3439"/>
                  </a:lnTo>
                  <a:lnTo>
                    <a:pt x="1174" y="3435"/>
                  </a:lnTo>
                  <a:lnTo>
                    <a:pt x="1161" y="3430"/>
                  </a:lnTo>
                  <a:lnTo>
                    <a:pt x="1148" y="3423"/>
                  </a:lnTo>
                  <a:lnTo>
                    <a:pt x="1136" y="3415"/>
                  </a:lnTo>
                  <a:lnTo>
                    <a:pt x="572" y="3038"/>
                  </a:lnTo>
                  <a:lnTo>
                    <a:pt x="567" y="3035"/>
                  </a:lnTo>
                  <a:lnTo>
                    <a:pt x="563" y="3031"/>
                  </a:lnTo>
                  <a:lnTo>
                    <a:pt x="559" y="3027"/>
                  </a:lnTo>
                  <a:lnTo>
                    <a:pt x="556" y="3023"/>
                  </a:lnTo>
                  <a:lnTo>
                    <a:pt x="553" y="3018"/>
                  </a:lnTo>
                  <a:lnTo>
                    <a:pt x="551" y="3014"/>
                  </a:lnTo>
                  <a:lnTo>
                    <a:pt x="549" y="3009"/>
                  </a:lnTo>
                  <a:lnTo>
                    <a:pt x="548" y="3004"/>
                  </a:lnTo>
                  <a:lnTo>
                    <a:pt x="548" y="2999"/>
                  </a:lnTo>
                  <a:lnTo>
                    <a:pt x="548" y="2994"/>
                  </a:lnTo>
                  <a:lnTo>
                    <a:pt x="548" y="2988"/>
                  </a:lnTo>
                  <a:lnTo>
                    <a:pt x="549" y="2983"/>
                  </a:lnTo>
                  <a:lnTo>
                    <a:pt x="551" y="2978"/>
                  </a:lnTo>
                  <a:lnTo>
                    <a:pt x="553" y="2974"/>
                  </a:lnTo>
                  <a:lnTo>
                    <a:pt x="556" y="2970"/>
                  </a:lnTo>
                  <a:lnTo>
                    <a:pt x="560" y="2966"/>
                  </a:lnTo>
                  <a:close/>
                  <a:moveTo>
                    <a:pt x="2570" y="3292"/>
                  </a:moveTo>
                  <a:lnTo>
                    <a:pt x="1990" y="2150"/>
                  </a:lnTo>
                  <a:lnTo>
                    <a:pt x="1987" y="2144"/>
                  </a:lnTo>
                  <a:lnTo>
                    <a:pt x="1986" y="2139"/>
                  </a:lnTo>
                  <a:lnTo>
                    <a:pt x="1985" y="2134"/>
                  </a:lnTo>
                  <a:lnTo>
                    <a:pt x="1985" y="2128"/>
                  </a:lnTo>
                  <a:lnTo>
                    <a:pt x="1986" y="2124"/>
                  </a:lnTo>
                  <a:lnTo>
                    <a:pt x="1987" y="2119"/>
                  </a:lnTo>
                  <a:lnTo>
                    <a:pt x="1988" y="2114"/>
                  </a:lnTo>
                  <a:lnTo>
                    <a:pt x="1990" y="2110"/>
                  </a:lnTo>
                  <a:lnTo>
                    <a:pt x="1993" y="2105"/>
                  </a:lnTo>
                  <a:lnTo>
                    <a:pt x="1996" y="2101"/>
                  </a:lnTo>
                  <a:lnTo>
                    <a:pt x="2000" y="2098"/>
                  </a:lnTo>
                  <a:lnTo>
                    <a:pt x="2003" y="2094"/>
                  </a:lnTo>
                  <a:lnTo>
                    <a:pt x="2009" y="2091"/>
                  </a:lnTo>
                  <a:lnTo>
                    <a:pt x="2013" y="2088"/>
                  </a:lnTo>
                  <a:lnTo>
                    <a:pt x="2018" y="2086"/>
                  </a:lnTo>
                  <a:lnTo>
                    <a:pt x="2024" y="2084"/>
                  </a:lnTo>
                  <a:lnTo>
                    <a:pt x="2678" y="1906"/>
                  </a:lnTo>
                  <a:lnTo>
                    <a:pt x="2693" y="1902"/>
                  </a:lnTo>
                  <a:lnTo>
                    <a:pt x="2707" y="1899"/>
                  </a:lnTo>
                  <a:lnTo>
                    <a:pt x="2720" y="1898"/>
                  </a:lnTo>
                  <a:lnTo>
                    <a:pt x="2734" y="1898"/>
                  </a:lnTo>
                  <a:lnTo>
                    <a:pt x="2746" y="1900"/>
                  </a:lnTo>
                  <a:lnTo>
                    <a:pt x="2758" y="1902"/>
                  </a:lnTo>
                  <a:lnTo>
                    <a:pt x="2769" y="1906"/>
                  </a:lnTo>
                  <a:lnTo>
                    <a:pt x="2780" y="1910"/>
                  </a:lnTo>
                  <a:lnTo>
                    <a:pt x="2791" y="1915"/>
                  </a:lnTo>
                  <a:lnTo>
                    <a:pt x="2800" y="1921"/>
                  </a:lnTo>
                  <a:lnTo>
                    <a:pt x="2809" y="1928"/>
                  </a:lnTo>
                  <a:lnTo>
                    <a:pt x="2817" y="1936"/>
                  </a:lnTo>
                  <a:lnTo>
                    <a:pt x="2825" y="1944"/>
                  </a:lnTo>
                  <a:lnTo>
                    <a:pt x="2832" y="1953"/>
                  </a:lnTo>
                  <a:lnTo>
                    <a:pt x="2838" y="1963"/>
                  </a:lnTo>
                  <a:lnTo>
                    <a:pt x="2845" y="1974"/>
                  </a:lnTo>
                  <a:lnTo>
                    <a:pt x="3216" y="2706"/>
                  </a:lnTo>
                  <a:lnTo>
                    <a:pt x="3221" y="2717"/>
                  </a:lnTo>
                  <a:lnTo>
                    <a:pt x="3225" y="2727"/>
                  </a:lnTo>
                  <a:lnTo>
                    <a:pt x="3229" y="2739"/>
                  </a:lnTo>
                  <a:lnTo>
                    <a:pt x="3231" y="2751"/>
                  </a:lnTo>
                  <a:lnTo>
                    <a:pt x="3232" y="2762"/>
                  </a:lnTo>
                  <a:lnTo>
                    <a:pt x="3233" y="2773"/>
                  </a:lnTo>
                  <a:lnTo>
                    <a:pt x="3232" y="2784"/>
                  </a:lnTo>
                  <a:lnTo>
                    <a:pt x="3230" y="2795"/>
                  </a:lnTo>
                  <a:lnTo>
                    <a:pt x="3227" y="2806"/>
                  </a:lnTo>
                  <a:lnTo>
                    <a:pt x="3223" y="2818"/>
                  </a:lnTo>
                  <a:lnTo>
                    <a:pt x="3218" y="2829"/>
                  </a:lnTo>
                  <a:lnTo>
                    <a:pt x="3212" y="2839"/>
                  </a:lnTo>
                  <a:lnTo>
                    <a:pt x="3204" y="2850"/>
                  </a:lnTo>
                  <a:lnTo>
                    <a:pt x="3194" y="2860"/>
                  </a:lnTo>
                  <a:lnTo>
                    <a:pt x="3184" y="2871"/>
                  </a:lnTo>
                  <a:lnTo>
                    <a:pt x="3173" y="2881"/>
                  </a:lnTo>
                  <a:lnTo>
                    <a:pt x="2643" y="3304"/>
                  </a:lnTo>
                  <a:lnTo>
                    <a:pt x="2638" y="3307"/>
                  </a:lnTo>
                  <a:lnTo>
                    <a:pt x="2633" y="3310"/>
                  </a:lnTo>
                  <a:lnTo>
                    <a:pt x="2629" y="3312"/>
                  </a:lnTo>
                  <a:lnTo>
                    <a:pt x="2624" y="3314"/>
                  </a:lnTo>
                  <a:lnTo>
                    <a:pt x="2619" y="3315"/>
                  </a:lnTo>
                  <a:lnTo>
                    <a:pt x="2613" y="3316"/>
                  </a:lnTo>
                  <a:lnTo>
                    <a:pt x="2608" y="3316"/>
                  </a:lnTo>
                  <a:lnTo>
                    <a:pt x="2603" y="3315"/>
                  </a:lnTo>
                  <a:lnTo>
                    <a:pt x="2598" y="3314"/>
                  </a:lnTo>
                  <a:lnTo>
                    <a:pt x="2593" y="3313"/>
                  </a:lnTo>
                  <a:lnTo>
                    <a:pt x="2588" y="3311"/>
                  </a:lnTo>
                  <a:lnTo>
                    <a:pt x="2584" y="3308"/>
                  </a:lnTo>
                  <a:lnTo>
                    <a:pt x="2580" y="3305"/>
                  </a:lnTo>
                  <a:lnTo>
                    <a:pt x="2576" y="3302"/>
                  </a:lnTo>
                  <a:lnTo>
                    <a:pt x="2573" y="3297"/>
                  </a:lnTo>
                  <a:lnTo>
                    <a:pt x="2570" y="3292"/>
                  </a:lnTo>
                  <a:close/>
                  <a:moveTo>
                    <a:pt x="3494" y="1498"/>
                  </a:moveTo>
                  <a:lnTo>
                    <a:pt x="2227" y="1688"/>
                  </a:lnTo>
                  <a:lnTo>
                    <a:pt x="2222" y="1688"/>
                  </a:lnTo>
                  <a:lnTo>
                    <a:pt x="2216" y="1688"/>
                  </a:lnTo>
                  <a:lnTo>
                    <a:pt x="2211" y="1687"/>
                  </a:lnTo>
                  <a:lnTo>
                    <a:pt x="2206" y="1686"/>
                  </a:lnTo>
                  <a:lnTo>
                    <a:pt x="2202" y="1684"/>
                  </a:lnTo>
                  <a:lnTo>
                    <a:pt x="2198" y="1681"/>
                  </a:lnTo>
                  <a:lnTo>
                    <a:pt x="2194" y="1678"/>
                  </a:lnTo>
                  <a:lnTo>
                    <a:pt x="2190" y="1675"/>
                  </a:lnTo>
                  <a:lnTo>
                    <a:pt x="2187" y="1671"/>
                  </a:lnTo>
                  <a:lnTo>
                    <a:pt x="2183" y="1667"/>
                  </a:lnTo>
                  <a:lnTo>
                    <a:pt x="2181" y="1661"/>
                  </a:lnTo>
                  <a:lnTo>
                    <a:pt x="2179" y="1657"/>
                  </a:lnTo>
                  <a:lnTo>
                    <a:pt x="2177" y="1652"/>
                  </a:lnTo>
                  <a:lnTo>
                    <a:pt x="2176" y="1646"/>
                  </a:lnTo>
                  <a:lnTo>
                    <a:pt x="2176" y="1641"/>
                  </a:lnTo>
                  <a:lnTo>
                    <a:pt x="2176" y="1635"/>
                  </a:lnTo>
                  <a:lnTo>
                    <a:pt x="2213" y="959"/>
                  </a:lnTo>
                  <a:lnTo>
                    <a:pt x="2214" y="944"/>
                  </a:lnTo>
                  <a:lnTo>
                    <a:pt x="2217" y="929"/>
                  </a:lnTo>
                  <a:lnTo>
                    <a:pt x="2220" y="915"/>
                  </a:lnTo>
                  <a:lnTo>
                    <a:pt x="2224" y="903"/>
                  </a:lnTo>
                  <a:lnTo>
                    <a:pt x="2229" y="892"/>
                  </a:lnTo>
                  <a:lnTo>
                    <a:pt x="2235" y="881"/>
                  </a:lnTo>
                  <a:lnTo>
                    <a:pt x="2241" y="871"/>
                  </a:lnTo>
                  <a:lnTo>
                    <a:pt x="2250" y="862"/>
                  </a:lnTo>
                  <a:lnTo>
                    <a:pt x="2257" y="854"/>
                  </a:lnTo>
                  <a:lnTo>
                    <a:pt x="2266" y="847"/>
                  </a:lnTo>
                  <a:lnTo>
                    <a:pt x="2275" y="841"/>
                  </a:lnTo>
                  <a:lnTo>
                    <a:pt x="2285" y="836"/>
                  </a:lnTo>
                  <a:lnTo>
                    <a:pt x="2296" y="831"/>
                  </a:lnTo>
                  <a:lnTo>
                    <a:pt x="2307" y="827"/>
                  </a:lnTo>
                  <a:lnTo>
                    <a:pt x="2319" y="824"/>
                  </a:lnTo>
                  <a:lnTo>
                    <a:pt x="2331" y="822"/>
                  </a:lnTo>
                  <a:lnTo>
                    <a:pt x="3142" y="700"/>
                  </a:lnTo>
                  <a:lnTo>
                    <a:pt x="3154" y="699"/>
                  </a:lnTo>
                  <a:lnTo>
                    <a:pt x="3166" y="699"/>
                  </a:lnTo>
                  <a:lnTo>
                    <a:pt x="3177" y="699"/>
                  </a:lnTo>
                  <a:lnTo>
                    <a:pt x="3189" y="700"/>
                  </a:lnTo>
                  <a:lnTo>
                    <a:pt x="3200" y="702"/>
                  </a:lnTo>
                  <a:lnTo>
                    <a:pt x="3211" y="706"/>
                  </a:lnTo>
                  <a:lnTo>
                    <a:pt x="3222" y="710"/>
                  </a:lnTo>
                  <a:lnTo>
                    <a:pt x="3232" y="715"/>
                  </a:lnTo>
                  <a:lnTo>
                    <a:pt x="3241" y="721"/>
                  </a:lnTo>
                  <a:lnTo>
                    <a:pt x="3250" y="728"/>
                  </a:lnTo>
                  <a:lnTo>
                    <a:pt x="3259" y="737"/>
                  </a:lnTo>
                  <a:lnTo>
                    <a:pt x="3268" y="746"/>
                  </a:lnTo>
                  <a:lnTo>
                    <a:pt x="3275" y="758"/>
                  </a:lnTo>
                  <a:lnTo>
                    <a:pt x="3282" y="769"/>
                  </a:lnTo>
                  <a:lnTo>
                    <a:pt x="3289" y="782"/>
                  </a:lnTo>
                  <a:lnTo>
                    <a:pt x="3294" y="796"/>
                  </a:lnTo>
                  <a:lnTo>
                    <a:pt x="3529" y="1433"/>
                  </a:lnTo>
                  <a:lnTo>
                    <a:pt x="3530" y="1438"/>
                  </a:lnTo>
                  <a:lnTo>
                    <a:pt x="3531" y="1443"/>
                  </a:lnTo>
                  <a:lnTo>
                    <a:pt x="3532" y="1449"/>
                  </a:lnTo>
                  <a:lnTo>
                    <a:pt x="3532" y="1454"/>
                  </a:lnTo>
                  <a:lnTo>
                    <a:pt x="3531" y="1459"/>
                  </a:lnTo>
                  <a:lnTo>
                    <a:pt x="3530" y="1464"/>
                  </a:lnTo>
                  <a:lnTo>
                    <a:pt x="3529" y="1469"/>
                  </a:lnTo>
                  <a:lnTo>
                    <a:pt x="3527" y="1474"/>
                  </a:lnTo>
                  <a:lnTo>
                    <a:pt x="3525" y="1478"/>
                  </a:lnTo>
                  <a:lnTo>
                    <a:pt x="3522" y="1483"/>
                  </a:lnTo>
                  <a:lnTo>
                    <a:pt x="3518" y="1487"/>
                  </a:lnTo>
                  <a:lnTo>
                    <a:pt x="3515" y="1490"/>
                  </a:lnTo>
                  <a:lnTo>
                    <a:pt x="3510" y="1493"/>
                  </a:lnTo>
                  <a:lnTo>
                    <a:pt x="3506" y="1495"/>
                  </a:lnTo>
                  <a:lnTo>
                    <a:pt x="3501" y="1497"/>
                  </a:lnTo>
                  <a:lnTo>
                    <a:pt x="3494" y="1498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122545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Вертикальный заголовок и текст"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4715" y="2028092"/>
            <a:ext cx="7401315" cy="4829908"/>
          </a:xfrm>
          <a:prstGeom prst="rect">
            <a:avLst/>
          </a:prstGeom>
        </p:spPr>
      </p:pic>
      <p:grpSp>
        <p:nvGrpSpPr>
          <p:cNvPr id="7" name="Группа 6"/>
          <p:cNvGrpSpPr/>
          <p:nvPr userDrawn="1"/>
        </p:nvGrpSpPr>
        <p:grpSpPr>
          <a:xfrm>
            <a:off x="531416" y="487363"/>
            <a:ext cx="2332038" cy="455612"/>
            <a:chOff x="490538" y="487363"/>
            <a:chExt cx="2152650" cy="455612"/>
          </a:xfrm>
        </p:grpSpPr>
        <p:sp>
          <p:nvSpPr>
            <p:cNvPr id="8" name="Freeform 5"/>
            <p:cNvSpPr>
              <a:spLocks noEditPoints="1"/>
            </p:cNvSpPr>
            <p:nvPr userDrawn="1"/>
          </p:nvSpPr>
          <p:spPr bwMode="auto">
            <a:xfrm>
              <a:off x="1144588" y="590550"/>
              <a:ext cx="1498600" cy="247650"/>
            </a:xfrm>
            <a:custGeom>
              <a:avLst/>
              <a:gdLst>
                <a:gd name="T0" fmla="*/ 2465 w 11327"/>
                <a:gd name="T1" fmla="*/ 803 h 1868"/>
                <a:gd name="T2" fmla="*/ 2667 w 11327"/>
                <a:gd name="T3" fmla="*/ 466 h 1868"/>
                <a:gd name="T4" fmla="*/ 3049 w 11327"/>
                <a:gd name="T5" fmla="*/ 345 h 1868"/>
                <a:gd name="T6" fmla="*/ 3430 w 11327"/>
                <a:gd name="T7" fmla="*/ 466 h 1868"/>
                <a:gd name="T8" fmla="*/ 3632 w 11327"/>
                <a:gd name="T9" fmla="*/ 803 h 1868"/>
                <a:gd name="T10" fmla="*/ 3574 w 11327"/>
                <a:gd name="T11" fmla="*/ 1233 h 1868"/>
                <a:gd name="T12" fmla="*/ 3284 w 11327"/>
                <a:gd name="T13" fmla="*/ 1483 h 1868"/>
                <a:gd name="T14" fmla="*/ 2870 w 11327"/>
                <a:gd name="T15" fmla="*/ 1500 h 1868"/>
                <a:gd name="T16" fmla="*/ 2553 w 11327"/>
                <a:gd name="T17" fmla="*/ 1281 h 1868"/>
                <a:gd name="T18" fmla="*/ 4046 w 11327"/>
                <a:gd name="T19" fmla="*/ 882 h 1868"/>
                <a:gd name="T20" fmla="*/ 3784 w 11327"/>
                <a:gd name="T21" fmla="*/ 289 h 1868"/>
                <a:gd name="T22" fmla="*/ 3199 w 11327"/>
                <a:gd name="T23" fmla="*/ 10 h 1868"/>
                <a:gd name="T24" fmla="*/ 2536 w 11327"/>
                <a:gd name="T25" fmla="*/ 125 h 1868"/>
                <a:gd name="T26" fmla="*/ 2113 w 11327"/>
                <a:gd name="T27" fmla="*/ 595 h 1868"/>
                <a:gd name="T28" fmla="*/ 2113 w 11327"/>
                <a:gd name="T29" fmla="*/ 1273 h 1868"/>
                <a:gd name="T30" fmla="*/ 2536 w 11327"/>
                <a:gd name="T31" fmla="*/ 1743 h 1868"/>
                <a:gd name="T32" fmla="*/ 3199 w 11327"/>
                <a:gd name="T33" fmla="*/ 1858 h 1868"/>
                <a:gd name="T34" fmla="*/ 3784 w 11327"/>
                <a:gd name="T35" fmla="*/ 1579 h 1868"/>
                <a:gd name="T36" fmla="*/ 4046 w 11327"/>
                <a:gd name="T37" fmla="*/ 985 h 1868"/>
                <a:gd name="T38" fmla="*/ 4444 w 11327"/>
                <a:gd name="T39" fmla="*/ 1443 h 1868"/>
                <a:gd name="T40" fmla="*/ 4540 w 11327"/>
                <a:gd name="T41" fmla="*/ 1808 h 1868"/>
                <a:gd name="T42" fmla="*/ 4811 w 11327"/>
                <a:gd name="T43" fmla="*/ 1650 h 1868"/>
                <a:gd name="T44" fmla="*/ 5796 w 11327"/>
                <a:gd name="T45" fmla="*/ 403 h 1868"/>
                <a:gd name="T46" fmla="*/ 7304 w 11327"/>
                <a:gd name="T47" fmla="*/ 1292 h 1868"/>
                <a:gd name="T48" fmla="*/ 7673 w 11327"/>
                <a:gd name="T49" fmla="*/ 1730 h 1868"/>
                <a:gd name="T50" fmla="*/ 8267 w 11327"/>
                <a:gd name="T51" fmla="*/ 1867 h 1868"/>
                <a:gd name="T52" fmla="*/ 8871 w 11327"/>
                <a:gd name="T53" fmla="*/ 1653 h 1868"/>
                <a:gd name="T54" fmla="*/ 9178 w 11327"/>
                <a:gd name="T55" fmla="*/ 1094 h 1868"/>
                <a:gd name="T56" fmla="*/ 9049 w 11327"/>
                <a:gd name="T57" fmla="*/ 414 h 1868"/>
                <a:gd name="T58" fmla="*/ 8552 w 11327"/>
                <a:gd name="T59" fmla="*/ 48 h 1868"/>
                <a:gd name="T60" fmla="*/ 7924 w 11327"/>
                <a:gd name="T61" fmla="*/ 36 h 1868"/>
                <a:gd name="T62" fmla="*/ 7459 w 11327"/>
                <a:gd name="T63" fmla="*/ 313 h 1868"/>
                <a:gd name="T64" fmla="*/ 6585 w 11327"/>
                <a:gd name="T65" fmla="*/ 42 h 1868"/>
                <a:gd name="T66" fmla="*/ 7740 w 11327"/>
                <a:gd name="T67" fmla="*/ 563 h 1868"/>
                <a:gd name="T68" fmla="*/ 8053 w 11327"/>
                <a:gd name="T69" fmla="*/ 361 h 1868"/>
                <a:gd name="T70" fmla="*/ 8492 w 11327"/>
                <a:gd name="T71" fmla="*/ 396 h 1868"/>
                <a:gd name="T72" fmla="*/ 8744 w 11327"/>
                <a:gd name="T73" fmla="*/ 660 h 1868"/>
                <a:gd name="T74" fmla="*/ 8775 w 11327"/>
                <a:gd name="T75" fmla="*/ 1095 h 1868"/>
                <a:gd name="T76" fmla="*/ 8585 w 11327"/>
                <a:gd name="T77" fmla="*/ 1418 h 1868"/>
                <a:gd name="T78" fmla="*/ 8182 w 11327"/>
                <a:gd name="T79" fmla="*/ 1522 h 1868"/>
                <a:gd name="T80" fmla="*/ 7807 w 11327"/>
                <a:gd name="T81" fmla="*/ 1385 h 1868"/>
                <a:gd name="T82" fmla="*/ 7649 w 11327"/>
                <a:gd name="T83" fmla="*/ 1033 h 1868"/>
                <a:gd name="T84" fmla="*/ 11121 w 11327"/>
                <a:gd name="T85" fmla="*/ 228 h 1868"/>
                <a:gd name="T86" fmla="*/ 10716 w 11327"/>
                <a:gd name="T87" fmla="*/ 30 h 1868"/>
                <a:gd name="T88" fmla="*/ 10126 w 11327"/>
                <a:gd name="T89" fmla="*/ 37 h 1868"/>
                <a:gd name="T90" fmla="*/ 9598 w 11327"/>
                <a:gd name="T91" fmla="*/ 385 h 1868"/>
                <a:gd name="T92" fmla="*/ 9435 w 11327"/>
                <a:gd name="T93" fmla="*/ 1039 h 1868"/>
                <a:gd name="T94" fmla="*/ 9714 w 11327"/>
                <a:gd name="T95" fmla="*/ 1617 h 1868"/>
                <a:gd name="T96" fmla="*/ 10320 w 11327"/>
                <a:gd name="T97" fmla="*/ 1863 h 1868"/>
                <a:gd name="T98" fmla="*/ 10845 w 11327"/>
                <a:gd name="T99" fmla="*/ 1799 h 1868"/>
                <a:gd name="T100" fmla="*/ 11211 w 11327"/>
                <a:gd name="T101" fmla="*/ 1551 h 1868"/>
                <a:gd name="T102" fmla="*/ 10919 w 11327"/>
                <a:gd name="T103" fmla="*/ 1325 h 1868"/>
                <a:gd name="T104" fmla="*/ 10676 w 11327"/>
                <a:gd name="T105" fmla="*/ 1473 h 1868"/>
                <a:gd name="T106" fmla="*/ 10324 w 11327"/>
                <a:gd name="T107" fmla="*/ 1504 h 1868"/>
                <a:gd name="T108" fmla="*/ 9975 w 11327"/>
                <a:gd name="T109" fmla="*/ 1332 h 1868"/>
                <a:gd name="T110" fmla="*/ 9831 w 11327"/>
                <a:gd name="T111" fmla="*/ 966 h 1868"/>
                <a:gd name="T112" fmla="*/ 9938 w 11327"/>
                <a:gd name="T113" fmla="*/ 575 h 1868"/>
                <a:gd name="T114" fmla="*/ 10261 w 11327"/>
                <a:gd name="T115" fmla="*/ 373 h 1868"/>
                <a:gd name="T116" fmla="*/ 10634 w 11327"/>
                <a:gd name="T117" fmla="*/ 382 h 1868"/>
                <a:gd name="T118" fmla="*/ 10890 w 11327"/>
                <a:gd name="T119" fmla="*/ 515 h 1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27" h="1868">
                  <a:moveTo>
                    <a:pt x="0" y="42"/>
                  </a:moveTo>
                  <a:lnTo>
                    <a:pt x="0" y="1822"/>
                  </a:lnTo>
                  <a:lnTo>
                    <a:pt x="399" y="1822"/>
                  </a:lnTo>
                  <a:lnTo>
                    <a:pt x="399" y="400"/>
                  </a:lnTo>
                  <a:lnTo>
                    <a:pt x="1352" y="400"/>
                  </a:lnTo>
                  <a:lnTo>
                    <a:pt x="1352" y="1822"/>
                  </a:lnTo>
                  <a:lnTo>
                    <a:pt x="1755" y="1822"/>
                  </a:lnTo>
                  <a:lnTo>
                    <a:pt x="1755" y="42"/>
                  </a:lnTo>
                  <a:lnTo>
                    <a:pt x="0" y="42"/>
                  </a:lnTo>
                  <a:close/>
                  <a:moveTo>
                    <a:pt x="2454" y="933"/>
                  </a:moveTo>
                  <a:lnTo>
                    <a:pt x="2454" y="900"/>
                  </a:lnTo>
                  <a:lnTo>
                    <a:pt x="2457" y="866"/>
                  </a:lnTo>
                  <a:lnTo>
                    <a:pt x="2460" y="835"/>
                  </a:lnTo>
                  <a:lnTo>
                    <a:pt x="2465" y="803"/>
                  </a:lnTo>
                  <a:lnTo>
                    <a:pt x="2472" y="773"/>
                  </a:lnTo>
                  <a:lnTo>
                    <a:pt x="2480" y="743"/>
                  </a:lnTo>
                  <a:lnTo>
                    <a:pt x="2489" y="715"/>
                  </a:lnTo>
                  <a:lnTo>
                    <a:pt x="2499" y="686"/>
                  </a:lnTo>
                  <a:lnTo>
                    <a:pt x="2511" y="660"/>
                  </a:lnTo>
                  <a:lnTo>
                    <a:pt x="2524" y="634"/>
                  </a:lnTo>
                  <a:lnTo>
                    <a:pt x="2538" y="610"/>
                  </a:lnTo>
                  <a:lnTo>
                    <a:pt x="2553" y="586"/>
                  </a:lnTo>
                  <a:lnTo>
                    <a:pt x="2570" y="563"/>
                  </a:lnTo>
                  <a:lnTo>
                    <a:pt x="2588" y="542"/>
                  </a:lnTo>
                  <a:lnTo>
                    <a:pt x="2606" y="521"/>
                  </a:lnTo>
                  <a:lnTo>
                    <a:pt x="2626" y="501"/>
                  </a:lnTo>
                  <a:lnTo>
                    <a:pt x="2646" y="483"/>
                  </a:lnTo>
                  <a:lnTo>
                    <a:pt x="2667" y="466"/>
                  </a:lnTo>
                  <a:lnTo>
                    <a:pt x="2691" y="449"/>
                  </a:lnTo>
                  <a:lnTo>
                    <a:pt x="2713" y="434"/>
                  </a:lnTo>
                  <a:lnTo>
                    <a:pt x="2737" y="420"/>
                  </a:lnTo>
                  <a:lnTo>
                    <a:pt x="2763" y="408"/>
                  </a:lnTo>
                  <a:lnTo>
                    <a:pt x="2788" y="396"/>
                  </a:lnTo>
                  <a:lnTo>
                    <a:pt x="2815" y="385"/>
                  </a:lnTo>
                  <a:lnTo>
                    <a:pt x="2842" y="375"/>
                  </a:lnTo>
                  <a:lnTo>
                    <a:pt x="2870" y="367"/>
                  </a:lnTo>
                  <a:lnTo>
                    <a:pt x="2898" y="361"/>
                  </a:lnTo>
                  <a:lnTo>
                    <a:pt x="2928" y="355"/>
                  </a:lnTo>
                  <a:lnTo>
                    <a:pt x="2957" y="351"/>
                  </a:lnTo>
                  <a:lnTo>
                    <a:pt x="2988" y="347"/>
                  </a:lnTo>
                  <a:lnTo>
                    <a:pt x="3018" y="345"/>
                  </a:lnTo>
                  <a:lnTo>
                    <a:pt x="3049" y="345"/>
                  </a:lnTo>
                  <a:lnTo>
                    <a:pt x="3080" y="345"/>
                  </a:lnTo>
                  <a:lnTo>
                    <a:pt x="3111" y="347"/>
                  </a:lnTo>
                  <a:lnTo>
                    <a:pt x="3141" y="351"/>
                  </a:lnTo>
                  <a:lnTo>
                    <a:pt x="3171" y="355"/>
                  </a:lnTo>
                  <a:lnTo>
                    <a:pt x="3200" y="361"/>
                  </a:lnTo>
                  <a:lnTo>
                    <a:pt x="3229" y="367"/>
                  </a:lnTo>
                  <a:lnTo>
                    <a:pt x="3256" y="375"/>
                  </a:lnTo>
                  <a:lnTo>
                    <a:pt x="3284" y="385"/>
                  </a:lnTo>
                  <a:lnTo>
                    <a:pt x="3310" y="396"/>
                  </a:lnTo>
                  <a:lnTo>
                    <a:pt x="3335" y="408"/>
                  </a:lnTo>
                  <a:lnTo>
                    <a:pt x="3361" y="420"/>
                  </a:lnTo>
                  <a:lnTo>
                    <a:pt x="3384" y="434"/>
                  </a:lnTo>
                  <a:lnTo>
                    <a:pt x="3408" y="449"/>
                  </a:lnTo>
                  <a:lnTo>
                    <a:pt x="3430" y="466"/>
                  </a:lnTo>
                  <a:lnTo>
                    <a:pt x="3452" y="483"/>
                  </a:lnTo>
                  <a:lnTo>
                    <a:pt x="3473" y="501"/>
                  </a:lnTo>
                  <a:lnTo>
                    <a:pt x="3492" y="521"/>
                  </a:lnTo>
                  <a:lnTo>
                    <a:pt x="3510" y="542"/>
                  </a:lnTo>
                  <a:lnTo>
                    <a:pt x="3528" y="563"/>
                  </a:lnTo>
                  <a:lnTo>
                    <a:pt x="3545" y="586"/>
                  </a:lnTo>
                  <a:lnTo>
                    <a:pt x="3560" y="610"/>
                  </a:lnTo>
                  <a:lnTo>
                    <a:pt x="3574" y="634"/>
                  </a:lnTo>
                  <a:lnTo>
                    <a:pt x="3587" y="660"/>
                  </a:lnTo>
                  <a:lnTo>
                    <a:pt x="3599" y="686"/>
                  </a:lnTo>
                  <a:lnTo>
                    <a:pt x="3609" y="715"/>
                  </a:lnTo>
                  <a:lnTo>
                    <a:pt x="3618" y="743"/>
                  </a:lnTo>
                  <a:lnTo>
                    <a:pt x="3626" y="773"/>
                  </a:lnTo>
                  <a:lnTo>
                    <a:pt x="3632" y="803"/>
                  </a:lnTo>
                  <a:lnTo>
                    <a:pt x="3637" y="835"/>
                  </a:lnTo>
                  <a:lnTo>
                    <a:pt x="3642" y="866"/>
                  </a:lnTo>
                  <a:lnTo>
                    <a:pt x="3644" y="900"/>
                  </a:lnTo>
                  <a:lnTo>
                    <a:pt x="3645" y="933"/>
                  </a:lnTo>
                  <a:lnTo>
                    <a:pt x="3644" y="968"/>
                  </a:lnTo>
                  <a:lnTo>
                    <a:pt x="3642" y="1001"/>
                  </a:lnTo>
                  <a:lnTo>
                    <a:pt x="3637" y="1033"/>
                  </a:lnTo>
                  <a:lnTo>
                    <a:pt x="3632" y="1065"/>
                  </a:lnTo>
                  <a:lnTo>
                    <a:pt x="3626" y="1095"/>
                  </a:lnTo>
                  <a:lnTo>
                    <a:pt x="3618" y="1125"/>
                  </a:lnTo>
                  <a:lnTo>
                    <a:pt x="3609" y="1153"/>
                  </a:lnTo>
                  <a:lnTo>
                    <a:pt x="3599" y="1181"/>
                  </a:lnTo>
                  <a:lnTo>
                    <a:pt x="3587" y="1207"/>
                  </a:lnTo>
                  <a:lnTo>
                    <a:pt x="3574" y="1233"/>
                  </a:lnTo>
                  <a:lnTo>
                    <a:pt x="3560" y="1258"/>
                  </a:lnTo>
                  <a:lnTo>
                    <a:pt x="3545" y="1281"/>
                  </a:lnTo>
                  <a:lnTo>
                    <a:pt x="3528" y="1305"/>
                  </a:lnTo>
                  <a:lnTo>
                    <a:pt x="3510" y="1326"/>
                  </a:lnTo>
                  <a:lnTo>
                    <a:pt x="3492" y="1346"/>
                  </a:lnTo>
                  <a:lnTo>
                    <a:pt x="3473" y="1366"/>
                  </a:lnTo>
                  <a:lnTo>
                    <a:pt x="3452" y="1385"/>
                  </a:lnTo>
                  <a:lnTo>
                    <a:pt x="3430" y="1402"/>
                  </a:lnTo>
                  <a:lnTo>
                    <a:pt x="3408" y="1418"/>
                  </a:lnTo>
                  <a:lnTo>
                    <a:pt x="3384" y="1434"/>
                  </a:lnTo>
                  <a:lnTo>
                    <a:pt x="3361" y="1447"/>
                  </a:lnTo>
                  <a:lnTo>
                    <a:pt x="3335" y="1460"/>
                  </a:lnTo>
                  <a:lnTo>
                    <a:pt x="3310" y="1472"/>
                  </a:lnTo>
                  <a:lnTo>
                    <a:pt x="3284" y="1483"/>
                  </a:lnTo>
                  <a:lnTo>
                    <a:pt x="3256" y="1492"/>
                  </a:lnTo>
                  <a:lnTo>
                    <a:pt x="3229" y="1500"/>
                  </a:lnTo>
                  <a:lnTo>
                    <a:pt x="3200" y="1507"/>
                  </a:lnTo>
                  <a:lnTo>
                    <a:pt x="3171" y="1513"/>
                  </a:lnTo>
                  <a:lnTo>
                    <a:pt x="3141" y="1517"/>
                  </a:lnTo>
                  <a:lnTo>
                    <a:pt x="3111" y="1520"/>
                  </a:lnTo>
                  <a:lnTo>
                    <a:pt x="3080" y="1522"/>
                  </a:lnTo>
                  <a:lnTo>
                    <a:pt x="3049" y="1523"/>
                  </a:lnTo>
                  <a:lnTo>
                    <a:pt x="3018" y="1522"/>
                  </a:lnTo>
                  <a:lnTo>
                    <a:pt x="2988" y="1520"/>
                  </a:lnTo>
                  <a:lnTo>
                    <a:pt x="2957" y="1517"/>
                  </a:lnTo>
                  <a:lnTo>
                    <a:pt x="2928" y="1513"/>
                  </a:lnTo>
                  <a:lnTo>
                    <a:pt x="2898" y="1507"/>
                  </a:lnTo>
                  <a:lnTo>
                    <a:pt x="2870" y="1500"/>
                  </a:lnTo>
                  <a:lnTo>
                    <a:pt x="2842" y="1492"/>
                  </a:lnTo>
                  <a:lnTo>
                    <a:pt x="2815" y="1483"/>
                  </a:lnTo>
                  <a:lnTo>
                    <a:pt x="2788" y="1472"/>
                  </a:lnTo>
                  <a:lnTo>
                    <a:pt x="2763" y="1460"/>
                  </a:lnTo>
                  <a:lnTo>
                    <a:pt x="2737" y="1447"/>
                  </a:lnTo>
                  <a:lnTo>
                    <a:pt x="2713" y="1434"/>
                  </a:lnTo>
                  <a:lnTo>
                    <a:pt x="2691" y="1418"/>
                  </a:lnTo>
                  <a:lnTo>
                    <a:pt x="2667" y="1402"/>
                  </a:lnTo>
                  <a:lnTo>
                    <a:pt x="2646" y="1385"/>
                  </a:lnTo>
                  <a:lnTo>
                    <a:pt x="2626" y="1366"/>
                  </a:lnTo>
                  <a:lnTo>
                    <a:pt x="2606" y="1346"/>
                  </a:lnTo>
                  <a:lnTo>
                    <a:pt x="2588" y="1326"/>
                  </a:lnTo>
                  <a:lnTo>
                    <a:pt x="2570" y="1305"/>
                  </a:lnTo>
                  <a:lnTo>
                    <a:pt x="2553" y="1281"/>
                  </a:lnTo>
                  <a:lnTo>
                    <a:pt x="2538" y="1258"/>
                  </a:lnTo>
                  <a:lnTo>
                    <a:pt x="2524" y="1233"/>
                  </a:lnTo>
                  <a:lnTo>
                    <a:pt x="2511" y="1207"/>
                  </a:lnTo>
                  <a:lnTo>
                    <a:pt x="2499" y="1181"/>
                  </a:lnTo>
                  <a:lnTo>
                    <a:pt x="2489" y="1153"/>
                  </a:lnTo>
                  <a:lnTo>
                    <a:pt x="2480" y="1125"/>
                  </a:lnTo>
                  <a:lnTo>
                    <a:pt x="2472" y="1095"/>
                  </a:lnTo>
                  <a:lnTo>
                    <a:pt x="2465" y="1065"/>
                  </a:lnTo>
                  <a:lnTo>
                    <a:pt x="2460" y="1033"/>
                  </a:lnTo>
                  <a:lnTo>
                    <a:pt x="2457" y="1001"/>
                  </a:lnTo>
                  <a:lnTo>
                    <a:pt x="2454" y="968"/>
                  </a:lnTo>
                  <a:lnTo>
                    <a:pt x="2454" y="933"/>
                  </a:lnTo>
                  <a:close/>
                  <a:moveTo>
                    <a:pt x="4047" y="933"/>
                  </a:moveTo>
                  <a:lnTo>
                    <a:pt x="4046" y="882"/>
                  </a:lnTo>
                  <a:lnTo>
                    <a:pt x="4042" y="831"/>
                  </a:lnTo>
                  <a:lnTo>
                    <a:pt x="4035" y="781"/>
                  </a:lnTo>
                  <a:lnTo>
                    <a:pt x="4026" y="733"/>
                  </a:lnTo>
                  <a:lnTo>
                    <a:pt x="4015" y="685"/>
                  </a:lnTo>
                  <a:lnTo>
                    <a:pt x="4002" y="640"/>
                  </a:lnTo>
                  <a:lnTo>
                    <a:pt x="3985" y="595"/>
                  </a:lnTo>
                  <a:lnTo>
                    <a:pt x="3967" y="551"/>
                  </a:lnTo>
                  <a:lnTo>
                    <a:pt x="3947" y="509"/>
                  </a:lnTo>
                  <a:lnTo>
                    <a:pt x="3924" y="469"/>
                  </a:lnTo>
                  <a:lnTo>
                    <a:pt x="3900" y="430"/>
                  </a:lnTo>
                  <a:lnTo>
                    <a:pt x="3874" y="392"/>
                  </a:lnTo>
                  <a:lnTo>
                    <a:pt x="3846" y="356"/>
                  </a:lnTo>
                  <a:lnTo>
                    <a:pt x="3815" y="321"/>
                  </a:lnTo>
                  <a:lnTo>
                    <a:pt x="3784" y="289"/>
                  </a:lnTo>
                  <a:lnTo>
                    <a:pt x="3751" y="257"/>
                  </a:lnTo>
                  <a:lnTo>
                    <a:pt x="3716" y="227"/>
                  </a:lnTo>
                  <a:lnTo>
                    <a:pt x="3679" y="199"/>
                  </a:lnTo>
                  <a:lnTo>
                    <a:pt x="3642" y="173"/>
                  </a:lnTo>
                  <a:lnTo>
                    <a:pt x="3603" y="147"/>
                  </a:lnTo>
                  <a:lnTo>
                    <a:pt x="3562" y="125"/>
                  </a:lnTo>
                  <a:lnTo>
                    <a:pt x="3521" y="104"/>
                  </a:lnTo>
                  <a:lnTo>
                    <a:pt x="3477" y="84"/>
                  </a:lnTo>
                  <a:lnTo>
                    <a:pt x="3433" y="67"/>
                  </a:lnTo>
                  <a:lnTo>
                    <a:pt x="3388" y="52"/>
                  </a:lnTo>
                  <a:lnTo>
                    <a:pt x="3342" y="39"/>
                  </a:lnTo>
                  <a:lnTo>
                    <a:pt x="3295" y="26"/>
                  </a:lnTo>
                  <a:lnTo>
                    <a:pt x="3247" y="17"/>
                  </a:lnTo>
                  <a:lnTo>
                    <a:pt x="3199" y="10"/>
                  </a:lnTo>
                  <a:lnTo>
                    <a:pt x="3149" y="4"/>
                  </a:lnTo>
                  <a:lnTo>
                    <a:pt x="3099" y="1"/>
                  </a:lnTo>
                  <a:lnTo>
                    <a:pt x="3049" y="0"/>
                  </a:lnTo>
                  <a:lnTo>
                    <a:pt x="2999" y="1"/>
                  </a:lnTo>
                  <a:lnTo>
                    <a:pt x="2949" y="4"/>
                  </a:lnTo>
                  <a:lnTo>
                    <a:pt x="2899" y="10"/>
                  </a:lnTo>
                  <a:lnTo>
                    <a:pt x="2851" y="17"/>
                  </a:lnTo>
                  <a:lnTo>
                    <a:pt x="2804" y="26"/>
                  </a:lnTo>
                  <a:lnTo>
                    <a:pt x="2756" y="39"/>
                  </a:lnTo>
                  <a:lnTo>
                    <a:pt x="2710" y="52"/>
                  </a:lnTo>
                  <a:lnTo>
                    <a:pt x="2665" y="67"/>
                  </a:lnTo>
                  <a:lnTo>
                    <a:pt x="2620" y="84"/>
                  </a:lnTo>
                  <a:lnTo>
                    <a:pt x="2578" y="104"/>
                  </a:lnTo>
                  <a:lnTo>
                    <a:pt x="2536" y="125"/>
                  </a:lnTo>
                  <a:lnTo>
                    <a:pt x="2495" y="147"/>
                  </a:lnTo>
                  <a:lnTo>
                    <a:pt x="2457" y="173"/>
                  </a:lnTo>
                  <a:lnTo>
                    <a:pt x="2418" y="199"/>
                  </a:lnTo>
                  <a:lnTo>
                    <a:pt x="2382" y="227"/>
                  </a:lnTo>
                  <a:lnTo>
                    <a:pt x="2347" y="257"/>
                  </a:lnTo>
                  <a:lnTo>
                    <a:pt x="2313" y="289"/>
                  </a:lnTo>
                  <a:lnTo>
                    <a:pt x="2282" y="321"/>
                  </a:lnTo>
                  <a:lnTo>
                    <a:pt x="2252" y="356"/>
                  </a:lnTo>
                  <a:lnTo>
                    <a:pt x="2224" y="392"/>
                  </a:lnTo>
                  <a:lnTo>
                    <a:pt x="2197" y="430"/>
                  </a:lnTo>
                  <a:lnTo>
                    <a:pt x="2173" y="469"/>
                  </a:lnTo>
                  <a:lnTo>
                    <a:pt x="2152" y="509"/>
                  </a:lnTo>
                  <a:lnTo>
                    <a:pt x="2131" y="551"/>
                  </a:lnTo>
                  <a:lnTo>
                    <a:pt x="2113" y="595"/>
                  </a:lnTo>
                  <a:lnTo>
                    <a:pt x="2097" y="640"/>
                  </a:lnTo>
                  <a:lnTo>
                    <a:pt x="2083" y="685"/>
                  </a:lnTo>
                  <a:lnTo>
                    <a:pt x="2071" y="733"/>
                  </a:lnTo>
                  <a:lnTo>
                    <a:pt x="2063" y="781"/>
                  </a:lnTo>
                  <a:lnTo>
                    <a:pt x="2056" y="831"/>
                  </a:lnTo>
                  <a:lnTo>
                    <a:pt x="2052" y="882"/>
                  </a:lnTo>
                  <a:lnTo>
                    <a:pt x="2051" y="933"/>
                  </a:lnTo>
                  <a:lnTo>
                    <a:pt x="2052" y="985"/>
                  </a:lnTo>
                  <a:lnTo>
                    <a:pt x="2056" y="1036"/>
                  </a:lnTo>
                  <a:lnTo>
                    <a:pt x="2063" y="1086"/>
                  </a:lnTo>
                  <a:lnTo>
                    <a:pt x="2071" y="1135"/>
                  </a:lnTo>
                  <a:lnTo>
                    <a:pt x="2083" y="1182"/>
                  </a:lnTo>
                  <a:lnTo>
                    <a:pt x="2097" y="1228"/>
                  </a:lnTo>
                  <a:lnTo>
                    <a:pt x="2113" y="1273"/>
                  </a:lnTo>
                  <a:lnTo>
                    <a:pt x="2131" y="1316"/>
                  </a:lnTo>
                  <a:lnTo>
                    <a:pt x="2152" y="1357"/>
                  </a:lnTo>
                  <a:lnTo>
                    <a:pt x="2173" y="1398"/>
                  </a:lnTo>
                  <a:lnTo>
                    <a:pt x="2197" y="1438"/>
                  </a:lnTo>
                  <a:lnTo>
                    <a:pt x="2224" y="1475"/>
                  </a:lnTo>
                  <a:lnTo>
                    <a:pt x="2252" y="1512"/>
                  </a:lnTo>
                  <a:lnTo>
                    <a:pt x="2282" y="1547"/>
                  </a:lnTo>
                  <a:lnTo>
                    <a:pt x="2313" y="1579"/>
                  </a:lnTo>
                  <a:lnTo>
                    <a:pt x="2347" y="1611"/>
                  </a:lnTo>
                  <a:lnTo>
                    <a:pt x="2382" y="1640"/>
                  </a:lnTo>
                  <a:lnTo>
                    <a:pt x="2418" y="1669"/>
                  </a:lnTo>
                  <a:lnTo>
                    <a:pt x="2457" y="1695"/>
                  </a:lnTo>
                  <a:lnTo>
                    <a:pt x="2495" y="1719"/>
                  </a:lnTo>
                  <a:lnTo>
                    <a:pt x="2536" y="1743"/>
                  </a:lnTo>
                  <a:lnTo>
                    <a:pt x="2578" y="1764"/>
                  </a:lnTo>
                  <a:lnTo>
                    <a:pt x="2620" y="1782"/>
                  </a:lnTo>
                  <a:lnTo>
                    <a:pt x="2665" y="1801"/>
                  </a:lnTo>
                  <a:lnTo>
                    <a:pt x="2710" y="1816"/>
                  </a:lnTo>
                  <a:lnTo>
                    <a:pt x="2756" y="1829"/>
                  </a:lnTo>
                  <a:lnTo>
                    <a:pt x="2804" y="1840"/>
                  </a:lnTo>
                  <a:lnTo>
                    <a:pt x="2851" y="1851"/>
                  </a:lnTo>
                  <a:lnTo>
                    <a:pt x="2899" y="1858"/>
                  </a:lnTo>
                  <a:lnTo>
                    <a:pt x="2949" y="1863"/>
                  </a:lnTo>
                  <a:lnTo>
                    <a:pt x="2999" y="1866"/>
                  </a:lnTo>
                  <a:lnTo>
                    <a:pt x="3049" y="1868"/>
                  </a:lnTo>
                  <a:lnTo>
                    <a:pt x="3099" y="1866"/>
                  </a:lnTo>
                  <a:lnTo>
                    <a:pt x="3149" y="1863"/>
                  </a:lnTo>
                  <a:lnTo>
                    <a:pt x="3199" y="1858"/>
                  </a:lnTo>
                  <a:lnTo>
                    <a:pt x="3247" y="1851"/>
                  </a:lnTo>
                  <a:lnTo>
                    <a:pt x="3295" y="1840"/>
                  </a:lnTo>
                  <a:lnTo>
                    <a:pt x="3342" y="1829"/>
                  </a:lnTo>
                  <a:lnTo>
                    <a:pt x="3388" y="1816"/>
                  </a:lnTo>
                  <a:lnTo>
                    <a:pt x="3433" y="1801"/>
                  </a:lnTo>
                  <a:lnTo>
                    <a:pt x="3477" y="1782"/>
                  </a:lnTo>
                  <a:lnTo>
                    <a:pt x="3521" y="1764"/>
                  </a:lnTo>
                  <a:lnTo>
                    <a:pt x="3562" y="1743"/>
                  </a:lnTo>
                  <a:lnTo>
                    <a:pt x="3603" y="1719"/>
                  </a:lnTo>
                  <a:lnTo>
                    <a:pt x="3642" y="1695"/>
                  </a:lnTo>
                  <a:lnTo>
                    <a:pt x="3679" y="1669"/>
                  </a:lnTo>
                  <a:lnTo>
                    <a:pt x="3716" y="1640"/>
                  </a:lnTo>
                  <a:lnTo>
                    <a:pt x="3751" y="1611"/>
                  </a:lnTo>
                  <a:lnTo>
                    <a:pt x="3784" y="1579"/>
                  </a:lnTo>
                  <a:lnTo>
                    <a:pt x="3815" y="1547"/>
                  </a:lnTo>
                  <a:lnTo>
                    <a:pt x="3846" y="1512"/>
                  </a:lnTo>
                  <a:lnTo>
                    <a:pt x="3874" y="1475"/>
                  </a:lnTo>
                  <a:lnTo>
                    <a:pt x="3900" y="1438"/>
                  </a:lnTo>
                  <a:lnTo>
                    <a:pt x="3924" y="1398"/>
                  </a:lnTo>
                  <a:lnTo>
                    <a:pt x="3947" y="1357"/>
                  </a:lnTo>
                  <a:lnTo>
                    <a:pt x="3967" y="1316"/>
                  </a:lnTo>
                  <a:lnTo>
                    <a:pt x="3985" y="1273"/>
                  </a:lnTo>
                  <a:lnTo>
                    <a:pt x="4002" y="1228"/>
                  </a:lnTo>
                  <a:lnTo>
                    <a:pt x="4015" y="1182"/>
                  </a:lnTo>
                  <a:lnTo>
                    <a:pt x="4026" y="1135"/>
                  </a:lnTo>
                  <a:lnTo>
                    <a:pt x="4035" y="1086"/>
                  </a:lnTo>
                  <a:lnTo>
                    <a:pt x="4042" y="1036"/>
                  </a:lnTo>
                  <a:lnTo>
                    <a:pt x="4046" y="985"/>
                  </a:lnTo>
                  <a:lnTo>
                    <a:pt x="4047" y="933"/>
                  </a:lnTo>
                  <a:close/>
                  <a:moveTo>
                    <a:pt x="4779" y="42"/>
                  </a:moveTo>
                  <a:lnTo>
                    <a:pt x="4540" y="1317"/>
                  </a:lnTo>
                  <a:lnTo>
                    <a:pt x="4535" y="1334"/>
                  </a:lnTo>
                  <a:lnTo>
                    <a:pt x="4530" y="1350"/>
                  </a:lnTo>
                  <a:lnTo>
                    <a:pt x="4524" y="1366"/>
                  </a:lnTo>
                  <a:lnTo>
                    <a:pt x="4517" y="1379"/>
                  </a:lnTo>
                  <a:lnTo>
                    <a:pt x="4510" y="1392"/>
                  </a:lnTo>
                  <a:lnTo>
                    <a:pt x="4501" y="1403"/>
                  </a:lnTo>
                  <a:lnTo>
                    <a:pt x="4491" y="1413"/>
                  </a:lnTo>
                  <a:lnTo>
                    <a:pt x="4481" y="1423"/>
                  </a:lnTo>
                  <a:lnTo>
                    <a:pt x="4469" y="1431"/>
                  </a:lnTo>
                  <a:lnTo>
                    <a:pt x="4457" y="1437"/>
                  </a:lnTo>
                  <a:lnTo>
                    <a:pt x="4444" y="1443"/>
                  </a:lnTo>
                  <a:lnTo>
                    <a:pt x="4430" y="1447"/>
                  </a:lnTo>
                  <a:lnTo>
                    <a:pt x="4415" y="1451"/>
                  </a:lnTo>
                  <a:lnTo>
                    <a:pt x="4399" y="1453"/>
                  </a:lnTo>
                  <a:lnTo>
                    <a:pt x="4383" y="1455"/>
                  </a:lnTo>
                  <a:lnTo>
                    <a:pt x="4366" y="1455"/>
                  </a:lnTo>
                  <a:lnTo>
                    <a:pt x="4172" y="1455"/>
                  </a:lnTo>
                  <a:lnTo>
                    <a:pt x="4172" y="1822"/>
                  </a:lnTo>
                  <a:lnTo>
                    <a:pt x="4385" y="1822"/>
                  </a:lnTo>
                  <a:lnTo>
                    <a:pt x="4412" y="1822"/>
                  </a:lnTo>
                  <a:lnTo>
                    <a:pt x="4439" y="1821"/>
                  </a:lnTo>
                  <a:lnTo>
                    <a:pt x="4465" y="1819"/>
                  </a:lnTo>
                  <a:lnTo>
                    <a:pt x="4491" y="1816"/>
                  </a:lnTo>
                  <a:lnTo>
                    <a:pt x="4515" y="1812"/>
                  </a:lnTo>
                  <a:lnTo>
                    <a:pt x="4540" y="1808"/>
                  </a:lnTo>
                  <a:lnTo>
                    <a:pt x="4563" y="1802"/>
                  </a:lnTo>
                  <a:lnTo>
                    <a:pt x="4586" y="1796"/>
                  </a:lnTo>
                  <a:lnTo>
                    <a:pt x="4609" y="1789"/>
                  </a:lnTo>
                  <a:lnTo>
                    <a:pt x="4630" y="1780"/>
                  </a:lnTo>
                  <a:lnTo>
                    <a:pt x="4651" y="1771"/>
                  </a:lnTo>
                  <a:lnTo>
                    <a:pt x="4672" y="1762"/>
                  </a:lnTo>
                  <a:lnTo>
                    <a:pt x="4692" y="1751"/>
                  </a:lnTo>
                  <a:lnTo>
                    <a:pt x="4710" y="1740"/>
                  </a:lnTo>
                  <a:lnTo>
                    <a:pt x="4730" y="1728"/>
                  </a:lnTo>
                  <a:lnTo>
                    <a:pt x="4747" y="1713"/>
                  </a:lnTo>
                  <a:lnTo>
                    <a:pt x="4764" y="1699"/>
                  </a:lnTo>
                  <a:lnTo>
                    <a:pt x="4781" y="1684"/>
                  </a:lnTo>
                  <a:lnTo>
                    <a:pt x="4796" y="1668"/>
                  </a:lnTo>
                  <a:lnTo>
                    <a:pt x="4811" y="1650"/>
                  </a:lnTo>
                  <a:lnTo>
                    <a:pt x="4825" y="1633"/>
                  </a:lnTo>
                  <a:lnTo>
                    <a:pt x="4839" y="1614"/>
                  </a:lnTo>
                  <a:lnTo>
                    <a:pt x="4852" y="1593"/>
                  </a:lnTo>
                  <a:lnTo>
                    <a:pt x="4864" y="1572"/>
                  </a:lnTo>
                  <a:lnTo>
                    <a:pt x="4875" y="1551"/>
                  </a:lnTo>
                  <a:lnTo>
                    <a:pt x="4885" y="1527"/>
                  </a:lnTo>
                  <a:lnTo>
                    <a:pt x="4895" y="1504"/>
                  </a:lnTo>
                  <a:lnTo>
                    <a:pt x="4905" y="1478"/>
                  </a:lnTo>
                  <a:lnTo>
                    <a:pt x="4913" y="1452"/>
                  </a:lnTo>
                  <a:lnTo>
                    <a:pt x="4920" y="1426"/>
                  </a:lnTo>
                  <a:lnTo>
                    <a:pt x="4927" y="1397"/>
                  </a:lnTo>
                  <a:lnTo>
                    <a:pt x="4932" y="1369"/>
                  </a:lnTo>
                  <a:lnTo>
                    <a:pt x="5113" y="403"/>
                  </a:lnTo>
                  <a:lnTo>
                    <a:pt x="5796" y="403"/>
                  </a:lnTo>
                  <a:lnTo>
                    <a:pt x="5796" y="1822"/>
                  </a:lnTo>
                  <a:lnTo>
                    <a:pt x="6198" y="1822"/>
                  </a:lnTo>
                  <a:lnTo>
                    <a:pt x="6198" y="42"/>
                  </a:lnTo>
                  <a:lnTo>
                    <a:pt x="4779" y="42"/>
                  </a:lnTo>
                  <a:close/>
                  <a:moveTo>
                    <a:pt x="6585" y="42"/>
                  </a:moveTo>
                  <a:lnTo>
                    <a:pt x="6585" y="1822"/>
                  </a:lnTo>
                  <a:lnTo>
                    <a:pt x="6980" y="1822"/>
                  </a:lnTo>
                  <a:lnTo>
                    <a:pt x="6980" y="1069"/>
                  </a:lnTo>
                  <a:lnTo>
                    <a:pt x="7251" y="1069"/>
                  </a:lnTo>
                  <a:lnTo>
                    <a:pt x="7258" y="1116"/>
                  </a:lnTo>
                  <a:lnTo>
                    <a:pt x="7266" y="1162"/>
                  </a:lnTo>
                  <a:lnTo>
                    <a:pt x="7277" y="1207"/>
                  </a:lnTo>
                  <a:lnTo>
                    <a:pt x="7290" y="1251"/>
                  </a:lnTo>
                  <a:lnTo>
                    <a:pt x="7304" y="1292"/>
                  </a:lnTo>
                  <a:lnTo>
                    <a:pt x="7320" y="1333"/>
                  </a:lnTo>
                  <a:lnTo>
                    <a:pt x="7338" y="1372"/>
                  </a:lnTo>
                  <a:lnTo>
                    <a:pt x="7358" y="1409"/>
                  </a:lnTo>
                  <a:lnTo>
                    <a:pt x="7379" y="1446"/>
                  </a:lnTo>
                  <a:lnTo>
                    <a:pt x="7402" y="1482"/>
                  </a:lnTo>
                  <a:lnTo>
                    <a:pt x="7427" y="1514"/>
                  </a:lnTo>
                  <a:lnTo>
                    <a:pt x="7452" y="1547"/>
                  </a:lnTo>
                  <a:lnTo>
                    <a:pt x="7480" y="1577"/>
                  </a:lnTo>
                  <a:lnTo>
                    <a:pt x="7509" y="1607"/>
                  </a:lnTo>
                  <a:lnTo>
                    <a:pt x="7540" y="1634"/>
                  </a:lnTo>
                  <a:lnTo>
                    <a:pt x="7571" y="1660"/>
                  </a:lnTo>
                  <a:lnTo>
                    <a:pt x="7604" y="1685"/>
                  </a:lnTo>
                  <a:lnTo>
                    <a:pt x="7637" y="1708"/>
                  </a:lnTo>
                  <a:lnTo>
                    <a:pt x="7673" y="1730"/>
                  </a:lnTo>
                  <a:lnTo>
                    <a:pt x="7710" y="1750"/>
                  </a:lnTo>
                  <a:lnTo>
                    <a:pt x="7747" y="1768"/>
                  </a:lnTo>
                  <a:lnTo>
                    <a:pt x="7786" y="1786"/>
                  </a:lnTo>
                  <a:lnTo>
                    <a:pt x="7824" y="1801"/>
                  </a:lnTo>
                  <a:lnTo>
                    <a:pt x="7865" y="1815"/>
                  </a:lnTo>
                  <a:lnTo>
                    <a:pt x="7907" y="1827"/>
                  </a:lnTo>
                  <a:lnTo>
                    <a:pt x="7949" y="1837"/>
                  </a:lnTo>
                  <a:lnTo>
                    <a:pt x="7991" y="1847"/>
                  </a:lnTo>
                  <a:lnTo>
                    <a:pt x="8035" y="1854"/>
                  </a:lnTo>
                  <a:lnTo>
                    <a:pt x="8080" y="1860"/>
                  </a:lnTo>
                  <a:lnTo>
                    <a:pt x="8124" y="1864"/>
                  </a:lnTo>
                  <a:lnTo>
                    <a:pt x="8170" y="1867"/>
                  </a:lnTo>
                  <a:lnTo>
                    <a:pt x="8217" y="1868"/>
                  </a:lnTo>
                  <a:lnTo>
                    <a:pt x="8267" y="1867"/>
                  </a:lnTo>
                  <a:lnTo>
                    <a:pt x="8317" y="1864"/>
                  </a:lnTo>
                  <a:lnTo>
                    <a:pt x="8364" y="1859"/>
                  </a:lnTo>
                  <a:lnTo>
                    <a:pt x="8413" y="1852"/>
                  </a:lnTo>
                  <a:lnTo>
                    <a:pt x="8460" y="1842"/>
                  </a:lnTo>
                  <a:lnTo>
                    <a:pt x="8506" y="1832"/>
                  </a:lnTo>
                  <a:lnTo>
                    <a:pt x="8552" y="1820"/>
                  </a:lnTo>
                  <a:lnTo>
                    <a:pt x="8595" y="1805"/>
                  </a:lnTo>
                  <a:lnTo>
                    <a:pt x="8639" y="1789"/>
                  </a:lnTo>
                  <a:lnTo>
                    <a:pt x="8681" y="1771"/>
                  </a:lnTo>
                  <a:lnTo>
                    <a:pt x="8721" y="1751"/>
                  </a:lnTo>
                  <a:lnTo>
                    <a:pt x="8761" y="1729"/>
                  </a:lnTo>
                  <a:lnTo>
                    <a:pt x="8799" y="1705"/>
                  </a:lnTo>
                  <a:lnTo>
                    <a:pt x="8835" y="1680"/>
                  </a:lnTo>
                  <a:lnTo>
                    <a:pt x="8871" y="1653"/>
                  </a:lnTo>
                  <a:lnTo>
                    <a:pt x="8905" y="1624"/>
                  </a:lnTo>
                  <a:lnTo>
                    <a:pt x="8937" y="1593"/>
                  </a:lnTo>
                  <a:lnTo>
                    <a:pt x="8968" y="1561"/>
                  </a:lnTo>
                  <a:lnTo>
                    <a:pt x="8996" y="1526"/>
                  </a:lnTo>
                  <a:lnTo>
                    <a:pt x="9023" y="1491"/>
                  </a:lnTo>
                  <a:lnTo>
                    <a:pt x="9049" y="1453"/>
                  </a:lnTo>
                  <a:lnTo>
                    <a:pt x="9072" y="1414"/>
                  </a:lnTo>
                  <a:lnTo>
                    <a:pt x="9094" y="1374"/>
                  </a:lnTo>
                  <a:lnTo>
                    <a:pt x="9113" y="1331"/>
                  </a:lnTo>
                  <a:lnTo>
                    <a:pt x="9130" y="1287"/>
                  </a:lnTo>
                  <a:lnTo>
                    <a:pt x="9146" y="1242"/>
                  </a:lnTo>
                  <a:lnTo>
                    <a:pt x="9159" y="1194"/>
                  </a:lnTo>
                  <a:lnTo>
                    <a:pt x="9169" y="1145"/>
                  </a:lnTo>
                  <a:lnTo>
                    <a:pt x="9178" y="1094"/>
                  </a:lnTo>
                  <a:lnTo>
                    <a:pt x="9184" y="1042"/>
                  </a:lnTo>
                  <a:lnTo>
                    <a:pt x="9188" y="988"/>
                  </a:lnTo>
                  <a:lnTo>
                    <a:pt x="9189" y="933"/>
                  </a:lnTo>
                  <a:lnTo>
                    <a:pt x="9188" y="879"/>
                  </a:lnTo>
                  <a:lnTo>
                    <a:pt x="9184" y="825"/>
                  </a:lnTo>
                  <a:lnTo>
                    <a:pt x="9178" y="773"/>
                  </a:lnTo>
                  <a:lnTo>
                    <a:pt x="9169" y="723"/>
                  </a:lnTo>
                  <a:lnTo>
                    <a:pt x="9159" y="674"/>
                  </a:lnTo>
                  <a:lnTo>
                    <a:pt x="9146" y="626"/>
                  </a:lnTo>
                  <a:lnTo>
                    <a:pt x="9130" y="581"/>
                  </a:lnTo>
                  <a:lnTo>
                    <a:pt x="9113" y="537"/>
                  </a:lnTo>
                  <a:lnTo>
                    <a:pt x="9094" y="494"/>
                  </a:lnTo>
                  <a:lnTo>
                    <a:pt x="9072" y="453"/>
                  </a:lnTo>
                  <a:lnTo>
                    <a:pt x="9049" y="414"/>
                  </a:lnTo>
                  <a:lnTo>
                    <a:pt x="9023" y="376"/>
                  </a:lnTo>
                  <a:lnTo>
                    <a:pt x="8996" y="341"/>
                  </a:lnTo>
                  <a:lnTo>
                    <a:pt x="8968" y="307"/>
                  </a:lnTo>
                  <a:lnTo>
                    <a:pt x="8937" y="275"/>
                  </a:lnTo>
                  <a:lnTo>
                    <a:pt x="8905" y="244"/>
                  </a:lnTo>
                  <a:lnTo>
                    <a:pt x="8871" y="215"/>
                  </a:lnTo>
                  <a:lnTo>
                    <a:pt x="8835" y="187"/>
                  </a:lnTo>
                  <a:lnTo>
                    <a:pt x="8799" y="162"/>
                  </a:lnTo>
                  <a:lnTo>
                    <a:pt x="8761" y="138"/>
                  </a:lnTo>
                  <a:lnTo>
                    <a:pt x="8721" y="117"/>
                  </a:lnTo>
                  <a:lnTo>
                    <a:pt x="8681" y="97"/>
                  </a:lnTo>
                  <a:lnTo>
                    <a:pt x="8639" y="78"/>
                  </a:lnTo>
                  <a:lnTo>
                    <a:pt x="8595" y="62"/>
                  </a:lnTo>
                  <a:lnTo>
                    <a:pt x="8552" y="48"/>
                  </a:lnTo>
                  <a:lnTo>
                    <a:pt x="8506" y="36"/>
                  </a:lnTo>
                  <a:lnTo>
                    <a:pt x="8460" y="24"/>
                  </a:lnTo>
                  <a:lnTo>
                    <a:pt x="8413" y="16"/>
                  </a:lnTo>
                  <a:lnTo>
                    <a:pt x="8364" y="9"/>
                  </a:lnTo>
                  <a:lnTo>
                    <a:pt x="8317" y="4"/>
                  </a:lnTo>
                  <a:lnTo>
                    <a:pt x="8267" y="1"/>
                  </a:lnTo>
                  <a:lnTo>
                    <a:pt x="8217" y="0"/>
                  </a:lnTo>
                  <a:lnTo>
                    <a:pt x="8173" y="1"/>
                  </a:lnTo>
                  <a:lnTo>
                    <a:pt x="8131" y="3"/>
                  </a:lnTo>
                  <a:lnTo>
                    <a:pt x="8088" y="7"/>
                  </a:lnTo>
                  <a:lnTo>
                    <a:pt x="8046" y="12"/>
                  </a:lnTo>
                  <a:lnTo>
                    <a:pt x="8004" y="18"/>
                  </a:lnTo>
                  <a:lnTo>
                    <a:pt x="7964" y="26"/>
                  </a:lnTo>
                  <a:lnTo>
                    <a:pt x="7924" y="36"/>
                  </a:lnTo>
                  <a:lnTo>
                    <a:pt x="7884" y="47"/>
                  </a:lnTo>
                  <a:lnTo>
                    <a:pt x="7846" y="59"/>
                  </a:lnTo>
                  <a:lnTo>
                    <a:pt x="7808" y="73"/>
                  </a:lnTo>
                  <a:lnTo>
                    <a:pt x="7772" y="88"/>
                  </a:lnTo>
                  <a:lnTo>
                    <a:pt x="7736" y="105"/>
                  </a:lnTo>
                  <a:lnTo>
                    <a:pt x="7700" y="122"/>
                  </a:lnTo>
                  <a:lnTo>
                    <a:pt x="7667" y="141"/>
                  </a:lnTo>
                  <a:lnTo>
                    <a:pt x="7633" y="162"/>
                  </a:lnTo>
                  <a:lnTo>
                    <a:pt x="7602" y="184"/>
                  </a:lnTo>
                  <a:lnTo>
                    <a:pt x="7571" y="207"/>
                  </a:lnTo>
                  <a:lnTo>
                    <a:pt x="7542" y="232"/>
                  </a:lnTo>
                  <a:lnTo>
                    <a:pt x="7512" y="257"/>
                  </a:lnTo>
                  <a:lnTo>
                    <a:pt x="7486" y="285"/>
                  </a:lnTo>
                  <a:lnTo>
                    <a:pt x="7459" y="313"/>
                  </a:lnTo>
                  <a:lnTo>
                    <a:pt x="7435" y="343"/>
                  </a:lnTo>
                  <a:lnTo>
                    <a:pt x="7412" y="374"/>
                  </a:lnTo>
                  <a:lnTo>
                    <a:pt x="7389" y="406"/>
                  </a:lnTo>
                  <a:lnTo>
                    <a:pt x="7369" y="439"/>
                  </a:lnTo>
                  <a:lnTo>
                    <a:pt x="7350" y="475"/>
                  </a:lnTo>
                  <a:lnTo>
                    <a:pt x="7331" y="510"/>
                  </a:lnTo>
                  <a:lnTo>
                    <a:pt x="7315" y="548"/>
                  </a:lnTo>
                  <a:lnTo>
                    <a:pt x="7301" y="586"/>
                  </a:lnTo>
                  <a:lnTo>
                    <a:pt x="7287" y="625"/>
                  </a:lnTo>
                  <a:lnTo>
                    <a:pt x="7276" y="666"/>
                  </a:lnTo>
                  <a:lnTo>
                    <a:pt x="7267" y="709"/>
                  </a:lnTo>
                  <a:lnTo>
                    <a:pt x="6980" y="709"/>
                  </a:lnTo>
                  <a:lnTo>
                    <a:pt x="6980" y="42"/>
                  </a:lnTo>
                  <a:lnTo>
                    <a:pt x="6585" y="42"/>
                  </a:lnTo>
                  <a:close/>
                  <a:moveTo>
                    <a:pt x="7643" y="933"/>
                  </a:moveTo>
                  <a:lnTo>
                    <a:pt x="7644" y="900"/>
                  </a:lnTo>
                  <a:lnTo>
                    <a:pt x="7645" y="866"/>
                  </a:lnTo>
                  <a:lnTo>
                    <a:pt x="7649" y="835"/>
                  </a:lnTo>
                  <a:lnTo>
                    <a:pt x="7653" y="803"/>
                  </a:lnTo>
                  <a:lnTo>
                    <a:pt x="7658" y="773"/>
                  </a:lnTo>
                  <a:lnTo>
                    <a:pt x="7664" y="743"/>
                  </a:lnTo>
                  <a:lnTo>
                    <a:pt x="7672" y="715"/>
                  </a:lnTo>
                  <a:lnTo>
                    <a:pt x="7680" y="686"/>
                  </a:lnTo>
                  <a:lnTo>
                    <a:pt x="7690" y="660"/>
                  </a:lnTo>
                  <a:lnTo>
                    <a:pt x="7700" y="634"/>
                  </a:lnTo>
                  <a:lnTo>
                    <a:pt x="7713" y="610"/>
                  </a:lnTo>
                  <a:lnTo>
                    <a:pt x="7726" y="586"/>
                  </a:lnTo>
                  <a:lnTo>
                    <a:pt x="7740" y="563"/>
                  </a:lnTo>
                  <a:lnTo>
                    <a:pt x="7755" y="542"/>
                  </a:lnTo>
                  <a:lnTo>
                    <a:pt x="7772" y="521"/>
                  </a:lnTo>
                  <a:lnTo>
                    <a:pt x="7789" y="501"/>
                  </a:lnTo>
                  <a:lnTo>
                    <a:pt x="7807" y="483"/>
                  </a:lnTo>
                  <a:lnTo>
                    <a:pt x="7828" y="466"/>
                  </a:lnTo>
                  <a:lnTo>
                    <a:pt x="7848" y="449"/>
                  </a:lnTo>
                  <a:lnTo>
                    <a:pt x="7870" y="434"/>
                  </a:lnTo>
                  <a:lnTo>
                    <a:pt x="7893" y="420"/>
                  </a:lnTo>
                  <a:lnTo>
                    <a:pt x="7917" y="408"/>
                  </a:lnTo>
                  <a:lnTo>
                    <a:pt x="7942" y="396"/>
                  </a:lnTo>
                  <a:lnTo>
                    <a:pt x="7968" y="385"/>
                  </a:lnTo>
                  <a:lnTo>
                    <a:pt x="7995" y="375"/>
                  </a:lnTo>
                  <a:lnTo>
                    <a:pt x="8024" y="367"/>
                  </a:lnTo>
                  <a:lnTo>
                    <a:pt x="8053" y="361"/>
                  </a:lnTo>
                  <a:lnTo>
                    <a:pt x="8084" y="355"/>
                  </a:lnTo>
                  <a:lnTo>
                    <a:pt x="8115" y="351"/>
                  </a:lnTo>
                  <a:lnTo>
                    <a:pt x="8148" y="347"/>
                  </a:lnTo>
                  <a:lnTo>
                    <a:pt x="8182" y="345"/>
                  </a:lnTo>
                  <a:lnTo>
                    <a:pt x="8217" y="345"/>
                  </a:lnTo>
                  <a:lnTo>
                    <a:pt x="8252" y="345"/>
                  </a:lnTo>
                  <a:lnTo>
                    <a:pt x="8285" y="347"/>
                  </a:lnTo>
                  <a:lnTo>
                    <a:pt x="8318" y="351"/>
                  </a:lnTo>
                  <a:lnTo>
                    <a:pt x="8349" y="355"/>
                  </a:lnTo>
                  <a:lnTo>
                    <a:pt x="8380" y="361"/>
                  </a:lnTo>
                  <a:lnTo>
                    <a:pt x="8409" y="367"/>
                  </a:lnTo>
                  <a:lnTo>
                    <a:pt x="8438" y="375"/>
                  </a:lnTo>
                  <a:lnTo>
                    <a:pt x="8465" y="385"/>
                  </a:lnTo>
                  <a:lnTo>
                    <a:pt x="8492" y="396"/>
                  </a:lnTo>
                  <a:lnTo>
                    <a:pt x="8517" y="408"/>
                  </a:lnTo>
                  <a:lnTo>
                    <a:pt x="8540" y="420"/>
                  </a:lnTo>
                  <a:lnTo>
                    <a:pt x="8564" y="434"/>
                  </a:lnTo>
                  <a:lnTo>
                    <a:pt x="8585" y="449"/>
                  </a:lnTo>
                  <a:lnTo>
                    <a:pt x="8607" y="466"/>
                  </a:lnTo>
                  <a:lnTo>
                    <a:pt x="8626" y="483"/>
                  </a:lnTo>
                  <a:lnTo>
                    <a:pt x="8644" y="501"/>
                  </a:lnTo>
                  <a:lnTo>
                    <a:pt x="8662" y="521"/>
                  </a:lnTo>
                  <a:lnTo>
                    <a:pt x="8679" y="542"/>
                  </a:lnTo>
                  <a:lnTo>
                    <a:pt x="8694" y="563"/>
                  </a:lnTo>
                  <a:lnTo>
                    <a:pt x="8708" y="586"/>
                  </a:lnTo>
                  <a:lnTo>
                    <a:pt x="8720" y="610"/>
                  </a:lnTo>
                  <a:lnTo>
                    <a:pt x="8733" y="634"/>
                  </a:lnTo>
                  <a:lnTo>
                    <a:pt x="8744" y="660"/>
                  </a:lnTo>
                  <a:lnTo>
                    <a:pt x="8753" y="686"/>
                  </a:lnTo>
                  <a:lnTo>
                    <a:pt x="8762" y="715"/>
                  </a:lnTo>
                  <a:lnTo>
                    <a:pt x="8769" y="743"/>
                  </a:lnTo>
                  <a:lnTo>
                    <a:pt x="8775" y="773"/>
                  </a:lnTo>
                  <a:lnTo>
                    <a:pt x="8780" y="803"/>
                  </a:lnTo>
                  <a:lnTo>
                    <a:pt x="8785" y="835"/>
                  </a:lnTo>
                  <a:lnTo>
                    <a:pt x="8788" y="866"/>
                  </a:lnTo>
                  <a:lnTo>
                    <a:pt x="8790" y="900"/>
                  </a:lnTo>
                  <a:lnTo>
                    <a:pt x="8790" y="933"/>
                  </a:lnTo>
                  <a:lnTo>
                    <a:pt x="8790" y="968"/>
                  </a:lnTo>
                  <a:lnTo>
                    <a:pt x="8788" y="1001"/>
                  </a:lnTo>
                  <a:lnTo>
                    <a:pt x="8785" y="1033"/>
                  </a:lnTo>
                  <a:lnTo>
                    <a:pt x="8780" y="1065"/>
                  </a:lnTo>
                  <a:lnTo>
                    <a:pt x="8775" y="1095"/>
                  </a:lnTo>
                  <a:lnTo>
                    <a:pt x="8769" y="1125"/>
                  </a:lnTo>
                  <a:lnTo>
                    <a:pt x="8762" y="1153"/>
                  </a:lnTo>
                  <a:lnTo>
                    <a:pt x="8753" y="1181"/>
                  </a:lnTo>
                  <a:lnTo>
                    <a:pt x="8744" y="1207"/>
                  </a:lnTo>
                  <a:lnTo>
                    <a:pt x="8733" y="1233"/>
                  </a:lnTo>
                  <a:lnTo>
                    <a:pt x="8720" y="1258"/>
                  </a:lnTo>
                  <a:lnTo>
                    <a:pt x="8708" y="1281"/>
                  </a:lnTo>
                  <a:lnTo>
                    <a:pt x="8694" y="1305"/>
                  </a:lnTo>
                  <a:lnTo>
                    <a:pt x="8679" y="1326"/>
                  </a:lnTo>
                  <a:lnTo>
                    <a:pt x="8662" y="1346"/>
                  </a:lnTo>
                  <a:lnTo>
                    <a:pt x="8644" y="1366"/>
                  </a:lnTo>
                  <a:lnTo>
                    <a:pt x="8626" y="1385"/>
                  </a:lnTo>
                  <a:lnTo>
                    <a:pt x="8607" y="1402"/>
                  </a:lnTo>
                  <a:lnTo>
                    <a:pt x="8585" y="1418"/>
                  </a:lnTo>
                  <a:lnTo>
                    <a:pt x="8564" y="1434"/>
                  </a:lnTo>
                  <a:lnTo>
                    <a:pt x="8540" y="1447"/>
                  </a:lnTo>
                  <a:lnTo>
                    <a:pt x="8517" y="1460"/>
                  </a:lnTo>
                  <a:lnTo>
                    <a:pt x="8492" y="1472"/>
                  </a:lnTo>
                  <a:lnTo>
                    <a:pt x="8465" y="1483"/>
                  </a:lnTo>
                  <a:lnTo>
                    <a:pt x="8438" y="1492"/>
                  </a:lnTo>
                  <a:lnTo>
                    <a:pt x="8409" y="1500"/>
                  </a:lnTo>
                  <a:lnTo>
                    <a:pt x="8380" y="1507"/>
                  </a:lnTo>
                  <a:lnTo>
                    <a:pt x="8349" y="1513"/>
                  </a:lnTo>
                  <a:lnTo>
                    <a:pt x="8318" y="1517"/>
                  </a:lnTo>
                  <a:lnTo>
                    <a:pt x="8285" y="1520"/>
                  </a:lnTo>
                  <a:lnTo>
                    <a:pt x="8252" y="1522"/>
                  </a:lnTo>
                  <a:lnTo>
                    <a:pt x="8217" y="1523"/>
                  </a:lnTo>
                  <a:lnTo>
                    <a:pt x="8182" y="1522"/>
                  </a:lnTo>
                  <a:lnTo>
                    <a:pt x="8148" y="1520"/>
                  </a:lnTo>
                  <a:lnTo>
                    <a:pt x="8115" y="1517"/>
                  </a:lnTo>
                  <a:lnTo>
                    <a:pt x="8084" y="1513"/>
                  </a:lnTo>
                  <a:lnTo>
                    <a:pt x="8053" y="1507"/>
                  </a:lnTo>
                  <a:lnTo>
                    <a:pt x="8024" y="1500"/>
                  </a:lnTo>
                  <a:lnTo>
                    <a:pt x="7995" y="1492"/>
                  </a:lnTo>
                  <a:lnTo>
                    <a:pt x="7968" y="1483"/>
                  </a:lnTo>
                  <a:lnTo>
                    <a:pt x="7942" y="1472"/>
                  </a:lnTo>
                  <a:lnTo>
                    <a:pt x="7917" y="1460"/>
                  </a:lnTo>
                  <a:lnTo>
                    <a:pt x="7893" y="1447"/>
                  </a:lnTo>
                  <a:lnTo>
                    <a:pt x="7870" y="1434"/>
                  </a:lnTo>
                  <a:lnTo>
                    <a:pt x="7848" y="1418"/>
                  </a:lnTo>
                  <a:lnTo>
                    <a:pt x="7828" y="1402"/>
                  </a:lnTo>
                  <a:lnTo>
                    <a:pt x="7807" y="1385"/>
                  </a:lnTo>
                  <a:lnTo>
                    <a:pt x="7789" y="1366"/>
                  </a:lnTo>
                  <a:lnTo>
                    <a:pt x="7772" y="1346"/>
                  </a:lnTo>
                  <a:lnTo>
                    <a:pt x="7755" y="1326"/>
                  </a:lnTo>
                  <a:lnTo>
                    <a:pt x="7740" y="1305"/>
                  </a:lnTo>
                  <a:lnTo>
                    <a:pt x="7726" y="1281"/>
                  </a:lnTo>
                  <a:lnTo>
                    <a:pt x="7713" y="1258"/>
                  </a:lnTo>
                  <a:lnTo>
                    <a:pt x="7700" y="1233"/>
                  </a:lnTo>
                  <a:lnTo>
                    <a:pt x="7690" y="1207"/>
                  </a:lnTo>
                  <a:lnTo>
                    <a:pt x="7680" y="1181"/>
                  </a:lnTo>
                  <a:lnTo>
                    <a:pt x="7672" y="1153"/>
                  </a:lnTo>
                  <a:lnTo>
                    <a:pt x="7664" y="1125"/>
                  </a:lnTo>
                  <a:lnTo>
                    <a:pt x="7658" y="1095"/>
                  </a:lnTo>
                  <a:lnTo>
                    <a:pt x="7653" y="1065"/>
                  </a:lnTo>
                  <a:lnTo>
                    <a:pt x="7649" y="1033"/>
                  </a:lnTo>
                  <a:lnTo>
                    <a:pt x="7645" y="1001"/>
                  </a:lnTo>
                  <a:lnTo>
                    <a:pt x="7644" y="968"/>
                  </a:lnTo>
                  <a:lnTo>
                    <a:pt x="7643" y="933"/>
                  </a:lnTo>
                  <a:close/>
                  <a:moveTo>
                    <a:pt x="11327" y="477"/>
                  </a:moveTo>
                  <a:lnTo>
                    <a:pt x="11310" y="447"/>
                  </a:lnTo>
                  <a:lnTo>
                    <a:pt x="11291" y="420"/>
                  </a:lnTo>
                  <a:lnTo>
                    <a:pt x="11272" y="392"/>
                  </a:lnTo>
                  <a:lnTo>
                    <a:pt x="11253" y="366"/>
                  </a:lnTo>
                  <a:lnTo>
                    <a:pt x="11232" y="341"/>
                  </a:lnTo>
                  <a:lnTo>
                    <a:pt x="11211" y="316"/>
                  </a:lnTo>
                  <a:lnTo>
                    <a:pt x="11190" y="293"/>
                  </a:lnTo>
                  <a:lnTo>
                    <a:pt x="11167" y="270"/>
                  </a:lnTo>
                  <a:lnTo>
                    <a:pt x="11144" y="248"/>
                  </a:lnTo>
                  <a:lnTo>
                    <a:pt x="11121" y="228"/>
                  </a:lnTo>
                  <a:lnTo>
                    <a:pt x="11096" y="207"/>
                  </a:lnTo>
                  <a:lnTo>
                    <a:pt x="11071" y="188"/>
                  </a:lnTo>
                  <a:lnTo>
                    <a:pt x="11045" y="171"/>
                  </a:lnTo>
                  <a:lnTo>
                    <a:pt x="11018" y="154"/>
                  </a:lnTo>
                  <a:lnTo>
                    <a:pt x="10991" y="136"/>
                  </a:lnTo>
                  <a:lnTo>
                    <a:pt x="10963" y="121"/>
                  </a:lnTo>
                  <a:lnTo>
                    <a:pt x="10934" y="107"/>
                  </a:lnTo>
                  <a:lnTo>
                    <a:pt x="10905" y="93"/>
                  </a:lnTo>
                  <a:lnTo>
                    <a:pt x="10875" y="80"/>
                  </a:lnTo>
                  <a:lnTo>
                    <a:pt x="10845" y="68"/>
                  </a:lnTo>
                  <a:lnTo>
                    <a:pt x="10813" y="58"/>
                  </a:lnTo>
                  <a:lnTo>
                    <a:pt x="10782" y="48"/>
                  </a:lnTo>
                  <a:lnTo>
                    <a:pt x="10749" y="39"/>
                  </a:lnTo>
                  <a:lnTo>
                    <a:pt x="10716" y="30"/>
                  </a:lnTo>
                  <a:lnTo>
                    <a:pt x="10682" y="23"/>
                  </a:lnTo>
                  <a:lnTo>
                    <a:pt x="10648" y="17"/>
                  </a:lnTo>
                  <a:lnTo>
                    <a:pt x="10612" y="12"/>
                  </a:lnTo>
                  <a:lnTo>
                    <a:pt x="10576" y="8"/>
                  </a:lnTo>
                  <a:lnTo>
                    <a:pt x="10540" y="4"/>
                  </a:lnTo>
                  <a:lnTo>
                    <a:pt x="10502" y="2"/>
                  </a:lnTo>
                  <a:lnTo>
                    <a:pt x="10465" y="1"/>
                  </a:lnTo>
                  <a:lnTo>
                    <a:pt x="10426" y="0"/>
                  </a:lnTo>
                  <a:lnTo>
                    <a:pt x="10373" y="1"/>
                  </a:lnTo>
                  <a:lnTo>
                    <a:pt x="10322" y="4"/>
                  </a:lnTo>
                  <a:lnTo>
                    <a:pt x="10271" y="9"/>
                  </a:lnTo>
                  <a:lnTo>
                    <a:pt x="10222" y="16"/>
                  </a:lnTo>
                  <a:lnTo>
                    <a:pt x="10174" y="25"/>
                  </a:lnTo>
                  <a:lnTo>
                    <a:pt x="10126" y="37"/>
                  </a:lnTo>
                  <a:lnTo>
                    <a:pt x="10079" y="50"/>
                  </a:lnTo>
                  <a:lnTo>
                    <a:pt x="10033" y="65"/>
                  </a:lnTo>
                  <a:lnTo>
                    <a:pt x="9990" y="81"/>
                  </a:lnTo>
                  <a:lnTo>
                    <a:pt x="9947" y="101"/>
                  </a:lnTo>
                  <a:lnTo>
                    <a:pt x="9905" y="121"/>
                  </a:lnTo>
                  <a:lnTo>
                    <a:pt x="9865" y="143"/>
                  </a:lnTo>
                  <a:lnTo>
                    <a:pt x="9826" y="168"/>
                  </a:lnTo>
                  <a:lnTo>
                    <a:pt x="9788" y="194"/>
                  </a:lnTo>
                  <a:lnTo>
                    <a:pt x="9753" y="222"/>
                  </a:lnTo>
                  <a:lnTo>
                    <a:pt x="9718" y="251"/>
                  </a:lnTo>
                  <a:lnTo>
                    <a:pt x="9686" y="282"/>
                  </a:lnTo>
                  <a:lnTo>
                    <a:pt x="9654" y="314"/>
                  </a:lnTo>
                  <a:lnTo>
                    <a:pt x="9626" y="349"/>
                  </a:lnTo>
                  <a:lnTo>
                    <a:pt x="9598" y="385"/>
                  </a:lnTo>
                  <a:lnTo>
                    <a:pt x="9572" y="423"/>
                  </a:lnTo>
                  <a:lnTo>
                    <a:pt x="9548" y="462"/>
                  </a:lnTo>
                  <a:lnTo>
                    <a:pt x="9527" y="502"/>
                  </a:lnTo>
                  <a:lnTo>
                    <a:pt x="9508" y="545"/>
                  </a:lnTo>
                  <a:lnTo>
                    <a:pt x="9489" y="589"/>
                  </a:lnTo>
                  <a:lnTo>
                    <a:pt x="9474" y="633"/>
                  </a:lnTo>
                  <a:lnTo>
                    <a:pt x="9461" y="680"/>
                  </a:lnTo>
                  <a:lnTo>
                    <a:pt x="9451" y="728"/>
                  </a:lnTo>
                  <a:lnTo>
                    <a:pt x="9441" y="778"/>
                  </a:lnTo>
                  <a:lnTo>
                    <a:pt x="9435" y="829"/>
                  </a:lnTo>
                  <a:lnTo>
                    <a:pt x="9432" y="881"/>
                  </a:lnTo>
                  <a:lnTo>
                    <a:pt x="9430" y="933"/>
                  </a:lnTo>
                  <a:lnTo>
                    <a:pt x="9431" y="987"/>
                  </a:lnTo>
                  <a:lnTo>
                    <a:pt x="9435" y="1039"/>
                  </a:lnTo>
                  <a:lnTo>
                    <a:pt x="9441" y="1090"/>
                  </a:lnTo>
                  <a:lnTo>
                    <a:pt x="9450" y="1139"/>
                  </a:lnTo>
                  <a:lnTo>
                    <a:pt x="9461" y="1188"/>
                  </a:lnTo>
                  <a:lnTo>
                    <a:pt x="9474" y="1234"/>
                  </a:lnTo>
                  <a:lnTo>
                    <a:pt x="9488" y="1279"/>
                  </a:lnTo>
                  <a:lnTo>
                    <a:pt x="9506" y="1323"/>
                  </a:lnTo>
                  <a:lnTo>
                    <a:pt x="9525" y="1365"/>
                  </a:lnTo>
                  <a:lnTo>
                    <a:pt x="9546" y="1405"/>
                  </a:lnTo>
                  <a:lnTo>
                    <a:pt x="9570" y="1445"/>
                  </a:lnTo>
                  <a:lnTo>
                    <a:pt x="9595" y="1483"/>
                  </a:lnTo>
                  <a:lnTo>
                    <a:pt x="9623" y="1518"/>
                  </a:lnTo>
                  <a:lnTo>
                    <a:pt x="9651" y="1553"/>
                  </a:lnTo>
                  <a:lnTo>
                    <a:pt x="9681" y="1585"/>
                  </a:lnTo>
                  <a:lnTo>
                    <a:pt x="9714" y="1617"/>
                  </a:lnTo>
                  <a:lnTo>
                    <a:pt x="9749" y="1646"/>
                  </a:lnTo>
                  <a:lnTo>
                    <a:pt x="9784" y="1674"/>
                  </a:lnTo>
                  <a:lnTo>
                    <a:pt x="9822" y="1700"/>
                  </a:lnTo>
                  <a:lnTo>
                    <a:pt x="9860" y="1724"/>
                  </a:lnTo>
                  <a:lnTo>
                    <a:pt x="9900" y="1746"/>
                  </a:lnTo>
                  <a:lnTo>
                    <a:pt x="9942" y="1767"/>
                  </a:lnTo>
                  <a:lnTo>
                    <a:pt x="9986" y="1786"/>
                  </a:lnTo>
                  <a:lnTo>
                    <a:pt x="10029" y="1803"/>
                  </a:lnTo>
                  <a:lnTo>
                    <a:pt x="10075" y="1818"/>
                  </a:lnTo>
                  <a:lnTo>
                    <a:pt x="10122" y="1830"/>
                  </a:lnTo>
                  <a:lnTo>
                    <a:pt x="10170" y="1841"/>
                  </a:lnTo>
                  <a:lnTo>
                    <a:pt x="10219" y="1851"/>
                  </a:lnTo>
                  <a:lnTo>
                    <a:pt x="10269" y="1858"/>
                  </a:lnTo>
                  <a:lnTo>
                    <a:pt x="10320" y="1863"/>
                  </a:lnTo>
                  <a:lnTo>
                    <a:pt x="10372" y="1867"/>
                  </a:lnTo>
                  <a:lnTo>
                    <a:pt x="10426" y="1868"/>
                  </a:lnTo>
                  <a:lnTo>
                    <a:pt x="10465" y="1867"/>
                  </a:lnTo>
                  <a:lnTo>
                    <a:pt x="10502" y="1866"/>
                  </a:lnTo>
                  <a:lnTo>
                    <a:pt x="10540" y="1863"/>
                  </a:lnTo>
                  <a:lnTo>
                    <a:pt x="10576" y="1860"/>
                  </a:lnTo>
                  <a:lnTo>
                    <a:pt x="10612" y="1856"/>
                  </a:lnTo>
                  <a:lnTo>
                    <a:pt x="10648" y="1851"/>
                  </a:lnTo>
                  <a:lnTo>
                    <a:pt x="10682" y="1845"/>
                  </a:lnTo>
                  <a:lnTo>
                    <a:pt x="10716" y="1837"/>
                  </a:lnTo>
                  <a:lnTo>
                    <a:pt x="10749" y="1829"/>
                  </a:lnTo>
                  <a:lnTo>
                    <a:pt x="10782" y="1820"/>
                  </a:lnTo>
                  <a:lnTo>
                    <a:pt x="10813" y="1810"/>
                  </a:lnTo>
                  <a:lnTo>
                    <a:pt x="10845" y="1799"/>
                  </a:lnTo>
                  <a:lnTo>
                    <a:pt x="10875" y="1788"/>
                  </a:lnTo>
                  <a:lnTo>
                    <a:pt x="10905" y="1774"/>
                  </a:lnTo>
                  <a:lnTo>
                    <a:pt x="10934" y="1761"/>
                  </a:lnTo>
                  <a:lnTo>
                    <a:pt x="10963" y="1746"/>
                  </a:lnTo>
                  <a:lnTo>
                    <a:pt x="10991" y="1731"/>
                  </a:lnTo>
                  <a:lnTo>
                    <a:pt x="11018" y="1714"/>
                  </a:lnTo>
                  <a:lnTo>
                    <a:pt x="11045" y="1697"/>
                  </a:lnTo>
                  <a:lnTo>
                    <a:pt x="11071" y="1679"/>
                  </a:lnTo>
                  <a:lnTo>
                    <a:pt x="11096" y="1659"/>
                  </a:lnTo>
                  <a:lnTo>
                    <a:pt x="11121" y="1640"/>
                  </a:lnTo>
                  <a:lnTo>
                    <a:pt x="11144" y="1619"/>
                  </a:lnTo>
                  <a:lnTo>
                    <a:pt x="11167" y="1597"/>
                  </a:lnTo>
                  <a:lnTo>
                    <a:pt x="11190" y="1574"/>
                  </a:lnTo>
                  <a:lnTo>
                    <a:pt x="11211" y="1551"/>
                  </a:lnTo>
                  <a:lnTo>
                    <a:pt x="11232" y="1526"/>
                  </a:lnTo>
                  <a:lnTo>
                    <a:pt x="11253" y="1501"/>
                  </a:lnTo>
                  <a:lnTo>
                    <a:pt x="11272" y="1474"/>
                  </a:lnTo>
                  <a:lnTo>
                    <a:pt x="11291" y="1448"/>
                  </a:lnTo>
                  <a:lnTo>
                    <a:pt x="11310" y="1419"/>
                  </a:lnTo>
                  <a:lnTo>
                    <a:pt x="11327" y="1391"/>
                  </a:lnTo>
                  <a:lnTo>
                    <a:pt x="11015" y="1211"/>
                  </a:lnTo>
                  <a:lnTo>
                    <a:pt x="11002" y="1228"/>
                  </a:lnTo>
                  <a:lnTo>
                    <a:pt x="10988" y="1246"/>
                  </a:lnTo>
                  <a:lnTo>
                    <a:pt x="10975" y="1263"/>
                  </a:lnTo>
                  <a:lnTo>
                    <a:pt x="10962" y="1279"/>
                  </a:lnTo>
                  <a:lnTo>
                    <a:pt x="10948" y="1294"/>
                  </a:lnTo>
                  <a:lnTo>
                    <a:pt x="10933" y="1310"/>
                  </a:lnTo>
                  <a:lnTo>
                    <a:pt x="10919" y="1325"/>
                  </a:lnTo>
                  <a:lnTo>
                    <a:pt x="10904" y="1339"/>
                  </a:lnTo>
                  <a:lnTo>
                    <a:pt x="10890" y="1352"/>
                  </a:lnTo>
                  <a:lnTo>
                    <a:pt x="10873" y="1366"/>
                  </a:lnTo>
                  <a:lnTo>
                    <a:pt x="10858" y="1378"/>
                  </a:lnTo>
                  <a:lnTo>
                    <a:pt x="10842" y="1390"/>
                  </a:lnTo>
                  <a:lnTo>
                    <a:pt x="10825" y="1402"/>
                  </a:lnTo>
                  <a:lnTo>
                    <a:pt x="10807" y="1412"/>
                  </a:lnTo>
                  <a:lnTo>
                    <a:pt x="10790" y="1423"/>
                  </a:lnTo>
                  <a:lnTo>
                    <a:pt x="10773" y="1433"/>
                  </a:lnTo>
                  <a:lnTo>
                    <a:pt x="10754" y="1442"/>
                  </a:lnTo>
                  <a:lnTo>
                    <a:pt x="10735" y="1451"/>
                  </a:lnTo>
                  <a:lnTo>
                    <a:pt x="10716" y="1459"/>
                  </a:lnTo>
                  <a:lnTo>
                    <a:pt x="10696" y="1466"/>
                  </a:lnTo>
                  <a:lnTo>
                    <a:pt x="10676" y="1473"/>
                  </a:lnTo>
                  <a:lnTo>
                    <a:pt x="10656" y="1479"/>
                  </a:lnTo>
                  <a:lnTo>
                    <a:pt x="10634" y="1486"/>
                  </a:lnTo>
                  <a:lnTo>
                    <a:pt x="10613" y="1491"/>
                  </a:lnTo>
                  <a:lnTo>
                    <a:pt x="10591" y="1495"/>
                  </a:lnTo>
                  <a:lnTo>
                    <a:pt x="10567" y="1499"/>
                  </a:lnTo>
                  <a:lnTo>
                    <a:pt x="10544" y="1502"/>
                  </a:lnTo>
                  <a:lnTo>
                    <a:pt x="10521" y="1505"/>
                  </a:lnTo>
                  <a:lnTo>
                    <a:pt x="10496" y="1507"/>
                  </a:lnTo>
                  <a:lnTo>
                    <a:pt x="10471" y="1509"/>
                  </a:lnTo>
                  <a:lnTo>
                    <a:pt x="10445" y="1510"/>
                  </a:lnTo>
                  <a:lnTo>
                    <a:pt x="10419" y="1510"/>
                  </a:lnTo>
                  <a:lnTo>
                    <a:pt x="10386" y="1509"/>
                  </a:lnTo>
                  <a:lnTo>
                    <a:pt x="10355" y="1507"/>
                  </a:lnTo>
                  <a:lnTo>
                    <a:pt x="10324" y="1504"/>
                  </a:lnTo>
                  <a:lnTo>
                    <a:pt x="10294" y="1500"/>
                  </a:lnTo>
                  <a:lnTo>
                    <a:pt x="10264" y="1494"/>
                  </a:lnTo>
                  <a:lnTo>
                    <a:pt x="10236" y="1487"/>
                  </a:lnTo>
                  <a:lnTo>
                    <a:pt x="10207" y="1478"/>
                  </a:lnTo>
                  <a:lnTo>
                    <a:pt x="10180" y="1468"/>
                  </a:lnTo>
                  <a:lnTo>
                    <a:pt x="10153" y="1458"/>
                  </a:lnTo>
                  <a:lnTo>
                    <a:pt x="10128" y="1446"/>
                  </a:lnTo>
                  <a:lnTo>
                    <a:pt x="10104" y="1433"/>
                  </a:lnTo>
                  <a:lnTo>
                    <a:pt x="10080" y="1418"/>
                  </a:lnTo>
                  <a:lnTo>
                    <a:pt x="10057" y="1403"/>
                  </a:lnTo>
                  <a:lnTo>
                    <a:pt x="10035" y="1387"/>
                  </a:lnTo>
                  <a:lnTo>
                    <a:pt x="10014" y="1370"/>
                  </a:lnTo>
                  <a:lnTo>
                    <a:pt x="9994" y="1351"/>
                  </a:lnTo>
                  <a:lnTo>
                    <a:pt x="9975" y="1332"/>
                  </a:lnTo>
                  <a:lnTo>
                    <a:pt x="9957" y="1312"/>
                  </a:lnTo>
                  <a:lnTo>
                    <a:pt x="9941" y="1289"/>
                  </a:lnTo>
                  <a:lnTo>
                    <a:pt x="9925" y="1268"/>
                  </a:lnTo>
                  <a:lnTo>
                    <a:pt x="9910" y="1245"/>
                  </a:lnTo>
                  <a:lnTo>
                    <a:pt x="9896" y="1220"/>
                  </a:lnTo>
                  <a:lnTo>
                    <a:pt x="9884" y="1195"/>
                  </a:lnTo>
                  <a:lnTo>
                    <a:pt x="9873" y="1169"/>
                  </a:lnTo>
                  <a:lnTo>
                    <a:pt x="9864" y="1143"/>
                  </a:lnTo>
                  <a:lnTo>
                    <a:pt x="9854" y="1114"/>
                  </a:lnTo>
                  <a:lnTo>
                    <a:pt x="9847" y="1087"/>
                  </a:lnTo>
                  <a:lnTo>
                    <a:pt x="9841" y="1057"/>
                  </a:lnTo>
                  <a:lnTo>
                    <a:pt x="9836" y="1028"/>
                  </a:lnTo>
                  <a:lnTo>
                    <a:pt x="9833" y="998"/>
                  </a:lnTo>
                  <a:lnTo>
                    <a:pt x="9831" y="966"/>
                  </a:lnTo>
                  <a:lnTo>
                    <a:pt x="9830" y="933"/>
                  </a:lnTo>
                  <a:lnTo>
                    <a:pt x="9831" y="901"/>
                  </a:lnTo>
                  <a:lnTo>
                    <a:pt x="9833" y="869"/>
                  </a:lnTo>
                  <a:lnTo>
                    <a:pt x="9836" y="839"/>
                  </a:lnTo>
                  <a:lnTo>
                    <a:pt x="9840" y="808"/>
                  </a:lnTo>
                  <a:lnTo>
                    <a:pt x="9846" y="779"/>
                  </a:lnTo>
                  <a:lnTo>
                    <a:pt x="9853" y="750"/>
                  </a:lnTo>
                  <a:lnTo>
                    <a:pt x="9863" y="723"/>
                  </a:lnTo>
                  <a:lnTo>
                    <a:pt x="9872" y="696"/>
                  </a:lnTo>
                  <a:lnTo>
                    <a:pt x="9883" y="670"/>
                  </a:lnTo>
                  <a:lnTo>
                    <a:pt x="9894" y="645"/>
                  </a:lnTo>
                  <a:lnTo>
                    <a:pt x="9907" y="620"/>
                  </a:lnTo>
                  <a:lnTo>
                    <a:pt x="9923" y="597"/>
                  </a:lnTo>
                  <a:lnTo>
                    <a:pt x="9938" y="575"/>
                  </a:lnTo>
                  <a:lnTo>
                    <a:pt x="9954" y="553"/>
                  </a:lnTo>
                  <a:lnTo>
                    <a:pt x="9971" y="533"/>
                  </a:lnTo>
                  <a:lnTo>
                    <a:pt x="9991" y="513"/>
                  </a:lnTo>
                  <a:lnTo>
                    <a:pt x="10010" y="496"/>
                  </a:lnTo>
                  <a:lnTo>
                    <a:pt x="10031" y="479"/>
                  </a:lnTo>
                  <a:lnTo>
                    <a:pt x="10053" y="463"/>
                  </a:lnTo>
                  <a:lnTo>
                    <a:pt x="10075" y="447"/>
                  </a:lnTo>
                  <a:lnTo>
                    <a:pt x="10099" y="433"/>
                  </a:lnTo>
                  <a:lnTo>
                    <a:pt x="10124" y="420"/>
                  </a:lnTo>
                  <a:lnTo>
                    <a:pt x="10149" y="409"/>
                  </a:lnTo>
                  <a:lnTo>
                    <a:pt x="10176" y="399"/>
                  </a:lnTo>
                  <a:lnTo>
                    <a:pt x="10203" y="388"/>
                  </a:lnTo>
                  <a:lnTo>
                    <a:pt x="10232" y="380"/>
                  </a:lnTo>
                  <a:lnTo>
                    <a:pt x="10261" y="373"/>
                  </a:lnTo>
                  <a:lnTo>
                    <a:pt x="10291" y="368"/>
                  </a:lnTo>
                  <a:lnTo>
                    <a:pt x="10322" y="363"/>
                  </a:lnTo>
                  <a:lnTo>
                    <a:pt x="10354" y="360"/>
                  </a:lnTo>
                  <a:lnTo>
                    <a:pt x="10386" y="358"/>
                  </a:lnTo>
                  <a:lnTo>
                    <a:pt x="10419" y="358"/>
                  </a:lnTo>
                  <a:lnTo>
                    <a:pt x="10445" y="358"/>
                  </a:lnTo>
                  <a:lnTo>
                    <a:pt x="10471" y="359"/>
                  </a:lnTo>
                  <a:lnTo>
                    <a:pt x="10496" y="360"/>
                  </a:lnTo>
                  <a:lnTo>
                    <a:pt x="10521" y="362"/>
                  </a:lnTo>
                  <a:lnTo>
                    <a:pt x="10544" y="365"/>
                  </a:lnTo>
                  <a:lnTo>
                    <a:pt x="10567" y="368"/>
                  </a:lnTo>
                  <a:lnTo>
                    <a:pt x="10591" y="372"/>
                  </a:lnTo>
                  <a:lnTo>
                    <a:pt x="10613" y="377"/>
                  </a:lnTo>
                  <a:lnTo>
                    <a:pt x="10634" y="382"/>
                  </a:lnTo>
                  <a:lnTo>
                    <a:pt x="10656" y="388"/>
                  </a:lnTo>
                  <a:lnTo>
                    <a:pt x="10676" y="395"/>
                  </a:lnTo>
                  <a:lnTo>
                    <a:pt x="10696" y="402"/>
                  </a:lnTo>
                  <a:lnTo>
                    <a:pt x="10716" y="409"/>
                  </a:lnTo>
                  <a:lnTo>
                    <a:pt x="10735" y="417"/>
                  </a:lnTo>
                  <a:lnTo>
                    <a:pt x="10754" y="425"/>
                  </a:lnTo>
                  <a:lnTo>
                    <a:pt x="10773" y="435"/>
                  </a:lnTo>
                  <a:lnTo>
                    <a:pt x="10790" y="444"/>
                  </a:lnTo>
                  <a:lnTo>
                    <a:pt x="10807" y="455"/>
                  </a:lnTo>
                  <a:lnTo>
                    <a:pt x="10825" y="466"/>
                  </a:lnTo>
                  <a:lnTo>
                    <a:pt x="10842" y="477"/>
                  </a:lnTo>
                  <a:lnTo>
                    <a:pt x="10858" y="489"/>
                  </a:lnTo>
                  <a:lnTo>
                    <a:pt x="10873" y="502"/>
                  </a:lnTo>
                  <a:lnTo>
                    <a:pt x="10890" y="515"/>
                  </a:lnTo>
                  <a:lnTo>
                    <a:pt x="10904" y="529"/>
                  </a:lnTo>
                  <a:lnTo>
                    <a:pt x="10919" y="543"/>
                  </a:lnTo>
                  <a:lnTo>
                    <a:pt x="10933" y="557"/>
                  </a:lnTo>
                  <a:lnTo>
                    <a:pt x="10948" y="572"/>
                  </a:lnTo>
                  <a:lnTo>
                    <a:pt x="10962" y="589"/>
                  </a:lnTo>
                  <a:lnTo>
                    <a:pt x="10975" y="605"/>
                  </a:lnTo>
                  <a:lnTo>
                    <a:pt x="10988" y="621"/>
                  </a:lnTo>
                  <a:lnTo>
                    <a:pt x="11002" y="639"/>
                  </a:lnTo>
                  <a:lnTo>
                    <a:pt x="11015" y="657"/>
                  </a:lnTo>
                  <a:lnTo>
                    <a:pt x="11327" y="4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490538" y="487363"/>
              <a:ext cx="466725" cy="455612"/>
            </a:xfrm>
            <a:custGeom>
              <a:avLst/>
              <a:gdLst>
                <a:gd name="T0" fmla="*/ 1853 w 3532"/>
                <a:gd name="T1" fmla="*/ 1336 h 3444"/>
                <a:gd name="T2" fmla="*/ 1828 w 3532"/>
                <a:gd name="T3" fmla="*/ 1351 h 3444"/>
                <a:gd name="T4" fmla="*/ 1795 w 3532"/>
                <a:gd name="T5" fmla="*/ 1349 h 3444"/>
                <a:gd name="T6" fmla="*/ 1104 w 3532"/>
                <a:gd name="T7" fmla="*/ 1069 h 3444"/>
                <a:gd name="T8" fmla="*/ 1071 w 3532"/>
                <a:gd name="T9" fmla="*/ 1010 h 3444"/>
                <a:gd name="T10" fmla="*/ 1204 w 3532"/>
                <a:gd name="T11" fmla="*/ 141 h 3444"/>
                <a:gd name="T12" fmla="*/ 1231 w 3532"/>
                <a:gd name="T13" fmla="*/ 77 h 3444"/>
                <a:gd name="T14" fmla="*/ 1287 w 3532"/>
                <a:gd name="T15" fmla="*/ 37 h 3444"/>
                <a:gd name="T16" fmla="*/ 2026 w 3532"/>
                <a:gd name="T17" fmla="*/ 0 h 3444"/>
                <a:gd name="T18" fmla="*/ 2055 w 3532"/>
                <a:gd name="T19" fmla="*/ 11 h 3444"/>
                <a:gd name="T20" fmla="*/ 2072 w 3532"/>
                <a:gd name="T21" fmla="*/ 37 h 3444"/>
                <a:gd name="T22" fmla="*/ 1399 w 3532"/>
                <a:gd name="T23" fmla="*/ 1554 h 3444"/>
                <a:gd name="T24" fmla="*/ 1417 w 3532"/>
                <a:gd name="T25" fmla="*/ 1578 h 3444"/>
                <a:gd name="T26" fmla="*/ 1414 w 3532"/>
                <a:gd name="T27" fmla="*/ 1610 h 3444"/>
                <a:gd name="T28" fmla="*/ 958 w 3532"/>
                <a:gd name="T29" fmla="*/ 2172 h 3444"/>
                <a:gd name="T30" fmla="*/ 893 w 3532"/>
                <a:gd name="T31" fmla="*/ 2208 h 3444"/>
                <a:gd name="T32" fmla="*/ 826 w 3532"/>
                <a:gd name="T33" fmla="*/ 2201 h 3444"/>
                <a:gd name="T34" fmla="*/ 45 w 3532"/>
                <a:gd name="T35" fmla="*/ 1796 h 3444"/>
                <a:gd name="T36" fmla="*/ 6 w 3532"/>
                <a:gd name="T37" fmla="*/ 1741 h 3444"/>
                <a:gd name="T38" fmla="*/ 4 w 3532"/>
                <a:gd name="T39" fmla="*/ 1664 h 3444"/>
                <a:gd name="T40" fmla="*/ 200 w 3532"/>
                <a:gd name="T41" fmla="*/ 976 h 3444"/>
                <a:gd name="T42" fmla="*/ 226 w 3532"/>
                <a:gd name="T43" fmla="*/ 959 h 3444"/>
                <a:gd name="T44" fmla="*/ 255 w 3532"/>
                <a:gd name="T45" fmla="*/ 963 h 3444"/>
                <a:gd name="T46" fmla="*/ 1491 w 3532"/>
                <a:gd name="T47" fmla="*/ 2055 h 3444"/>
                <a:gd name="T48" fmla="*/ 1521 w 3532"/>
                <a:gd name="T49" fmla="*/ 2057 h 3444"/>
                <a:gd name="T50" fmla="*/ 1546 w 3532"/>
                <a:gd name="T51" fmla="*/ 2077 h 3444"/>
                <a:gd name="T52" fmla="*/ 1940 w 3532"/>
                <a:gd name="T53" fmla="*/ 2711 h 3444"/>
                <a:gd name="T54" fmla="*/ 1933 w 3532"/>
                <a:gd name="T55" fmla="*/ 2779 h 3444"/>
                <a:gd name="T56" fmla="*/ 1315 w 3532"/>
                <a:gd name="T57" fmla="*/ 3402 h 3444"/>
                <a:gd name="T58" fmla="*/ 1256 w 3532"/>
                <a:gd name="T59" fmla="*/ 3439 h 3444"/>
                <a:gd name="T60" fmla="*/ 1187 w 3532"/>
                <a:gd name="T61" fmla="*/ 3439 h 3444"/>
                <a:gd name="T62" fmla="*/ 567 w 3532"/>
                <a:gd name="T63" fmla="*/ 3035 h 3444"/>
                <a:gd name="T64" fmla="*/ 549 w 3532"/>
                <a:gd name="T65" fmla="*/ 3009 h 3444"/>
                <a:gd name="T66" fmla="*/ 551 w 3532"/>
                <a:gd name="T67" fmla="*/ 2978 h 3444"/>
                <a:gd name="T68" fmla="*/ 1987 w 3532"/>
                <a:gd name="T69" fmla="*/ 2144 h 3444"/>
                <a:gd name="T70" fmla="*/ 1988 w 3532"/>
                <a:gd name="T71" fmla="*/ 2114 h 3444"/>
                <a:gd name="T72" fmla="*/ 2009 w 3532"/>
                <a:gd name="T73" fmla="*/ 2091 h 3444"/>
                <a:gd name="T74" fmla="*/ 2707 w 3532"/>
                <a:gd name="T75" fmla="*/ 1899 h 3444"/>
                <a:gd name="T76" fmla="*/ 2780 w 3532"/>
                <a:gd name="T77" fmla="*/ 1910 h 3444"/>
                <a:gd name="T78" fmla="*/ 2832 w 3532"/>
                <a:gd name="T79" fmla="*/ 1953 h 3444"/>
                <a:gd name="T80" fmla="*/ 3229 w 3532"/>
                <a:gd name="T81" fmla="*/ 2739 h 3444"/>
                <a:gd name="T82" fmla="*/ 3227 w 3532"/>
                <a:gd name="T83" fmla="*/ 2806 h 3444"/>
                <a:gd name="T84" fmla="*/ 3184 w 3532"/>
                <a:gd name="T85" fmla="*/ 2871 h 3444"/>
                <a:gd name="T86" fmla="*/ 2624 w 3532"/>
                <a:gd name="T87" fmla="*/ 3314 h 3444"/>
                <a:gd name="T88" fmla="*/ 2593 w 3532"/>
                <a:gd name="T89" fmla="*/ 3313 h 3444"/>
                <a:gd name="T90" fmla="*/ 2570 w 3532"/>
                <a:gd name="T91" fmla="*/ 3292 h 3444"/>
                <a:gd name="T92" fmla="*/ 2206 w 3532"/>
                <a:gd name="T93" fmla="*/ 1686 h 3444"/>
                <a:gd name="T94" fmla="*/ 2183 w 3532"/>
                <a:gd name="T95" fmla="*/ 1667 h 3444"/>
                <a:gd name="T96" fmla="*/ 2176 w 3532"/>
                <a:gd name="T97" fmla="*/ 1635 h 3444"/>
                <a:gd name="T98" fmla="*/ 2229 w 3532"/>
                <a:gd name="T99" fmla="*/ 892 h 3444"/>
                <a:gd name="T100" fmla="*/ 2275 w 3532"/>
                <a:gd name="T101" fmla="*/ 841 h 3444"/>
                <a:gd name="T102" fmla="*/ 3142 w 3532"/>
                <a:gd name="T103" fmla="*/ 700 h 3444"/>
                <a:gd name="T104" fmla="*/ 3211 w 3532"/>
                <a:gd name="T105" fmla="*/ 706 h 3444"/>
                <a:gd name="T106" fmla="*/ 3268 w 3532"/>
                <a:gd name="T107" fmla="*/ 746 h 3444"/>
                <a:gd name="T108" fmla="*/ 3530 w 3532"/>
                <a:gd name="T109" fmla="*/ 1438 h 3444"/>
                <a:gd name="T110" fmla="*/ 3529 w 3532"/>
                <a:gd name="T111" fmla="*/ 1469 h 3444"/>
                <a:gd name="T112" fmla="*/ 3510 w 3532"/>
                <a:gd name="T113" fmla="*/ 1493 h 3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32" h="3444">
                  <a:moveTo>
                    <a:pt x="2072" y="52"/>
                  </a:moveTo>
                  <a:lnTo>
                    <a:pt x="1861" y="1317"/>
                  </a:lnTo>
                  <a:lnTo>
                    <a:pt x="1860" y="1322"/>
                  </a:lnTo>
                  <a:lnTo>
                    <a:pt x="1858" y="1327"/>
                  </a:lnTo>
                  <a:lnTo>
                    <a:pt x="1856" y="1332"/>
                  </a:lnTo>
                  <a:lnTo>
                    <a:pt x="1853" y="1336"/>
                  </a:lnTo>
                  <a:lnTo>
                    <a:pt x="1849" y="1340"/>
                  </a:lnTo>
                  <a:lnTo>
                    <a:pt x="1846" y="1343"/>
                  </a:lnTo>
                  <a:lnTo>
                    <a:pt x="1842" y="1346"/>
                  </a:lnTo>
                  <a:lnTo>
                    <a:pt x="1837" y="1348"/>
                  </a:lnTo>
                  <a:lnTo>
                    <a:pt x="1833" y="1350"/>
                  </a:lnTo>
                  <a:lnTo>
                    <a:pt x="1828" y="1351"/>
                  </a:lnTo>
                  <a:lnTo>
                    <a:pt x="1822" y="1352"/>
                  </a:lnTo>
                  <a:lnTo>
                    <a:pt x="1817" y="1353"/>
                  </a:lnTo>
                  <a:lnTo>
                    <a:pt x="1811" y="1352"/>
                  </a:lnTo>
                  <a:lnTo>
                    <a:pt x="1806" y="1352"/>
                  </a:lnTo>
                  <a:lnTo>
                    <a:pt x="1801" y="1351"/>
                  </a:lnTo>
                  <a:lnTo>
                    <a:pt x="1795" y="1349"/>
                  </a:lnTo>
                  <a:lnTo>
                    <a:pt x="1163" y="1105"/>
                  </a:lnTo>
                  <a:lnTo>
                    <a:pt x="1149" y="1099"/>
                  </a:lnTo>
                  <a:lnTo>
                    <a:pt x="1136" y="1092"/>
                  </a:lnTo>
                  <a:lnTo>
                    <a:pt x="1125" y="1085"/>
                  </a:lnTo>
                  <a:lnTo>
                    <a:pt x="1114" y="1077"/>
                  </a:lnTo>
                  <a:lnTo>
                    <a:pt x="1104" y="1069"/>
                  </a:lnTo>
                  <a:lnTo>
                    <a:pt x="1096" y="1060"/>
                  </a:lnTo>
                  <a:lnTo>
                    <a:pt x="1089" y="1050"/>
                  </a:lnTo>
                  <a:lnTo>
                    <a:pt x="1083" y="1041"/>
                  </a:lnTo>
                  <a:lnTo>
                    <a:pt x="1078" y="1031"/>
                  </a:lnTo>
                  <a:lnTo>
                    <a:pt x="1074" y="1020"/>
                  </a:lnTo>
                  <a:lnTo>
                    <a:pt x="1071" y="1010"/>
                  </a:lnTo>
                  <a:lnTo>
                    <a:pt x="1068" y="999"/>
                  </a:lnTo>
                  <a:lnTo>
                    <a:pt x="1067" y="986"/>
                  </a:lnTo>
                  <a:lnTo>
                    <a:pt x="1067" y="975"/>
                  </a:lnTo>
                  <a:lnTo>
                    <a:pt x="1068" y="963"/>
                  </a:lnTo>
                  <a:lnTo>
                    <a:pt x="1069" y="951"/>
                  </a:lnTo>
                  <a:lnTo>
                    <a:pt x="1204" y="141"/>
                  </a:lnTo>
                  <a:lnTo>
                    <a:pt x="1206" y="130"/>
                  </a:lnTo>
                  <a:lnTo>
                    <a:pt x="1209" y="118"/>
                  </a:lnTo>
                  <a:lnTo>
                    <a:pt x="1213" y="107"/>
                  </a:lnTo>
                  <a:lnTo>
                    <a:pt x="1218" y="97"/>
                  </a:lnTo>
                  <a:lnTo>
                    <a:pt x="1224" y="86"/>
                  </a:lnTo>
                  <a:lnTo>
                    <a:pt x="1231" y="77"/>
                  </a:lnTo>
                  <a:lnTo>
                    <a:pt x="1238" y="69"/>
                  </a:lnTo>
                  <a:lnTo>
                    <a:pt x="1246" y="61"/>
                  </a:lnTo>
                  <a:lnTo>
                    <a:pt x="1255" y="54"/>
                  </a:lnTo>
                  <a:lnTo>
                    <a:pt x="1265" y="47"/>
                  </a:lnTo>
                  <a:lnTo>
                    <a:pt x="1275" y="42"/>
                  </a:lnTo>
                  <a:lnTo>
                    <a:pt x="1287" y="37"/>
                  </a:lnTo>
                  <a:lnTo>
                    <a:pt x="1300" y="33"/>
                  </a:lnTo>
                  <a:lnTo>
                    <a:pt x="1313" y="29"/>
                  </a:lnTo>
                  <a:lnTo>
                    <a:pt x="1327" y="27"/>
                  </a:lnTo>
                  <a:lnTo>
                    <a:pt x="1342" y="26"/>
                  </a:lnTo>
                  <a:lnTo>
                    <a:pt x="2020" y="0"/>
                  </a:lnTo>
                  <a:lnTo>
                    <a:pt x="2026" y="0"/>
                  </a:lnTo>
                  <a:lnTo>
                    <a:pt x="2031" y="1"/>
                  </a:lnTo>
                  <a:lnTo>
                    <a:pt x="2036" y="2"/>
                  </a:lnTo>
                  <a:lnTo>
                    <a:pt x="2042" y="3"/>
                  </a:lnTo>
                  <a:lnTo>
                    <a:pt x="2046" y="5"/>
                  </a:lnTo>
                  <a:lnTo>
                    <a:pt x="2051" y="8"/>
                  </a:lnTo>
                  <a:lnTo>
                    <a:pt x="2055" y="11"/>
                  </a:lnTo>
                  <a:lnTo>
                    <a:pt x="2059" y="14"/>
                  </a:lnTo>
                  <a:lnTo>
                    <a:pt x="2062" y="18"/>
                  </a:lnTo>
                  <a:lnTo>
                    <a:pt x="2066" y="22"/>
                  </a:lnTo>
                  <a:lnTo>
                    <a:pt x="2068" y="26"/>
                  </a:lnTo>
                  <a:lnTo>
                    <a:pt x="2070" y="32"/>
                  </a:lnTo>
                  <a:lnTo>
                    <a:pt x="2072" y="37"/>
                  </a:lnTo>
                  <a:lnTo>
                    <a:pt x="2072" y="42"/>
                  </a:lnTo>
                  <a:lnTo>
                    <a:pt x="2073" y="47"/>
                  </a:lnTo>
                  <a:lnTo>
                    <a:pt x="2072" y="52"/>
                  </a:lnTo>
                  <a:close/>
                  <a:moveTo>
                    <a:pt x="255" y="963"/>
                  </a:moveTo>
                  <a:lnTo>
                    <a:pt x="1394" y="1551"/>
                  </a:lnTo>
                  <a:lnTo>
                    <a:pt x="1399" y="1554"/>
                  </a:lnTo>
                  <a:lnTo>
                    <a:pt x="1403" y="1557"/>
                  </a:lnTo>
                  <a:lnTo>
                    <a:pt x="1408" y="1561"/>
                  </a:lnTo>
                  <a:lnTo>
                    <a:pt x="1411" y="1565"/>
                  </a:lnTo>
                  <a:lnTo>
                    <a:pt x="1413" y="1569"/>
                  </a:lnTo>
                  <a:lnTo>
                    <a:pt x="1415" y="1574"/>
                  </a:lnTo>
                  <a:lnTo>
                    <a:pt x="1417" y="1578"/>
                  </a:lnTo>
                  <a:lnTo>
                    <a:pt x="1418" y="1583"/>
                  </a:lnTo>
                  <a:lnTo>
                    <a:pt x="1418" y="1588"/>
                  </a:lnTo>
                  <a:lnTo>
                    <a:pt x="1418" y="1593"/>
                  </a:lnTo>
                  <a:lnTo>
                    <a:pt x="1417" y="1599"/>
                  </a:lnTo>
                  <a:lnTo>
                    <a:pt x="1416" y="1605"/>
                  </a:lnTo>
                  <a:lnTo>
                    <a:pt x="1414" y="1610"/>
                  </a:lnTo>
                  <a:lnTo>
                    <a:pt x="1412" y="1614"/>
                  </a:lnTo>
                  <a:lnTo>
                    <a:pt x="1409" y="1619"/>
                  </a:lnTo>
                  <a:lnTo>
                    <a:pt x="1405" y="1624"/>
                  </a:lnTo>
                  <a:lnTo>
                    <a:pt x="978" y="2151"/>
                  </a:lnTo>
                  <a:lnTo>
                    <a:pt x="969" y="2162"/>
                  </a:lnTo>
                  <a:lnTo>
                    <a:pt x="958" y="2172"/>
                  </a:lnTo>
                  <a:lnTo>
                    <a:pt x="948" y="2181"/>
                  </a:lnTo>
                  <a:lnTo>
                    <a:pt x="938" y="2188"/>
                  </a:lnTo>
                  <a:lnTo>
                    <a:pt x="926" y="2195"/>
                  </a:lnTo>
                  <a:lnTo>
                    <a:pt x="915" y="2200"/>
                  </a:lnTo>
                  <a:lnTo>
                    <a:pt x="904" y="2204"/>
                  </a:lnTo>
                  <a:lnTo>
                    <a:pt x="893" y="2208"/>
                  </a:lnTo>
                  <a:lnTo>
                    <a:pt x="882" y="2209"/>
                  </a:lnTo>
                  <a:lnTo>
                    <a:pt x="871" y="2210"/>
                  </a:lnTo>
                  <a:lnTo>
                    <a:pt x="859" y="2209"/>
                  </a:lnTo>
                  <a:lnTo>
                    <a:pt x="848" y="2208"/>
                  </a:lnTo>
                  <a:lnTo>
                    <a:pt x="837" y="2206"/>
                  </a:lnTo>
                  <a:lnTo>
                    <a:pt x="826" y="2201"/>
                  </a:lnTo>
                  <a:lnTo>
                    <a:pt x="815" y="2197"/>
                  </a:lnTo>
                  <a:lnTo>
                    <a:pt x="803" y="2192"/>
                  </a:lnTo>
                  <a:lnTo>
                    <a:pt x="74" y="1816"/>
                  </a:lnTo>
                  <a:lnTo>
                    <a:pt x="64" y="1810"/>
                  </a:lnTo>
                  <a:lnTo>
                    <a:pt x="54" y="1803"/>
                  </a:lnTo>
                  <a:lnTo>
                    <a:pt x="45" y="1796"/>
                  </a:lnTo>
                  <a:lnTo>
                    <a:pt x="37" y="1789"/>
                  </a:lnTo>
                  <a:lnTo>
                    <a:pt x="28" y="1779"/>
                  </a:lnTo>
                  <a:lnTo>
                    <a:pt x="21" y="1771"/>
                  </a:lnTo>
                  <a:lnTo>
                    <a:pt x="15" y="1761"/>
                  </a:lnTo>
                  <a:lnTo>
                    <a:pt x="10" y="1751"/>
                  </a:lnTo>
                  <a:lnTo>
                    <a:pt x="6" y="1741"/>
                  </a:lnTo>
                  <a:lnTo>
                    <a:pt x="3" y="1729"/>
                  </a:lnTo>
                  <a:lnTo>
                    <a:pt x="1" y="1717"/>
                  </a:lnTo>
                  <a:lnTo>
                    <a:pt x="0" y="1704"/>
                  </a:lnTo>
                  <a:lnTo>
                    <a:pt x="0" y="1691"/>
                  </a:lnTo>
                  <a:lnTo>
                    <a:pt x="1" y="1678"/>
                  </a:lnTo>
                  <a:lnTo>
                    <a:pt x="4" y="1664"/>
                  </a:lnTo>
                  <a:lnTo>
                    <a:pt x="7" y="1648"/>
                  </a:lnTo>
                  <a:lnTo>
                    <a:pt x="190" y="995"/>
                  </a:lnTo>
                  <a:lnTo>
                    <a:pt x="192" y="990"/>
                  </a:lnTo>
                  <a:lnTo>
                    <a:pt x="194" y="985"/>
                  </a:lnTo>
                  <a:lnTo>
                    <a:pt x="197" y="980"/>
                  </a:lnTo>
                  <a:lnTo>
                    <a:pt x="200" y="976"/>
                  </a:lnTo>
                  <a:lnTo>
                    <a:pt x="203" y="972"/>
                  </a:lnTo>
                  <a:lnTo>
                    <a:pt x="207" y="969"/>
                  </a:lnTo>
                  <a:lnTo>
                    <a:pt x="212" y="965"/>
                  </a:lnTo>
                  <a:lnTo>
                    <a:pt x="216" y="963"/>
                  </a:lnTo>
                  <a:lnTo>
                    <a:pt x="221" y="961"/>
                  </a:lnTo>
                  <a:lnTo>
                    <a:pt x="226" y="959"/>
                  </a:lnTo>
                  <a:lnTo>
                    <a:pt x="230" y="958"/>
                  </a:lnTo>
                  <a:lnTo>
                    <a:pt x="235" y="958"/>
                  </a:lnTo>
                  <a:lnTo>
                    <a:pt x="240" y="958"/>
                  </a:lnTo>
                  <a:lnTo>
                    <a:pt x="245" y="959"/>
                  </a:lnTo>
                  <a:lnTo>
                    <a:pt x="250" y="960"/>
                  </a:lnTo>
                  <a:lnTo>
                    <a:pt x="255" y="963"/>
                  </a:lnTo>
                  <a:close/>
                  <a:moveTo>
                    <a:pt x="560" y="2966"/>
                  </a:moveTo>
                  <a:lnTo>
                    <a:pt x="1474" y="2066"/>
                  </a:lnTo>
                  <a:lnTo>
                    <a:pt x="1478" y="2062"/>
                  </a:lnTo>
                  <a:lnTo>
                    <a:pt x="1482" y="2059"/>
                  </a:lnTo>
                  <a:lnTo>
                    <a:pt x="1487" y="2057"/>
                  </a:lnTo>
                  <a:lnTo>
                    <a:pt x="1491" y="2055"/>
                  </a:lnTo>
                  <a:lnTo>
                    <a:pt x="1496" y="2054"/>
                  </a:lnTo>
                  <a:lnTo>
                    <a:pt x="1501" y="2053"/>
                  </a:lnTo>
                  <a:lnTo>
                    <a:pt x="1506" y="2054"/>
                  </a:lnTo>
                  <a:lnTo>
                    <a:pt x="1511" y="2054"/>
                  </a:lnTo>
                  <a:lnTo>
                    <a:pt x="1516" y="2055"/>
                  </a:lnTo>
                  <a:lnTo>
                    <a:pt x="1521" y="2057"/>
                  </a:lnTo>
                  <a:lnTo>
                    <a:pt x="1526" y="2059"/>
                  </a:lnTo>
                  <a:lnTo>
                    <a:pt x="1531" y="2062"/>
                  </a:lnTo>
                  <a:lnTo>
                    <a:pt x="1535" y="2065"/>
                  </a:lnTo>
                  <a:lnTo>
                    <a:pt x="1539" y="2069"/>
                  </a:lnTo>
                  <a:lnTo>
                    <a:pt x="1543" y="2073"/>
                  </a:lnTo>
                  <a:lnTo>
                    <a:pt x="1546" y="2077"/>
                  </a:lnTo>
                  <a:lnTo>
                    <a:pt x="1914" y="2647"/>
                  </a:lnTo>
                  <a:lnTo>
                    <a:pt x="1922" y="2660"/>
                  </a:lnTo>
                  <a:lnTo>
                    <a:pt x="1928" y="2673"/>
                  </a:lnTo>
                  <a:lnTo>
                    <a:pt x="1933" y="2685"/>
                  </a:lnTo>
                  <a:lnTo>
                    <a:pt x="1937" y="2699"/>
                  </a:lnTo>
                  <a:lnTo>
                    <a:pt x="1940" y="2711"/>
                  </a:lnTo>
                  <a:lnTo>
                    <a:pt x="1941" y="2723"/>
                  </a:lnTo>
                  <a:lnTo>
                    <a:pt x="1942" y="2734"/>
                  </a:lnTo>
                  <a:lnTo>
                    <a:pt x="1941" y="2745"/>
                  </a:lnTo>
                  <a:lnTo>
                    <a:pt x="1939" y="2758"/>
                  </a:lnTo>
                  <a:lnTo>
                    <a:pt x="1936" y="2768"/>
                  </a:lnTo>
                  <a:lnTo>
                    <a:pt x="1933" y="2779"/>
                  </a:lnTo>
                  <a:lnTo>
                    <a:pt x="1928" y="2789"/>
                  </a:lnTo>
                  <a:lnTo>
                    <a:pt x="1922" y="2799"/>
                  </a:lnTo>
                  <a:lnTo>
                    <a:pt x="1915" y="2808"/>
                  </a:lnTo>
                  <a:lnTo>
                    <a:pt x="1908" y="2818"/>
                  </a:lnTo>
                  <a:lnTo>
                    <a:pt x="1900" y="2827"/>
                  </a:lnTo>
                  <a:lnTo>
                    <a:pt x="1315" y="3402"/>
                  </a:lnTo>
                  <a:lnTo>
                    <a:pt x="1307" y="3410"/>
                  </a:lnTo>
                  <a:lnTo>
                    <a:pt x="1297" y="3419"/>
                  </a:lnTo>
                  <a:lnTo>
                    <a:pt x="1288" y="3425"/>
                  </a:lnTo>
                  <a:lnTo>
                    <a:pt x="1277" y="3431"/>
                  </a:lnTo>
                  <a:lnTo>
                    <a:pt x="1267" y="3435"/>
                  </a:lnTo>
                  <a:lnTo>
                    <a:pt x="1256" y="3439"/>
                  </a:lnTo>
                  <a:lnTo>
                    <a:pt x="1245" y="3442"/>
                  </a:lnTo>
                  <a:lnTo>
                    <a:pt x="1234" y="3443"/>
                  </a:lnTo>
                  <a:lnTo>
                    <a:pt x="1222" y="3444"/>
                  </a:lnTo>
                  <a:lnTo>
                    <a:pt x="1211" y="3443"/>
                  </a:lnTo>
                  <a:lnTo>
                    <a:pt x="1199" y="3442"/>
                  </a:lnTo>
                  <a:lnTo>
                    <a:pt x="1187" y="3439"/>
                  </a:lnTo>
                  <a:lnTo>
                    <a:pt x="1174" y="3435"/>
                  </a:lnTo>
                  <a:lnTo>
                    <a:pt x="1161" y="3430"/>
                  </a:lnTo>
                  <a:lnTo>
                    <a:pt x="1148" y="3423"/>
                  </a:lnTo>
                  <a:lnTo>
                    <a:pt x="1136" y="3415"/>
                  </a:lnTo>
                  <a:lnTo>
                    <a:pt x="572" y="3038"/>
                  </a:lnTo>
                  <a:lnTo>
                    <a:pt x="567" y="3035"/>
                  </a:lnTo>
                  <a:lnTo>
                    <a:pt x="563" y="3031"/>
                  </a:lnTo>
                  <a:lnTo>
                    <a:pt x="559" y="3027"/>
                  </a:lnTo>
                  <a:lnTo>
                    <a:pt x="556" y="3023"/>
                  </a:lnTo>
                  <a:lnTo>
                    <a:pt x="553" y="3018"/>
                  </a:lnTo>
                  <a:lnTo>
                    <a:pt x="551" y="3014"/>
                  </a:lnTo>
                  <a:lnTo>
                    <a:pt x="549" y="3009"/>
                  </a:lnTo>
                  <a:lnTo>
                    <a:pt x="548" y="3004"/>
                  </a:lnTo>
                  <a:lnTo>
                    <a:pt x="548" y="2999"/>
                  </a:lnTo>
                  <a:lnTo>
                    <a:pt x="548" y="2994"/>
                  </a:lnTo>
                  <a:lnTo>
                    <a:pt x="548" y="2988"/>
                  </a:lnTo>
                  <a:lnTo>
                    <a:pt x="549" y="2983"/>
                  </a:lnTo>
                  <a:lnTo>
                    <a:pt x="551" y="2978"/>
                  </a:lnTo>
                  <a:lnTo>
                    <a:pt x="553" y="2974"/>
                  </a:lnTo>
                  <a:lnTo>
                    <a:pt x="556" y="2970"/>
                  </a:lnTo>
                  <a:lnTo>
                    <a:pt x="560" y="2966"/>
                  </a:lnTo>
                  <a:close/>
                  <a:moveTo>
                    <a:pt x="2570" y="3292"/>
                  </a:moveTo>
                  <a:lnTo>
                    <a:pt x="1990" y="2150"/>
                  </a:lnTo>
                  <a:lnTo>
                    <a:pt x="1987" y="2144"/>
                  </a:lnTo>
                  <a:lnTo>
                    <a:pt x="1986" y="2139"/>
                  </a:lnTo>
                  <a:lnTo>
                    <a:pt x="1985" y="2134"/>
                  </a:lnTo>
                  <a:lnTo>
                    <a:pt x="1985" y="2128"/>
                  </a:lnTo>
                  <a:lnTo>
                    <a:pt x="1986" y="2124"/>
                  </a:lnTo>
                  <a:lnTo>
                    <a:pt x="1987" y="2119"/>
                  </a:lnTo>
                  <a:lnTo>
                    <a:pt x="1988" y="2114"/>
                  </a:lnTo>
                  <a:lnTo>
                    <a:pt x="1990" y="2110"/>
                  </a:lnTo>
                  <a:lnTo>
                    <a:pt x="1993" y="2105"/>
                  </a:lnTo>
                  <a:lnTo>
                    <a:pt x="1996" y="2101"/>
                  </a:lnTo>
                  <a:lnTo>
                    <a:pt x="2000" y="2098"/>
                  </a:lnTo>
                  <a:lnTo>
                    <a:pt x="2003" y="2094"/>
                  </a:lnTo>
                  <a:lnTo>
                    <a:pt x="2009" y="2091"/>
                  </a:lnTo>
                  <a:lnTo>
                    <a:pt x="2013" y="2088"/>
                  </a:lnTo>
                  <a:lnTo>
                    <a:pt x="2018" y="2086"/>
                  </a:lnTo>
                  <a:lnTo>
                    <a:pt x="2024" y="2084"/>
                  </a:lnTo>
                  <a:lnTo>
                    <a:pt x="2678" y="1906"/>
                  </a:lnTo>
                  <a:lnTo>
                    <a:pt x="2693" y="1902"/>
                  </a:lnTo>
                  <a:lnTo>
                    <a:pt x="2707" y="1899"/>
                  </a:lnTo>
                  <a:lnTo>
                    <a:pt x="2720" y="1898"/>
                  </a:lnTo>
                  <a:lnTo>
                    <a:pt x="2734" y="1898"/>
                  </a:lnTo>
                  <a:lnTo>
                    <a:pt x="2746" y="1900"/>
                  </a:lnTo>
                  <a:lnTo>
                    <a:pt x="2758" y="1902"/>
                  </a:lnTo>
                  <a:lnTo>
                    <a:pt x="2769" y="1906"/>
                  </a:lnTo>
                  <a:lnTo>
                    <a:pt x="2780" y="1910"/>
                  </a:lnTo>
                  <a:lnTo>
                    <a:pt x="2791" y="1915"/>
                  </a:lnTo>
                  <a:lnTo>
                    <a:pt x="2800" y="1921"/>
                  </a:lnTo>
                  <a:lnTo>
                    <a:pt x="2809" y="1928"/>
                  </a:lnTo>
                  <a:lnTo>
                    <a:pt x="2817" y="1936"/>
                  </a:lnTo>
                  <a:lnTo>
                    <a:pt x="2825" y="1944"/>
                  </a:lnTo>
                  <a:lnTo>
                    <a:pt x="2832" y="1953"/>
                  </a:lnTo>
                  <a:lnTo>
                    <a:pt x="2838" y="1963"/>
                  </a:lnTo>
                  <a:lnTo>
                    <a:pt x="2845" y="1974"/>
                  </a:lnTo>
                  <a:lnTo>
                    <a:pt x="3216" y="2706"/>
                  </a:lnTo>
                  <a:lnTo>
                    <a:pt x="3221" y="2717"/>
                  </a:lnTo>
                  <a:lnTo>
                    <a:pt x="3225" y="2727"/>
                  </a:lnTo>
                  <a:lnTo>
                    <a:pt x="3229" y="2739"/>
                  </a:lnTo>
                  <a:lnTo>
                    <a:pt x="3231" y="2751"/>
                  </a:lnTo>
                  <a:lnTo>
                    <a:pt x="3232" y="2762"/>
                  </a:lnTo>
                  <a:lnTo>
                    <a:pt x="3233" y="2773"/>
                  </a:lnTo>
                  <a:lnTo>
                    <a:pt x="3232" y="2784"/>
                  </a:lnTo>
                  <a:lnTo>
                    <a:pt x="3230" y="2795"/>
                  </a:lnTo>
                  <a:lnTo>
                    <a:pt x="3227" y="2806"/>
                  </a:lnTo>
                  <a:lnTo>
                    <a:pt x="3223" y="2818"/>
                  </a:lnTo>
                  <a:lnTo>
                    <a:pt x="3218" y="2829"/>
                  </a:lnTo>
                  <a:lnTo>
                    <a:pt x="3212" y="2839"/>
                  </a:lnTo>
                  <a:lnTo>
                    <a:pt x="3204" y="2850"/>
                  </a:lnTo>
                  <a:lnTo>
                    <a:pt x="3194" y="2860"/>
                  </a:lnTo>
                  <a:lnTo>
                    <a:pt x="3184" y="2871"/>
                  </a:lnTo>
                  <a:lnTo>
                    <a:pt x="3173" y="2881"/>
                  </a:lnTo>
                  <a:lnTo>
                    <a:pt x="2643" y="3304"/>
                  </a:lnTo>
                  <a:lnTo>
                    <a:pt x="2638" y="3307"/>
                  </a:lnTo>
                  <a:lnTo>
                    <a:pt x="2633" y="3310"/>
                  </a:lnTo>
                  <a:lnTo>
                    <a:pt x="2629" y="3312"/>
                  </a:lnTo>
                  <a:lnTo>
                    <a:pt x="2624" y="3314"/>
                  </a:lnTo>
                  <a:lnTo>
                    <a:pt x="2619" y="3315"/>
                  </a:lnTo>
                  <a:lnTo>
                    <a:pt x="2613" y="3316"/>
                  </a:lnTo>
                  <a:lnTo>
                    <a:pt x="2608" y="3316"/>
                  </a:lnTo>
                  <a:lnTo>
                    <a:pt x="2603" y="3315"/>
                  </a:lnTo>
                  <a:lnTo>
                    <a:pt x="2598" y="3314"/>
                  </a:lnTo>
                  <a:lnTo>
                    <a:pt x="2593" y="3313"/>
                  </a:lnTo>
                  <a:lnTo>
                    <a:pt x="2588" y="3311"/>
                  </a:lnTo>
                  <a:lnTo>
                    <a:pt x="2584" y="3308"/>
                  </a:lnTo>
                  <a:lnTo>
                    <a:pt x="2580" y="3305"/>
                  </a:lnTo>
                  <a:lnTo>
                    <a:pt x="2576" y="3302"/>
                  </a:lnTo>
                  <a:lnTo>
                    <a:pt x="2573" y="3297"/>
                  </a:lnTo>
                  <a:lnTo>
                    <a:pt x="2570" y="3292"/>
                  </a:lnTo>
                  <a:close/>
                  <a:moveTo>
                    <a:pt x="3494" y="1498"/>
                  </a:moveTo>
                  <a:lnTo>
                    <a:pt x="2227" y="1688"/>
                  </a:lnTo>
                  <a:lnTo>
                    <a:pt x="2222" y="1688"/>
                  </a:lnTo>
                  <a:lnTo>
                    <a:pt x="2216" y="1688"/>
                  </a:lnTo>
                  <a:lnTo>
                    <a:pt x="2211" y="1687"/>
                  </a:lnTo>
                  <a:lnTo>
                    <a:pt x="2206" y="1686"/>
                  </a:lnTo>
                  <a:lnTo>
                    <a:pt x="2202" y="1684"/>
                  </a:lnTo>
                  <a:lnTo>
                    <a:pt x="2198" y="1681"/>
                  </a:lnTo>
                  <a:lnTo>
                    <a:pt x="2194" y="1678"/>
                  </a:lnTo>
                  <a:lnTo>
                    <a:pt x="2190" y="1675"/>
                  </a:lnTo>
                  <a:lnTo>
                    <a:pt x="2187" y="1671"/>
                  </a:lnTo>
                  <a:lnTo>
                    <a:pt x="2183" y="1667"/>
                  </a:lnTo>
                  <a:lnTo>
                    <a:pt x="2181" y="1661"/>
                  </a:lnTo>
                  <a:lnTo>
                    <a:pt x="2179" y="1657"/>
                  </a:lnTo>
                  <a:lnTo>
                    <a:pt x="2177" y="1652"/>
                  </a:lnTo>
                  <a:lnTo>
                    <a:pt x="2176" y="1646"/>
                  </a:lnTo>
                  <a:lnTo>
                    <a:pt x="2176" y="1641"/>
                  </a:lnTo>
                  <a:lnTo>
                    <a:pt x="2176" y="1635"/>
                  </a:lnTo>
                  <a:lnTo>
                    <a:pt x="2213" y="959"/>
                  </a:lnTo>
                  <a:lnTo>
                    <a:pt x="2214" y="944"/>
                  </a:lnTo>
                  <a:lnTo>
                    <a:pt x="2217" y="929"/>
                  </a:lnTo>
                  <a:lnTo>
                    <a:pt x="2220" y="915"/>
                  </a:lnTo>
                  <a:lnTo>
                    <a:pt x="2224" y="903"/>
                  </a:lnTo>
                  <a:lnTo>
                    <a:pt x="2229" y="892"/>
                  </a:lnTo>
                  <a:lnTo>
                    <a:pt x="2235" y="881"/>
                  </a:lnTo>
                  <a:lnTo>
                    <a:pt x="2241" y="871"/>
                  </a:lnTo>
                  <a:lnTo>
                    <a:pt x="2250" y="862"/>
                  </a:lnTo>
                  <a:lnTo>
                    <a:pt x="2257" y="854"/>
                  </a:lnTo>
                  <a:lnTo>
                    <a:pt x="2266" y="847"/>
                  </a:lnTo>
                  <a:lnTo>
                    <a:pt x="2275" y="841"/>
                  </a:lnTo>
                  <a:lnTo>
                    <a:pt x="2285" y="836"/>
                  </a:lnTo>
                  <a:lnTo>
                    <a:pt x="2296" y="831"/>
                  </a:lnTo>
                  <a:lnTo>
                    <a:pt x="2307" y="827"/>
                  </a:lnTo>
                  <a:lnTo>
                    <a:pt x="2319" y="824"/>
                  </a:lnTo>
                  <a:lnTo>
                    <a:pt x="2331" y="822"/>
                  </a:lnTo>
                  <a:lnTo>
                    <a:pt x="3142" y="700"/>
                  </a:lnTo>
                  <a:lnTo>
                    <a:pt x="3154" y="699"/>
                  </a:lnTo>
                  <a:lnTo>
                    <a:pt x="3166" y="699"/>
                  </a:lnTo>
                  <a:lnTo>
                    <a:pt x="3177" y="699"/>
                  </a:lnTo>
                  <a:lnTo>
                    <a:pt x="3189" y="700"/>
                  </a:lnTo>
                  <a:lnTo>
                    <a:pt x="3200" y="702"/>
                  </a:lnTo>
                  <a:lnTo>
                    <a:pt x="3211" y="706"/>
                  </a:lnTo>
                  <a:lnTo>
                    <a:pt x="3222" y="710"/>
                  </a:lnTo>
                  <a:lnTo>
                    <a:pt x="3232" y="715"/>
                  </a:lnTo>
                  <a:lnTo>
                    <a:pt x="3241" y="721"/>
                  </a:lnTo>
                  <a:lnTo>
                    <a:pt x="3250" y="728"/>
                  </a:lnTo>
                  <a:lnTo>
                    <a:pt x="3259" y="737"/>
                  </a:lnTo>
                  <a:lnTo>
                    <a:pt x="3268" y="746"/>
                  </a:lnTo>
                  <a:lnTo>
                    <a:pt x="3275" y="758"/>
                  </a:lnTo>
                  <a:lnTo>
                    <a:pt x="3282" y="769"/>
                  </a:lnTo>
                  <a:lnTo>
                    <a:pt x="3289" y="782"/>
                  </a:lnTo>
                  <a:lnTo>
                    <a:pt x="3294" y="796"/>
                  </a:lnTo>
                  <a:lnTo>
                    <a:pt x="3529" y="1433"/>
                  </a:lnTo>
                  <a:lnTo>
                    <a:pt x="3530" y="1438"/>
                  </a:lnTo>
                  <a:lnTo>
                    <a:pt x="3531" y="1443"/>
                  </a:lnTo>
                  <a:lnTo>
                    <a:pt x="3532" y="1449"/>
                  </a:lnTo>
                  <a:lnTo>
                    <a:pt x="3532" y="1454"/>
                  </a:lnTo>
                  <a:lnTo>
                    <a:pt x="3531" y="1459"/>
                  </a:lnTo>
                  <a:lnTo>
                    <a:pt x="3530" y="1464"/>
                  </a:lnTo>
                  <a:lnTo>
                    <a:pt x="3529" y="1469"/>
                  </a:lnTo>
                  <a:lnTo>
                    <a:pt x="3527" y="1474"/>
                  </a:lnTo>
                  <a:lnTo>
                    <a:pt x="3525" y="1478"/>
                  </a:lnTo>
                  <a:lnTo>
                    <a:pt x="3522" y="1483"/>
                  </a:lnTo>
                  <a:lnTo>
                    <a:pt x="3518" y="1487"/>
                  </a:lnTo>
                  <a:lnTo>
                    <a:pt x="3515" y="1490"/>
                  </a:lnTo>
                  <a:lnTo>
                    <a:pt x="3510" y="1493"/>
                  </a:lnTo>
                  <a:lnTo>
                    <a:pt x="3506" y="1495"/>
                  </a:lnTo>
                  <a:lnTo>
                    <a:pt x="3501" y="1497"/>
                  </a:lnTo>
                  <a:lnTo>
                    <a:pt x="3494" y="1498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502192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Вертикальный заголовок и текст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3"/>
          <p:cNvSpPr>
            <a:spLocks noChangeAspect="1" noChangeArrowheads="1" noTextEdit="1"/>
          </p:cNvSpPr>
          <p:nvPr userDrawn="1"/>
        </p:nvSpPr>
        <p:spPr bwMode="auto">
          <a:xfrm>
            <a:off x="1910701" y="1639888"/>
            <a:ext cx="7995311" cy="521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Freeform 6"/>
          <p:cNvSpPr>
            <a:spLocks/>
          </p:cNvSpPr>
          <p:nvPr userDrawn="1"/>
        </p:nvSpPr>
        <p:spPr bwMode="auto">
          <a:xfrm>
            <a:off x="7334927" y="3109913"/>
            <a:ext cx="797983" cy="1746250"/>
          </a:xfrm>
          <a:custGeom>
            <a:avLst/>
            <a:gdLst>
              <a:gd name="T0" fmla="*/ 1858 w 1858"/>
              <a:gd name="T1" fmla="*/ 4402 h 4402"/>
              <a:gd name="T2" fmla="*/ 382 w 1858"/>
              <a:gd name="T3" fmla="*/ 3832 h 4402"/>
              <a:gd name="T4" fmla="*/ 353 w 1858"/>
              <a:gd name="T5" fmla="*/ 3820 h 4402"/>
              <a:gd name="T6" fmla="*/ 327 w 1858"/>
              <a:gd name="T7" fmla="*/ 3807 h 4402"/>
              <a:gd name="T8" fmla="*/ 300 w 1858"/>
              <a:gd name="T9" fmla="*/ 3794 h 4402"/>
              <a:gd name="T10" fmla="*/ 276 w 1858"/>
              <a:gd name="T11" fmla="*/ 3782 h 4402"/>
              <a:gd name="T12" fmla="*/ 251 w 1858"/>
              <a:gd name="T13" fmla="*/ 3768 h 4402"/>
              <a:gd name="T14" fmla="*/ 229 w 1858"/>
              <a:gd name="T15" fmla="*/ 3753 h 4402"/>
              <a:gd name="T16" fmla="*/ 207 w 1858"/>
              <a:gd name="T17" fmla="*/ 3737 h 4402"/>
              <a:gd name="T18" fmla="*/ 187 w 1858"/>
              <a:gd name="T19" fmla="*/ 3721 h 4402"/>
              <a:gd name="T20" fmla="*/ 167 w 1858"/>
              <a:gd name="T21" fmla="*/ 3705 h 4402"/>
              <a:gd name="T22" fmla="*/ 150 w 1858"/>
              <a:gd name="T23" fmla="*/ 3689 h 4402"/>
              <a:gd name="T24" fmla="*/ 133 w 1858"/>
              <a:gd name="T25" fmla="*/ 3671 h 4402"/>
              <a:gd name="T26" fmla="*/ 116 w 1858"/>
              <a:gd name="T27" fmla="*/ 3653 h 4402"/>
              <a:gd name="T28" fmla="*/ 101 w 1858"/>
              <a:gd name="T29" fmla="*/ 3635 h 4402"/>
              <a:gd name="T30" fmla="*/ 87 w 1858"/>
              <a:gd name="T31" fmla="*/ 3615 h 4402"/>
              <a:gd name="T32" fmla="*/ 74 w 1858"/>
              <a:gd name="T33" fmla="*/ 3597 h 4402"/>
              <a:gd name="T34" fmla="*/ 63 w 1858"/>
              <a:gd name="T35" fmla="*/ 3577 h 4402"/>
              <a:gd name="T36" fmla="*/ 52 w 1858"/>
              <a:gd name="T37" fmla="*/ 3557 h 4402"/>
              <a:gd name="T38" fmla="*/ 43 w 1858"/>
              <a:gd name="T39" fmla="*/ 3536 h 4402"/>
              <a:gd name="T40" fmla="*/ 34 w 1858"/>
              <a:gd name="T41" fmla="*/ 3515 h 4402"/>
              <a:gd name="T42" fmla="*/ 27 w 1858"/>
              <a:gd name="T43" fmla="*/ 3495 h 4402"/>
              <a:gd name="T44" fmla="*/ 20 w 1858"/>
              <a:gd name="T45" fmla="*/ 3472 h 4402"/>
              <a:gd name="T46" fmla="*/ 14 w 1858"/>
              <a:gd name="T47" fmla="*/ 3452 h 4402"/>
              <a:gd name="T48" fmla="*/ 9 w 1858"/>
              <a:gd name="T49" fmla="*/ 3429 h 4402"/>
              <a:gd name="T50" fmla="*/ 6 w 1858"/>
              <a:gd name="T51" fmla="*/ 3406 h 4402"/>
              <a:gd name="T52" fmla="*/ 4 w 1858"/>
              <a:gd name="T53" fmla="*/ 3384 h 4402"/>
              <a:gd name="T54" fmla="*/ 1 w 1858"/>
              <a:gd name="T55" fmla="*/ 3361 h 4402"/>
              <a:gd name="T56" fmla="*/ 0 w 1858"/>
              <a:gd name="T57" fmla="*/ 3338 h 4402"/>
              <a:gd name="T58" fmla="*/ 0 w 1858"/>
              <a:gd name="T59" fmla="*/ 3314 h 4402"/>
              <a:gd name="T60" fmla="*/ 1 w 1858"/>
              <a:gd name="T61" fmla="*/ 3291 h 4402"/>
              <a:gd name="T62" fmla="*/ 4 w 1858"/>
              <a:gd name="T63" fmla="*/ 3267 h 4402"/>
              <a:gd name="T64" fmla="*/ 6 w 1858"/>
              <a:gd name="T65" fmla="*/ 3243 h 4402"/>
              <a:gd name="T66" fmla="*/ 9 w 1858"/>
              <a:gd name="T67" fmla="*/ 3219 h 4402"/>
              <a:gd name="T68" fmla="*/ 546 w 1858"/>
              <a:gd name="T69" fmla="*/ 0 h 4402"/>
              <a:gd name="T70" fmla="*/ 518 w 1858"/>
              <a:gd name="T71" fmla="*/ 3019 h 4402"/>
              <a:gd name="T72" fmla="*/ 520 w 1858"/>
              <a:gd name="T73" fmla="*/ 3047 h 4402"/>
              <a:gd name="T74" fmla="*/ 521 w 1858"/>
              <a:gd name="T75" fmla="*/ 3076 h 4402"/>
              <a:gd name="T76" fmla="*/ 524 w 1858"/>
              <a:gd name="T77" fmla="*/ 3104 h 4402"/>
              <a:gd name="T78" fmla="*/ 529 w 1858"/>
              <a:gd name="T79" fmla="*/ 3132 h 4402"/>
              <a:gd name="T80" fmla="*/ 535 w 1858"/>
              <a:gd name="T81" fmla="*/ 3161 h 4402"/>
              <a:gd name="T82" fmla="*/ 542 w 1858"/>
              <a:gd name="T83" fmla="*/ 3189 h 4402"/>
              <a:gd name="T84" fmla="*/ 550 w 1858"/>
              <a:gd name="T85" fmla="*/ 3217 h 4402"/>
              <a:gd name="T86" fmla="*/ 560 w 1858"/>
              <a:gd name="T87" fmla="*/ 3245 h 4402"/>
              <a:gd name="T88" fmla="*/ 571 w 1858"/>
              <a:gd name="T89" fmla="*/ 3270 h 4402"/>
              <a:gd name="T90" fmla="*/ 584 w 1858"/>
              <a:gd name="T91" fmla="*/ 3297 h 4402"/>
              <a:gd name="T92" fmla="*/ 597 w 1858"/>
              <a:gd name="T93" fmla="*/ 3321 h 4402"/>
              <a:gd name="T94" fmla="*/ 613 w 1858"/>
              <a:gd name="T95" fmla="*/ 3346 h 4402"/>
              <a:gd name="T96" fmla="*/ 629 w 1858"/>
              <a:gd name="T97" fmla="*/ 3369 h 4402"/>
              <a:gd name="T98" fmla="*/ 647 w 1858"/>
              <a:gd name="T99" fmla="*/ 3390 h 4402"/>
              <a:gd name="T100" fmla="*/ 666 w 1858"/>
              <a:gd name="T101" fmla="*/ 3410 h 4402"/>
              <a:gd name="T102" fmla="*/ 687 w 1858"/>
              <a:gd name="T103" fmla="*/ 3428 h 4402"/>
              <a:gd name="T104" fmla="*/ 1858 w 1858"/>
              <a:gd name="T105" fmla="*/ 4402 h 44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858" h="4402">
                <a:moveTo>
                  <a:pt x="1858" y="4402"/>
                </a:moveTo>
                <a:lnTo>
                  <a:pt x="382" y="3832"/>
                </a:lnTo>
                <a:lnTo>
                  <a:pt x="353" y="3820"/>
                </a:lnTo>
                <a:lnTo>
                  <a:pt x="327" y="3807"/>
                </a:lnTo>
                <a:lnTo>
                  <a:pt x="300" y="3794"/>
                </a:lnTo>
                <a:lnTo>
                  <a:pt x="276" y="3782"/>
                </a:lnTo>
                <a:lnTo>
                  <a:pt x="251" y="3768"/>
                </a:lnTo>
                <a:lnTo>
                  <a:pt x="229" y="3753"/>
                </a:lnTo>
                <a:lnTo>
                  <a:pt x="207" y="3737"/>
                </a:lnTo>
                <a:lnTo>
                  <a:pt x="187" y="3721"/>
                </a:lnTo>
                <a:lnTo>
                  <a:pt x="167" y="3705"/>
                </a:lnTo>
                <a:lnTo>
                  <a:pt x="150" y="3689"/>
                </a:lnTo>
                <a:lnTo>
                  <a:pt x="133" y="3671"/>
                </a:lnTo>
                <a:lnTo>
                  <a:pt x="116" y="3653"/>
                </a:lnTo>
                <a:lnTo>
                  <a:pt x="101" y="3635"/>
                </a:lnTo>
                <a:lnTo>
                  <a:pt x="87" y="3615"/>
                </a:lnTo>
                <a:lnTo>
                  <a:pt x="74" y="3597"/>
                </a:lnTo>
                <a:lnTo>
                  <a:pt x="63" y="3577"/>
                </a:lnTo>
                <a:lnTo>
                  <a:pt x="52" y="3557"/>
                </a:lnTo>
                <a:lnTo>
                  <a:pt x="43" y="3536"/>
                </a:lnTo>
                <a:lnTo>
                  <a:pt x="34" y="3515"/>
                </a:lnTo>
                <a:lnTo>
                  <a:pt x="27" y="3495"/>
                </a:lnTo>
                <a:lnTo>
                  <a:pt x="20" y="3472"/>
                </a:lnTo>
                <a:lnTo>
                  <a:pt x="14" y="3452"/>
                </a:lnTo>
                <a:lnTo>
                  <a:pt x="9" y="3429"/>
                </a:lnTo>
                <a:lnTo>
                  <a:pt x="6" y="3406"/>
                </a:lnTo>
                <a:lnTo>
                  <a:pt x="4" y="3384"/>
                </a:lnTo>
                <a:lnTo>
                  <a:pt x="1" y="3361"/>
                </a:lnTo>
                <a:lnTo>
                  <a:pt x="0" y="3338"/>
                </a:lnTo>
                <a:lnTo>
                  <a:pt x="0" y="3314"/>
                </a:lnTo>
                <a:lnTo>
                  <a:pt x="1" y="3291"/>
                </a:lnTo>
                <a:lnTo>
                  <a:pt x="4" y="3267"/>
                </a:lnTo>
                <a:lnTo>
                  <a:pt x="6" y="3243"/>
                </a:lnTo>
                <a:lnTo>
                  <a:pt x="9" y="3219"/>
                </a:lnTo>
                <a:lnTo>
                  <a:pt x="546" y="0"/>
                </a:lnTo>
                <a:lnTo>
                  <a:pt x="518" y="3019"/>
                </a:lnTo>
                <a:lnTo>
                  <a:pt x="520" y="3047"/>
                </a:lnTo>
                <a:lnTo>
                  <a:pt x="521" y="3076"/>
                </a:lnTo>
                <a:lnTo>
                  <a:pt x="524" y="3104"/>
                </a:lnTo>
                <a:lnTo>
                  <a:pt x="529" y="3132"/>
                </a:lnTo>
                <a:lnTo>
                  <a:pt x="535" y="3161"/>
                </a:lnTo>
                <a:lnTo>
                  <a:pt x="542" y="3189"/>
                </a:lnTo>
                <a:lnTo>
                  <a:pt x="550" y="3217"/>
                </a:lnTo>
                <a:lnTo>
                  <a:pt x="560" y="3245"/>
                </a:lnTo>
                <a:lnTo>
                  <a:pt x="571" y="3270"/>
                </a:lnTo>
                <a:lnTo>
                  <a:pt x="584" y="3297"/>
                </a:lnTo>
                <a:lnTo>
                  <a:pt x="597" y="3321"/>
                </a:lnTo>
                <a:lnTo>
                  <a:pt x="613" y="3346"/>
                </a:lnTo>
                <a:lnTo>
                  <a:pt x="629" y="3369"/>
                </a:lnTo>
                <a:lnTo>
                  <a:pt x="647" y="3390"/>
                </a:lnTo>
                <a:lnTo>
                  <a:pt x="666" y="3410"/>
                </a:lnTo>
                <a:lnTo>
                  <a:pt x="687" y="3428"/>
                </a:lnTo>
                <a:lnTo>
                  <a:pt x="1858" y="4402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Freeform 8"/>
          <p:cNvSpPr>
            <a:spLocks/>
          </p:cNvSpPr>
          <p:nvPr userDrawn="1"/>
        </p:nvSpPr>
        <p:spPr bwMode="auto">
          <a:xfrm>
            <a:off x="9257735" y="4125913"/>
            <a:ext cx="648361" cy="900112"/>
          </a:xfrm>
          <a:custGeom>
            <a:avLst/>
            <a:gdLst>
              <a:gd name="T0" fmla="*/ 0 w 1507"/>
              <a:gd name="T1" fmla="*/ 2267 h 2267"/>
              <a:gd name="T2" fmla="*/ 87 w 1507"/>
              <a:gd name="T3" fmla="*/ 687 h 2267"/>
              <a:gd name="T4" fmla="*/ 88 w 1507"/>
              <a:gd name="T5" fmla="*/ 656 h 2267"/>
              <a:gd name="T6" fmla="*/ 91 w 1507"/>
              <a:gd name="T7" fmla="*/ 626 h 2267"/>
              <a:gd name="T8" fmla="*/ 96 w 1507"/>
              <a:gd name="T9" fmla="*/ 598 h 2267"/>
              <a:gd name="T10" fmla="*/ 101 w 1507"/>
              <a:gd name="T11" fmla="*/ 570 h 2267"/>
              <a:gd name="T12" fmla="*/ 106 w 1507"/>
              <a:gd name="T13" fmla="*/ 542 h 2267"/>
              <a:gd name="T14" fmla="*/ 113 w 1507"/>
              <a:gd name="T15" fmla="*/ 516 h 2267"/>
              <a:gd name="T16" fmla="*/ 122 w 1507"/>
              <a:gd name="T17" fmla="*/ 491 h 2267"/>
              <a:gd name="T18" fmla="*/ 131 w 1507"/>
              <a:gd name="T19" fmla="*/ 466 h 2267"/>
              <a:gd name="T20" fmla="*/ 140 w 1507"/>
              <a:gd name="T21" fmla="*/ 443 h 2267"/>
              <a:gd name="T22" fmla="*/ 151 w 1507"/>
              <a:gd name="T23" fmla="*/ 421 h 2267"/>
              <a:gd name="T24" fmla="*/ 162 w 1507"/>
              <a:gd name="T25" fmla="*/ 399 h 2267"/>
              <a:gd name="T26" fmla="*/ 174 w 1507"/>
              <a:gd name="T27" fmla="*/ 378 h 2267"/>
              <a:gd name="T28" fmla="*/ 187 w 1507"/>
              <a:gd name="T29" fmla="*/ 358 h 2267"/>
              <a:gd name="T30" fmla="*/ 201 w 1507"/>
              <a:gd name="T31" fmla="*/ 340 h 2267"/>
              <a:gd name="T32" fmla="*/ 215 w 1507"/>
              <a:gd name="T33" fmla="*/ 322 h 2267"/>
              <a:gd name="T34" fmla="*/ 230 w 1507"/>
              <a:gd name="T35" fmla="*/ 305 h 2267"/>
              <a:gd name="T36" fmla="*/ 246 w 1507"/>
              <a:gd name="T37" fmla="*/ 289 h 2267"/>
              <a:gd name="T38" fmla="*/ 262 w 1507"/>
              <a:gd name="T39" fmla="*/ 272 h 2267"/>
              <a:gd name="T40" fmla="*/ 279 w 1507"/>
              <a:gd name="T41" fmla="*/ 258 h 2267"/>
              <a:gd name="T42" fmla="*/ 297 w 1507"/>
              <a:gd name="T43" fmla="*/ 244 h 2267"/>
              <a:gd name="T44" fmla="*/ 316 w 1507"/>
              <a:gd name="T45" fmla="*/ 232 h 2267"/>
              <a:gd name="T46" fmla="*/ 334 w 1507"/>
              <a:gd name="T47" fmla="*/ 219 h 2267"/>
              <a:gd name="T48" fmla="*/ 354 w 1507"/>
              <a:gd name="T49" fmla="*/ 208 h 2267"/>
              <a:gd name="T50" fmla="*/ 374 w 1507"/>
              <a:gd name="T51" fmla="*/ 198 h 2267"/>
              <a:gd name="T52" fmla="*/ 395 w 1507"/>
              <a:gd name="T53" fmla="*/ 188 h 2267"/>
              <a:gd name="T54" fmla="*/ 416 w 1507"/>
              <a:gd name="T55" fmla="*/ 179 h 2267"/>
              <a:gd name="T56" fmla="*/ 438 w 1507"/>
              <a:gd name="T57" fmla="*/ 171 h 2267"/>
              <a:gd name="T58" fmla="*/ 460 w 1507"/>
              <a:gd name="T59" fmla="*/ 164 h 2267"/>
              <a:gd name="T60" fmla="*/ 483 w 1507"/>
              <a:gd name="T61" fmla="*/ 157 h 2267"/>
              <a:gd name="T62" fmla="*/ 506 w 1507"/>
              <a:gd name="T63" fmla="*/ 152 h 2267"/>
              <a:gd name="T64" fmla="*/ 530 w 1507"/>
              <a:gd name="T65" fmla="*/ 147 h 2267"/>
              <a:gd name="T66" fmla="*/ 554 w 1507"/>
              <a:gd name="T67" fmla="*/ 143 h 2267"/>
              <a:gd name="T68" fmla="*/ 1507 w 1507"/>
              <a:gd name="T69" fmla="*/ 0 h 2267"/>
              <a:gd name="T70" fmla="*/ 1507 w 1507"/>
              <a:gd name="T71" fmla="*/ 375 h 2267"/>
              <a:gd name="T72" fmla="*/ 900 w 1507"/>
              <a:gd name="T73" fmla="*/ 565 h 2267"/>
              <a:gd name="T74" fmla="*/ 875 w 1507"/>
              <a:gd name="T75" fmla="*/ 575 h 2267"/>
              <a:gd name="T76" fmla="*/ 848 w 1507"/>
              <a:gd name="T77" fmla="*/ 585 h 2267"/>
              <a:gd name="T78" fmla="*/ 822 w 1507"/>
              <a:gd name="T79" fmla="*/ 597 h 2267"/>
              <a:gd name="T80" fmla="*/ 796 w 1507"/>
              <a:gd name="T81" fmla="*/ 609 h 2267"/>
              <a:gd name="T82" fmla="*/ 771 w 1507"/>
              <a:gd name="T83" fmla="*/ 625 h 2267"/>
              <a:gd name="T84" fmla="*/ 747 w 1507"/>
              <a:gd name="T85" fmla="*/ 640 h 2267"/>
              <a:gd name="T86" fmla="*/ 722 w 1507"/>
              <a:gd name="T87" fmla="*/ 656 h 2267"/>
              <a:gd name="T88" fmla="*/ 699 w 1507"/>
              <a:gd name="T89" fmla="*/ 675 h 2267"/>
              <a:gd name="T90" fmla="*/ 678 w 1507"/>
              <a:gd name="T91" fmla="*/ 693 h 2267"/>
              <a:gd name="T92" fmla="*/ 657 w 1507"/>
              <a:gd name="T93" fmla="*/ 713 h 2267"/>
              <a:gd name="T94" fmla="*/ 638 w 1507"/>
              <a:gd name="T95" fmla="*/ 734 h 2267"/>
              <a:gd name="T96" fmla="*/ 619 w 1507"/>
              <a:gd name="T97" fmla="*/ 756 h 2267"/>
              <a:gd name="T98" fmla="*/ 603 w 1507"/>
              <a:gd name="T99" fmla="*/ 779 h 2267"/>
              <a:gd name="T100" fmla="*/ 588 w 1507"/>
              <a:gd name="T101" fmla="*/ 802 h 2267"/>
              <a:gd name="T102" fmla="*/ 575 w 1507"/>
              <a:gd name="T103" fmla="*/ 827 h 2267"/>
              <a:gd name="T104" fmla="*/ 563 w 1507"/>
              <a:gd name="T105" fmla="*/ 852 h 2267"/>
              <a:gd name="T106" fmla="*/ 0 w 1507"/>
              <a:gd name="T107" fmla="*/ 2267 h 22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507" h="2267">
                <a:moveTo>
                  <a:pt x="0" y="2267"/>
                </a:moveTo>
                <a:lnTo>
                  <a:pt x="87" y="687"/>
                </a:lnTo>
                <a:lnTo>
                  <a:pt x="88" y="656"/>
                </a:lnTo>
                <a:lnTo>
                  <a:pt x="91" y="626"/>
                </a:lnTo>
                <a:lnTo>
                  <a:pt x="96" y="598"/>
                </a:lnTo>
                <a:lnTo>
                  <a:pt x="101" y="570"/>
                </a:lnTo>
                <a:lnTo>
                  <a:pt x="106" y="542"/>
                </a:lnTo>
                <a:lnTo>
                  <a:pt x="113" y="516"/>
                </a:lnTo>
                <a:lnTo>
                  <a:pt x="122" y="491"/>
                </a:lnTo>
                <a:lnTo>
                  <a:pt x="131" y="466"/>
                </a:lnTo>
                <a:lnTo>
                  <a:pt x="140" y="443"/>
                </a:lnTo>
                <a:lnTo>
                  <a:pt x="151" y="421"/>
                </a:lnTo>
                <a:lnTo>
                  <a:pt x="162" y="399"/>
                </a:lnTo>
                <a:lnTo>
                  <a:pt x="174" y="378"/>
                </a:lnTo>
                <a:lnTo>
                  <a:pt x="187" y="358"/>
                </a:lnTo>
                <a:lnTo>
                  <a:pt x="201" y="340"/>
                </a:lnTo>
                <a:lnTo>
                  <a:pt x="215" y="322"/>
                </a:lnTo>
                <a:lnTo>
                  <a:pt x="230" y="305"/>
                </a:lnTo>
                <a:lnTo>
                  <a:pt x="246" y="289"/>
                </a:lnTo>
                <a:lnTo>
                  <a:pt x="262" y="272"/>
                </a:lnTo>
                <a:lnTo>
                  <a:pt x="279" y="258"/>
                </a:lnTo>
                <a:lnTo>
                  <a:pt x="297" y="244"/>
                </a:lnTo>
                <a:lnTo>
                  <a:pt x="316" y="232"/>
                </a:lnTo>
                <a:lnTo>
                  <a:pt x="334" y="219"/>
                </a:lnTo>
                <a:lnTo>
                  <a:pt x="354" y="208"/>
                </a:lnTo>
                <a:lnTo>
                  <a:pt x="374" y="198"/>
                </a:lnTo>
                <a:lnTo>
                  <a:pt x="395" y="188"/>
                </a:lnTo>
                <a:lnTo>
                  <a:pt x="416" y="179"/>
                </a:lnTo>
                <a:lnTo>
                  <a:pt x="438" y="171"/>
                </a:lnTo>
                <a:lnTo>
                  <a:pt x="460" y="164"/>
                </a:lnTo>
                <a:lnTo>
                  <a:pt x="483" y="157"/>
                </a:lnTo>
                <a:lnTo>
                  <a:pt x="506" y="152"/>
                </a:lnTo>
                <a:lnTo>
                  <a:pt x="530" y="147"/>
                </a:lnTo>
                <a:lnTo>
                  <a:pt x="554" y="143"/>
                </a:lnTo>
                <a:lnTo>
                  <a:pt x="1507" y="0"/>
                </a:lnTo>
                <a:lnTo>
                  <a:pt x="1507" y="375"/>
                </a:lnTo>
                <a:lnTo>
                  <a:pt x="900" y="565"/>
                </a:lnTo>
                <a:lnTo>
                  <a:pt x="875" y="575"/>
                </a:lnTo>
                <a:lnTo>
                  <a:pt x="848" y="585"/>
                </a:lnTo>
                <a:lnTo>
                  <a:pt x="822" y="597"/>
                </a:lnTo>
                <a:lnTo>
                  <a:pt x="796" y="609"/>
                </a:lnTo>
                <a:lnTo>
                  <a:pt x="771" y="625"/>
                </a:lnTo>
                <a:lnTo>
                  <a:pt x="747" y="640"/>
                </a:lnTo>
                <a:lnTo>
                  <a:pt x="722" y="656"/>
                </a:lnTo>
                <a:lnTo>
                  <a:pt x="699" y="675"/>
                </a:lnTo>
                <a:lnTo>
                  <a:pt x="678" y="693"/>
                </a:lnTo>
                <a:lnTo>
                  <a:pt x="657" y="713"/>
                </a:lnTo>
                <a:lnTo>
                  <a:pt x="638" y="734"/>
                </a:lnTo>
                <a:lnTo>
                  <a:pt x="619" y="756"/>
                </a:lnTo>
                <a:lnTo>
                  <a:pt x="603" y="779"/>
                </a:lnTo>
                <a:lnTo>
                  <a:pt x="588" y="802"/>
                </a:lnTo>
                <a:lnTo>
                  <a:pt x="575" y="827"/>
                </a:lnTo>
                <a:lnTo>
                  <a:pt x="563" y="852"/>
                </a:lnTo>
                <a:lnTo>
                  <a:pt x="0" y="2267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1" name="Freeform 10"/>
          <p:cNvSpPr>
            <a:spLocks/>
          </p:cNvSpPr>
          <p:nvPr userDrawn="1"/>
        </p:nvSpPr>
        <p:spPr bwMode="auto">
          <a:xfrm>
            <a:off x="9433058" y="5940425"/>
            <a:ext cx="472942" cy="144462"/>
          </a:xfrm>
          <a:custGeom>
            <a:avLst/>
            <a:gdLst>
              <a:gd name="T0" fmla="*/ 0 w 1098"/>
              <a:gd name="T1" fmla="*/ 298 h 363"/>
              <a:gd name="T2" fmla="*/ 1098 w 1098"/>
              <a:gd name="T3" fmla="*/ 0 h 363"/>
              <a:gd name="T4" fmla="*/ 1098 w 1098"/>
              <a:gd name="T5" fmla="*/ 363 h 363"/>
              <a:gd name="T6" fmla="*/ 0 w 1098"/>
              <a:gd name="T7" fmla="*/ 298 h 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98" h="363">
                <a:moveTo>
                  <a:pt x="0" y="298"/>
                </a:moveTo>
                <a:lnTo>
                  <a:pt x="1098" y="0"/>
                </a:lnTo>
                <a:lnTo>
                  <a:pt x="1098" y="363"/>
                </a:lnTo>
                <a:lnTo>
                  <a:pt x="0" y="298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3" name="Freeform 12"/>
          <p:cNvSpPr>
            <a:spLocks/>
          </p:cNvSpPr>
          <p:nvPr userDrawn="1"/>
        </p:nvSpPr>
        <p:spPr bwMode="auto">
          <a:xfrm>
            <a:off x="8415037" y="6537504"/>
            <a:ext cx="223573" cy="320675"/>
          </a:xfrm>
          <a:custGeom>
            <a:avLst/>
            <a:gdLst>
              <a:gd name="T0" fmla="*/ 0 w 520"/>
              <a:gd name="T1" fmla="*/ 0 h 807"/>
              <a:gd name="T2" fmla="*/ 520 w 520"/>
              <a:gd name="T3" fmla="*/ 807 h 807"/>
              <a:gd name="T4" fmla="*/ 205 w 520"/>
              <a:gd name="T5" fmla="*/ 807 h 807"/>
              <a:gd name="T6" fmla="*/ 0 w 520"/>
              <a:gd name="T7" fmla="*/ 0 h 8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20" h="807">
                <a:moveTo>
                  <a:pt x="0" y="0"/>
                </a:moveTo>
                <a:lnTo>
                  <a:pt x="520" y="807"/>
                </a:lnTo>
                <a:lnTo>
                  <a:pt x="205" y="807"/>
                </a:lnTo>
                <a:lnTo>
                  <a:pt x="0" y="0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5" name="Freeform 14"/>
          <p:cNvSpPr>
            <a:spLocks/>
          </p:cNvSpPr>
          <p:nvPr userDrawn="1"/>
        </p:nvSpPr>
        <p:spPr bwMode="auto">
          <a:xfrm>
            <a:off x="5637492" y="5753100"/>
            <a:ext cx="1974321" cy="620712"/>
          </a:xfrm>
          <a:custGeom>
            <a:avLst/>
            <a:gdLst>
              <a:gd name="T0" fmla="*/ 4593 w 4593"/>
              <a:gd name="T1" fmla="*/ 102 h 1567"/>
              <a:gd name="T2" fmla="*/ 3597 w 4593"/>
              <a:gd name="T3" fmla="*/ 1332 h 1567"/>
              <a:gd name="T4" fmla="*/ 3577 w 4593"/>
              <a:gd name="T5" fmla="*/ 1355 h 1567"/>
              <a:gd name="T6" fmla="*/ 3558 w 4593"/>
              <a:gd name="T7" fmla="*/ 1379 h 1567"/>
              <a:gd name="T8" fmla="*/ 3538 w 4593"/>
              <a:gd name="T9" fmla="*/ 1399 h 1567"/>
              <a:gd name="T10" fmla="*/ 3517 w 4593"/>
              <a:gd name="T11" fmla="*/ 1418 h 1567"/>
              <a:gd name="T12" fmla="*/ 3496 w 4593"/>
              <a:gd name="T13" fmla="*/ 1437 h 1567"/>
              <a:gd name="T14" fmla="*/ 3475 w 4593"/>
              <a:gd name="T15" fmla="*/ 1454 h 1567"/>
              <a:gd name="T16" fmla="*/ 3454 w 4593"/>
              <a:gd name="T17" fmla="*/ 1470 h 1567"/>
              <a:gd name="T18" fmla="*/ 3433 w 4593"/>
              <a:gd name="T19" fmla="*/ 1484 h 1567"/>
              <a:gd name="T20" fmla="*/ 3411 w 4593"/>
              <a:gd name="T21" fmla="*/ 1498 h 1567"/>
              <a:gd name="T22" fmla="*/ 3390 w 4593"/>
              <a:gd name="T23" fmla="*/ 1510 h 1567"/>
              <a:gd name="T24" fmla="*/ 3368 w 4593"/>
              <a:gd name="T25" fmla="*/ 1520 h 1567"/>
              <a:gd name="T26" fmla="*/ 3346 w 4593"/>
              <a:gd name="T27" fmla="*/ 1531 h 1567"/>
              <a:gd name="T28" fmla="*/ 3324 w 4593"/>
              <a:gd name="T29" fmla="*/ 1539 h 1567"/>
              <a:gd name="T30" fmla="*/ 3302 w 4593"/>
              <a:gd name="T31" fmla="*/ 1546 h 1567"/>
              <a:gd name="T32" fmla="*/ 3280 w 4593"/>
              <a:gd name="T33" fmla="*/ 1553 h 1567"/>
              <a:gd name="T34" fmla="*/ 3258 w 4593"/>
              <a:gd name="T35" fmla="*/ 1558 h 1567"/>
              <a:gd name="T36" fmla="*/ 3236 w 4593"/>
              <a:gd name="T37" fmla="*/ 1562 h 1567"/>
              <a:gd name="T38" fmla="*/ 3212 w 4593"/>
              <a:gd name="T39" fmla="*/ 1565 h 1567"/>
              <a:gd name="T40" fmla="*/ 3190 w 4593"/>
              <a:gd name="T41" fmla="*/ 1567 h 1567"/>
              <a:gd name="T42" fmla="*/ 3168 w 4593"/>
              <a:gd name="T43" fmla="*/ 1567 h 1567"/>
              <a:gd name="T44" fmla="*/ 3145 w 4593"/>
              <a:gd name="T45" fmla="*/ 1567 h 1567"/>
              <a:gd name="T46" fmla="*/ 3123 w 4593"/>
              <a:gd name="T47" fmla="*/ 1566 h 1567"/>
              <a:gd name="T48" fmla="*/ 3101 w 4593"/>
              <a:gd name="T49" fmla="*/ 1563 h 1567"/>
              <a:gd name="T50" fmla="*/ 3078 w 4593"/>
              <a:gd name="T51" fmla="*/ 1560 h 1567"/>
              <a:gd name="T52" fmla="*/ 3055 w 4593"/>
              <a:gd name="T53" fmla="*/ 1555 h 1567"/>
              <a:gd name="T54" fmla="*/ 3033 w 4593"/>
              <a:gd name="T55" fmla="*/ 1551 h 1567"/>
              <a:gd name="T56" fmla="*/ 3010 w 4593"/>
              <a:gd name="T57" fmla="*/ 1544 h 1567"/>
              <a:gd name="T58" fmla="*/ 2988 w 4593"/>
              <a:gd name="T59" fmla="*/ 1537 h 1567"/>
              <a:gd name="T60" fmla="*/ 2966 w 4593"/>
              <a:gd name="T61" fmla="*/ 1528 h 1567"/>
              <a:gd name="T62" fmla="*/ 2944 w 4593"/>
              <a:gd name="T63" fmla="*/ 1519 h 1567"/>
              <a:gd name="T64" fmla="*/ 2922 w 4593"/>
              <a:gd name="T65" fmla="*/ 1510 h 1567"/>
              <a:gd name="T66" fmla="*/ 2900 w 4593"/>
              <a:gd name="T67" fmla="*/ 1499 h 1567"/>
              <a:gd name="T68" fmla="*/ 0 w 4593"/>
              <a:gd name="T69" fmla="*/ 0 h 1567"/>
              <a:gd name="T70" fmla="*/ 2867 w 4593"/>
              <a:gd name="T71" fmla="*/ 953 h 1567"/>
              <a:gd name="T72" fmla="*/ 2893 w 4593"/>
              <a:gd name="T73" fmla="*/ 961 h 1567"/>
              <a:gd name="T74" fmla="*/ 2921 w 4593"/>
              <a:gd name="T75" fmla="*/ 968 h 1567"/>
              <a:gd name="T76" fmla="*/ 2949 w 4593"/>
              <a:gd name="T77" fmla="*/ 974 h 1567"/>
              <a:gd name="T78" fmla="*/ 2978 w 4593"/>
              <a:gd name="T79" fmla="*/ 979 h 1567"/>
              <a:gd name="T80" fmla="*/ 3005 w 4593"/>
              <a:gd name="T81" fmla="*/ 981 h 1567"/>
              <a:gd name="T82" fmla="*/ 3035 w 4593"/>
              <a:gd name="T83" fmla="*/ 983 h 1567"/>
              <a:gd name="T84" fmla="*/ 3064 w 4593"/>
              <a:gd name="T85" fmla="*/ 983 h 1567"/>
              <a:gd name="T86" fmla="*/ 3093 w 4593"/>
              <a:gd name="T87" fmla="*/ 983 h 1567"/>
              <a:gd name="T88" fmla="*/ 3122 w 4593"/>
              <a:gd name="T89" fmla="*/ 980 h 1567"/>
              <a:gd name="T90" fmla="*/ 3151 w 4593"/>
              <a:gd name="T91" fmla="*/ 976 h 1567"/>
              <a:gd name="T92" fmla="*/ 3179 w 4593"/>
              <a:gd name="T93" fmla="*/ 971 h 1567"/>
              <a:gd name="T94" fmla="*/ 3207 w 4593"/>
              <a:gd name="T95" fmla="*/ 964 h 1567"/>
              <a:gd name="T96" fmla="*/ 3233 w 4593"/>
              <a:gd name="T97" fmla="*/ 956 h 1567"/>
              <a:gd name="T98" fmla="*/ 3259 w 4593"/>
              <a:gd name="T99" fmla="*/ 945 h 1567"/>
              <a:gd name="T100" fmla="*/ 3283 w 4593"/>
              <a:gd name="T101" fmla="*/ 932 h 1567"/>
              <a:gd name="T102" fmla="*/ 3308 w 4593"/>
              <a:gd name="T103" fmla="*/ 918 h 1567"/>
              <a:gd name="T104" fmla="*/ 4593 w 4593"/>
              <a:gd name="T105" fmla="*/ 102 h 15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593" h="1567">
                <a:moveTo>
                  <a:pt x="4593" y="102"/>
                </a:moveTo>
                <a:lnTo>
                  <a:pt x="3597" y="1332"/>
                </a:lnTo>
                <a:lnTo>
                  <a:pt x="3577" y="1355"/>
                </a:lnTo>
                <a:lnTo>
                  <a:pt x="3558" y="1379"/>
                </a:lnTo>
                <a:lnTo>
                  <a:pt x="3538" y="1399"/>
                </a:lnTo>
                <a:lnTo>
                  <a:pt x="3517" y="1418"/>
                </a:lnTo>
                <a:lnTo>
                  <a:pt x="3496" y="1437"/>
                </a:lnTo>
                <a:lnTo>
                  <a:pt x="3475" y="1454"/>
                </a:lnTo>
                <a:lnTo>
                  <a:pt x="3454" y="1470"/>
                </a:lnTo>
                <a:lnTo>
                  <a:pt x="3433" y="1484"/>
                </a:lnTo>
                <a:lnTo>
                  <a:pt x="3411" y="1498"/>
                </a:lnTo>
                <a:lnTo>
                  <a:pt x="3390" y="1510"/>
                </a:lnTo>
                <a:lnTo>
                  <a:pt x="3368" y="1520"/>
                </a:lnTo>
                <a:lnTo>
                  <a:pt x="3346" y="1531"/>
                </a:lnTo>
                <a:lnTo>
                  <a:pt x="3324" y="1539"/>
                </a:lnTo>
                <a:lnTo>
                  <a:pt x="3302" y="1546"/>
                </a:lnTo>
                <a:lnTo>
                  <a:pt x="3280" y="1553"/>
                </a:lnTo>
                <a:lnTo>
                  <a:pt x="3258" y="1558"/>
                </a:lnTo>
                <a:lnTo>
                  <a:pt x="3236" y="1562"/>
                </a:lnTo>
                <a:lnTo>
                  <a:pt x="3212" y="1565"/>
                </a:lnTo>
                <a:lnTo>
                  <a:pt x="3190" y="1567"/>
                </a:lnTo>
                <a:lnTo>
                  <a:pt x="3168" y="1567"/>
                </a:lnTo>
                <a:lnTo>
                  <a:pt x="3145" y="1567"/>
                </a:lnTo>
                <a:lnTo>
                  <a:pt x="3123" y="1566"/>
                </a:lnTo>
                <a:lnTo>
                  <a:pt x="3101" y="1563"/>
                </a:lnTo>
                <a:lnTo>
                  <a:pt x="3078" y="1560"/>
                </a:lnTo>
                <a:lnTo>
                  <a:pt x="3055" y="1555"/>
                </a:lnTo>
                <a:lnTo>
                  <a:pt x="3033" y="1551"/>
                </a:lnTo>
                <a:lnTo>
                  <a:pt x="3010" y="1544"/>
                </a:lnTo>
                <a:lnTo>
                  <a:pt x="2988" y="1537"/>
                </a:lnTo>
                <a:lnTo>
                  <a:pt x="2966" y="1528"/>
                </a:lnTo>
                <a:lnTo>
                  <a:pt x="2944" y="1519"/>
                </a:lnTo>
                <a:lnTo>
                  <a:pt x="2922" y="1510"/>
                </a:lnTo>
                <a:lnTo>
                  <a:pt x="2900" y="1499"/>
                </a:lnTo>
                <a:lnTo>
                  <a:pt x="0" y="0"/>
                </a:lnTo>
                <a:lnTo>
                  <a:pt x="2867" y="953"/>
                </a:lnTo>
                <a:lnTo>
                  <a:pt x="2893" y="961"/>
                </a:lnTo>
                <a:lnTo>
                  <a:pt x="2921" y="968"/>
                </a:lnTo>
                <a:lnTo>
                  <a:pt x="2949" y="974"/>
                </a:lnTo>
                <a:lnTo>
                  <a:pt x="2978" y="979"/>
                </a:lnTo>
                <a:lnTo>
                  <a:pt x="3005" y="981"/>
                </a:lnTo>
                <a:lnTo>
                  <a:pt x="3035" y="983"/>
                </a:lnTo>
                <a:lnTo>
                  <a:pt x="3064" y="983"/>
                </a:lnTo>
                <a:lnTo>
                  <a:pt x="3093" y="983"/>
                </a:lnTo>
                <a:lnTo>
                  <a:pt x="3122" y="980"/>
                </a:lnTo>
                <a:lnTo>
                  <a:pt x="3151" y="976"/>
                </a:lnTo>
                <a:lnTo>
                  <a:pt x="3179" y="971"/>
                </a:lnTo>
                <a:lnTo>
                  <a:pt x="3207" y="964"/>
                </a:lnTo>
                <a:lnTo>
                  <a:pt x="3233" y="956"/>
                </a:lnTo>
                <a:lnTo>
                  <a:pt x="3259" y="945"/>
                </a:lnTo>
                <a:lnTo>
                  <a:pt x="3283" y="932"/>
                </a:lnTo>
                <a:lnTo>
                  <a:pt x="3308" y="918"/>
                </a:lnTo>
                <a:lnTo>
                  <a:pt x="4593" y="102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Freeform 5"/>
          <p:cNvSpPr>
            <a:spLocks/>
          </p:cNvSpPr>
          <p:nvPr userDrawn="1"/>
        </p:nvSpPr>
        <p:spPr bwMode="auto">
          <a:xfrm>
            <a:off x="7334912" y="2886077"/>
            <a:ext cx="1719792" cy="2135187"/>
          </a:xfrm>
          <a:custGeom>
            <a:avLst/>
            <a:gdLst>
              <a:gd name="T0" fmla="*/ 3159 w 4000"/>
              <a:gd name="T1" fmla="*/ 5238 h 5382"/>
              <a:gd name="T2" fmla="*/ 3155 w 4000"/>
              <a:gd name="T3" fmla="*/ 5259 h 5382"/>
              <a:gd name="T4" fmla="*/ 3146 w 4000"/>
              <a:gd name="T5" fmla="*/ 5280 h 5382"/>
              <a:gd name="T6" fmla="*/ 3137 w 4000"/>
              <a:gd name="T7" fmla="*/ 5299 h 5382"/>
              <a:gd name="T8" fmla="*/ 3126 w 4000"/>
              <a:gd name="T9" fmla="*/ 5315 h 5382"/>
              <a:gd name="T10" fmla="*/ 3113 w 4000"/>
              <a:gd name="T11" fmla="*/ 5330 h 5382"/>
              <a:gd name="T12" fmla="*/ 3098 w 4000"/>
              <a:gd name="T13" fmla="*/ 5343 h 5382"/>
              <a:gd name="T14" fmla="*/ 3064 w 4000"/>
              <a:gd name="T15" fmla="*/ 5364 h 5382"/>
              <a:gd name="T16" fmla="*/ 3024 w 4000"/>
              <a:gd name="T17" fmla="*/ 5378 h 5382"/>
              <a:gd name="T18" fmla="*/ 2984 w 4000"/>
              <a:gd name="T19" fmla="*/ 5382 h 5382"/>
              <a:gd name="T20" fmla="*/ 2941 w 4000"/>
              <a:gd name="T21" fmla="*/ 5380 h 5382"/>
              <a:gd name="T22" fmla="*/ 2898 w 4000"/>
              <a:gd name="T23" fmla="*/ 5368 h 5382"/>
              <a:gd name="T24" fmla="*/ 354 w 4000"/>
              <a:gd name="T25" fmla="*/ 4384 h 5382"/>
              <a:gd name="T26" fmla="*/ 300 w 4000"/>
              <a:gd name="T27" fmla="*/ 4358 h 5382"/>
              <a:gd name="T28" fmla="*/ 250 w 4000"/>
              <a:gd name="T29" fmla="*/ 4332 h 5382"/>
              <a:gd name="T30" fmla="*/ 206 w 4000"/>
              <a:gd name="T31" fmla="*/ 4301 h 5382"/>
              <a:gd name="T32" fmla="*/ 166 w 4000"/>
              <a:gd name="T33" fmla="*/ 4269 h 5382"/>
              <a:gd name="T34" fmla="*/ 132 w 4000"/>
              <a:gd name="T35" fmla="*/ 4235 h 5382"/>
              <a:gd name="T36" fmla="*/ 100 w 4000"/>
              <a:gd name="T37" fmla="*/ 4198 h 5382"/>
              <a:gd name="T38" fmla="*/ 75 w 4000"/>
              <a:gd name="T39" fmla="*/ 4161 h 5382"/>
              <a:gd name="T40" fmla="*/ 51 w 4000"/>
              <a:gd name="T41" fmla="*/ 4121 h 5382"/>
              <a:gd name="T42" fmla="*/ 34 w 4000"/>
              <a:gd name="T43" fmla="*/ 4079 h 5382"/>
              <a:gd name="T44" fmla="*/ 19 w 4000"/>
              <a:gd name="T45" fmla="*/ 4036 h 5382"/>
              <a:gd name="T46" fmla="*/ 8 w 4000"/>
              <a:gd name="T47" fmla="*/ 3993 h 5382"/>
              <a:gd name="T48" fmla="*/ 3 w 4000"/>
              <a:gd name="T49" fmla="*/ 3948 h 5382"/>
              <a:gd name="T50" fmla="*/ 0 w 4000"/>
              <a:gd name="T51" fmla="*/ 3902 h 5382"/>
              <a:gd name="T52" fmla="*/ 0 w 4000"/>
              <a:gd name="T53" fmla="*/ 3855 h 5382"/>
              <a:gd name="T54" fmla="*/ 5 w 4000"/>
              <a:gd name="T55" fmla="*/ 3807 h 5382"/>
              <a:gd name="T56" fmla="*/ 545 w 4000"/>
              <a:gd name="T57" fmla="*/ 564 h 5382"/>
              <a:gd name="T58" fmla="*/ 555 w 4000"/>
              <a:gd name="T59" fmla="*/ 516 h 5382"/>
              <a:gd name="T60" fmla="*/ 567 w 4000"/>
              <a:gd name="T61" fmla="*/ 471 h 5382"/>
              <a:gd name="T62" fmla="*/ 583 w 4000"/>
              <a:gd name="T63" fmla="*/ 427 h 5382"/>
              <a:gd name="T64" fmla="*/ 602 w 4000"/>
              <a:gd name="T65" fmla="*/ 385 h 5382"/>
              <a:gd name="T66" fmla="*/ 624 w 4000"/>
              <a:gd name="T67" fmla="*/ 345 h 5382"/>
              <a:gd name="T68" fmla="*/ 650 w 4000"/>
              <a:gd name="T69" fmla="*/ 308 h 5382"/>
              <a:gd name="T70" fmla="*/ 679 w 4000"/>
              <a:gd name="T71" fmla="*/ 274 h 5382"/>
              <a:gd name="T72" fmla="*/ 712 w 4000"/>
              <a:gd name="T73" fmla="*/ 242 h 5382"/>
              <a:gd name="T74" fmla="*/ 746 w 4000"/>
              <a:gd name="T75" fmla="*/ 214 h 5382"/>
              <a:gd name="T76" fmla="*/ 786 w 4000"/>
              <a:gd name="T77" fmla="*/ 187 h 5382"/>
              <a:gd name="T78" fmla="*/ 829 w 4000"/>
              <a:gd name="T79" fmla="*/ 165 h 5382"/>
              <a:gd name="T80" fmla="*/ 875 w 4000"/>
              <a:gd name="T81" fmla="*/ 145 h 5382"/>
              <a:gd name="T82" fmla="*/ 924 w 4000"/>
              <a:gd name="T83" fmla="*/ 130 h 5382"/>
              <a:gd name="T84" fmla="*/ 978 w 4000"/>
              <a:gd name="T85" fmla="*/ 117 h 5382"/>
              <a:gd name="T86" fmla="*/ 1035 w 4000"/>
              <a:gd name="T87" fmla="*/ 109 h 5382"/>
              <a:gd name="T88" fmla="*/ 1096 w 4000"/>
              <a:gd name="T89" fmla="*/ 105 h 5382"/>
              <a:gd name="T90" fmla="*/ 3814 w 4000"/>
              <a:gd name="T91" fmla="*/ 0 h 5382"/>
              <a:gd name="T92" fmla="*/ 3857 w 4000"/>
              <a:gd name="T93" fmla="*/ 7 h 5382"/>
              <a:gd name="T94" fmla="*/ 3897 w 4000"/>
              <a:gd name="T95" fmla="*/ 22 h 5382"/>
              <a:gd name="T96" fmla="*/ 3932 w 4000"/>
              <a:gd name="T97" fmla="*/ 44 h 5382"/>
              <a:gd name="T98" fmla="*/ 3960 w 4000"/>
              <a:gd name="T99" fmla="*/ 72 h 5382"/>
              <a:gd name="T100" fmla="*/ 3977 w 4000"/>
              <a:gd name="T101" fmla="*/ 97 h 5382"/>
              <a:gd name="T102" fmla="*/ 3987 w 4000"/>
              <a:gd name="T103" fmla="*/ 115 h 5382"/>
              <a:gd name="T104" fmla="*/ 3993 w 4000"/>
              <a:gd name="T105" fmla="*/ 134 h 5382"/>
              <a:gd name="T106" fmla="*/ 3997 w 4000"/>
              <a:gd name="T107" fmla="*/ 154 h 5382"/>
              <a:gd name="T108" fmla="*/ 4000 w 4000"/>
              <a:gd name="T109" fmla="*/ 174 h 5382"/>
              <a:gd name="T110" fmla="*/ 3998 w 4000"/>
              <a:gd name="T111" fmla="*/ 197 h 5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000" h="5382">
                <a:moveTo>
                  <a:pt x="3997" y="207"/>
                </a:moveTo>
                <a:lnTo>
                  <a:pt x="3159" y="5238"/>
                </a:lnTo>
                <a:lnTo>
                  <a:pt x="3157" y="5249"/>
                </a:lnTo>
                <a:lnTo>
                  <a:pt x="3155" y="5259"/>
                </a:lnTo>
                <a:lnTo>
                  <a:pt x="3151" y="5270"/>
                </a:lnTo>
                <a:lnTo>
                  <a:pt x="3146" y="5280"/>
                </a:lnTo>
                <a:lnTo>
                  <a:pt x="3143" y="5289"/>
                </a:lnTo>
                <a:lnTo>
                  <a:pt x="3137" y="5299"/>
                </a:lnTo>
                <a:lnTo>
                  <a:pt x="3132" y="5307"/>
                </a:lnTo>
                <a:lnTo>
                  <a:pt x="3126" y="5315"/>
                </a:lnTo>
                <a:lnTo>
                  <a:pt x="3120" y="5323"/>
                </a:lnTo>
                <a:lnTo>
                  <a:pt x="3113" y="5330"/>
                </a:lnTo>
                <a:lnTo>
                  <a:pt x="3106" y="5337"/>
                </a:lnTo>
                <a:lnTo>
                  <a:pt x="3098" y="5343"/>
                </a:lnTo>
                <a:lnTo>
                  <a:pt x="3081" y="5354"/>
                </a:lnTo>
                <a:lnTo>
                  <a:pt x="3064" y="5364"/>
                </a:lnTo>
                <a:lnTo>
                  <a:pt x="3044" y="5372"/>
                </a:lnTo>
                <a:lnTo>
                  <a:pt x="3024" y="5378"/>
                </a:lnTo>
                <a:lnTo>
                  <a:pt x="3005" y="5381"/>
                </a:lnTo>
                <a:lnTo>
                  <a:pt x="2984" y="5382"/>
                </a:lnTo>
                <a:lnTo>
                  <a:pt x="2962" y="5382"/>
                </a:lnTo>
                <a:lnTo>
                  <a:pt x="2941" y="5380"/>
                </a:lnTo>
                <a:lnTo>
                  <a:pt x="2920" y="5375"/>
                </a:lnTo>
                <a:lnTo>
                  <a:pt x="2898" y="5368"/>
                </a:lnTo>
                <a:lnTo>
                  <a:pt x="381" y="4396"/>
                </a:lnTo>
                <a:lnTo>
                  <a:pt x="354" y="4384"/>
                </a:lnTo>
                <a:lnTo>
                  <a:pt x="326" y="4371"/>
                </a:lnTo>
                <a:lnTo>
                  <a:pt x="300" y="4358"/>
                </a:lnTo>
                <a:lnTo>
                  <a:pt x="275" y="4346"/>
                </a:lnTo>
                <a:lnTo>
                  <a:pt x="250" y="4332"/>
                </a:lnTo>
                <a:lnTo>
                  <a:pt x="228" y="4317"/>
                </a:lnTo>
                <a:lnTo>
                  <a:pt x="206" y="4301"/>
                </a:lnTo>
                <a:lnTo>
                  <a:pt x="186" y="4285"/>
                </a:lnTo>
                <a:lnTo>
                  <a:pt x="166" y="4269"/>
                </a:lnTo>
                <a:lnTo>
                  <a:pt x="149" y="4253"/>
                </a:lnTo>
                <a:lnTo>
                  <a:pt x="132" y="4235"/>
                </a:lnTo>
                <a:lnTo>
                  <a:pt x="115" y="4217"/>
                </a:lnTo>
                <a:lnTo>
                  <a:pt x="100" y="4198"/>
                </a:lnTo>
                <a:lnTo>
                  <a:pt x="87" y="4179"/>
                </a:lnTo>
                <a:lnTo>
                  <a:pt x="75" y="4161"/>
                </a:lnTo>
                <a:lnTo>
                  <a:pt x="62" y="4141"/>
                </a:lnTo>
                <a:lnTo>
                  <a:pt x="51" y="4121"/>
                </a:lnTo>
                <a:lnTo>
                  <a:pt x="42" y="4100"/>
                </a:lnTo>
                <a:lnTo>
                  <a:pt x="34" y="4079"/>
                </a:lnTo>
                <a:lnTo>
                  <a:pt x="26" y="4059"/>
                </a:lnTo>
                <a:lnTo>
                  <a:pt x="19" y="4036"/>
                </a:lnTo>
                <a:lnTo>
                  <a:pt x="13" y="4016"/>
                </a:lnTo>
                <a:lnTo>
                  <a:pt x="8" y="3993"/>
                </a:lnTo>
                <a:lnTo>
                  <a:pt x="5" y="3970"/>
                </a:lnTo>
                <a:lnTo>
                  <a:pt x="3" y="3948"/>
                </a:lnTo>
                <a:lnTo>
                  <a:pt x="0" y="3925"/>
                </a:lnTo>
                <a:lnTo>
                  <a:pt x="0" y="3902"/>
                </a:lnTo>
                <a:lnTo>
                  <a:pt x="0" y="3878"/>
                </a:lnTo>
                <a:lnTo>
                  <a:pt x="0" y="3855"/>
                </a:lnTo>
                <a:lnTo>
                  <a:pt x="3" y="3831"/>
                </a:lnTo>
                <a:lnTo>
                  <a:pt x="5" y="3807"/>
                </a:lnTo>
                <a:lnTo>
                  <a:pt x="8" y="3783"/>
                </a:lnTo>
                <a:lnTo>
                  <a:pt x="545" y="564"/>
                </a:lnTo>
                <a:lnTo>
                  <a:pt x="549" y="539"/>
                </a:lnTo>
                <a:lnTo>
                  <a:pt x="555" y="516"/>
                </a:lnTo>
                <a:lnTo>
                  <a:pt x="560" y="493"/>
                </a:lnTo>
                <a:lnTo>
                  <a:pt x="567" y="471"/>
                </a:lnTo>
                <a:lnTo>
                  <a:pt x="574" y="449"/>
                </a:lnTo>
                <a:lnTo>
                  <a:pt x="583" y="427"/>
                </a:lnTo>
                <a:lnTo>
                  <a:pt x="592" y="406"/>
                </a:lnTo>
                <a:lnTo>
                  <a:pt x="602" y="385"/>
                </a:lnTo>
                <a:lnTo>
                  <a:pt x="613" y="365"/>
                </a:lnTo>
                <a:lnTo>
                  <a:pt x="624" y="345"/>
                </a:lnTo>
                <a:lnTo>
                  <a:pt x="637" y="327"/>
                </a:lnTo>
                <a:lnTo>
                  <a:pt x="650" y="308"/>
                </a:lnTo>
                <a:lnTo>
                  <a:pt x="664" y="291"/>
                </a:lnTo>
                <a:lnTo>
                  <a:pt x="679" y="274"/>
                </a:lnTo>
                <a:lnTo>
                  <a:pt x="695" y="258"/>
                </a:lnTo>
                <a:lnTo>
                  <a:pt x="712" y="242"/>
                </a:lnTo>
                <a:lnTo>
                  <a:pt x="729" y="228"/>
                </a:lnTo>
                <a:lnTo>
                  <a:pt x="746" y="214"/>
                </a:lnTo>
                <a:lnTo>
                  <a:pt x="766" y="200"/>
                </a:lnTo>
                <a:lnTo>
                  <a:pt x="786" y="187"/>
                </a:lnTo>
                <a:lnTo>
                  <a:pt x="807" y="176"/>
                </a:lnTo>
                <a:lnTo>
                  <a:pt x="829" y="165"/>
                </a:lnTo>
                <a:lnTo>
                  <a:pt x="851" y="155"/>
                </a:lnTo>
                <a:lnTo>
                  <a:pt x="875" y="145"/>
                </a:lnTo>
                <a:lnTo>
                  <a:pt x="900" y="137"/>
                </a:lnTo>
                <a:lnTo>
                  <a:pt x="924" y="130"/>
                </a:lnTo>
                <a:lnTo>
                  <a:pt x="951" y="123"/>
                </a:lnTo>
                <a:lnTo>
                  <a:pt x="978" y="117"/>
                </a:lnTo>
                <a:lnTo>
                  <a:pt x="1007" y="113"/>
                </a:lnTo>
                <a:lnTo>
                  <a:pt x="1035" y="109"/>
                </a:lnTo>
                <a:lnTo>
                  <a:pt x="1065" y="107"/>
                </a:lnTo>
                <a:lnTo>
                  <a:pt x="1096" y="105"/>
                </a:lnTo>
                <a:lnTo>
                  <a:pt x="3791" y="0"/>
                </a:lnTo>
                <a:lnTo>
                  <a:pt x="3814" y="0"/>
                </a:lnTo>
                <a:lnTo>
                  <a:pt x="3836" y="2"/>
                </a:lnTo>
                <a:lnTo>
                  <a:pt x="3857" y="7"/>
                </a:lnTo>
                <a:lnTo>
                  <a:pt x="3877" y="14"/>
                </a:lnTo>
                <a:lnTo>
                  <a:pt x="3897" y="22"/>
                </a:lnTo>
                <a:lnTo>
                  <a:pt x="3915" y="33"/>
                </a:lnTo>
                <a:lnTo>
                  <a:pt x="3932" y="44"/>
                </a:lnTo>
                <a:lnTo>
                  <a:pt x="3947" y="57"/>
                </a:lnTo>
                <a:lnTo>
                  <a:pt x="3960" y="72"/>
                </a:lnTo>
                <a:lnTo>
                  <a:pt x="3973" y="88"/>
                </a:lnTo>
                <a:lnTo>
                  <a:pt x="3977" y="97"/>
                </a:lnTo>
                <a:lnTo>
                  <a:pt x="3982" y="106"/>
                </a:lnTo>
                <a:lnTo>
                  <a:pt x="3987" y="115"/>
                </a:lnTo>
                <a:lnTo>
                  <a:pt x="3990" y="124"/>
                </a:lnTo>
                <a:lnTo>
                  <a:pt x="3993" y="134"/>
                </a:lnTo>
                <a:lnTo>
                  <a:pt x="3996" y="143"/>
                </a:lnTo>
                <a:lnTo>
                  <a:pt x="3997" y="154"/>
                </a:lnTo>
                <a:lnTo>
                  <a:pt x="3998" y="164"/>
                </a:lnTo>
                <a:lnTo>
                  <a:pt x="4000" y="174"/>
                </a:lnTo>
                <a:lnTo>
                  <a:pt x="4000" y="185"/>
                </a:lnTo>
                <a:lnTo>
                  <a:pt x="3998" y="197"/>
                </a:lnTo>
                <a:lnTo>
                  <a:pt x="3997" y="207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Freeform 7"/>
          <p:cNvSpPr>
            <a:spLocks/>
          </p:cNvSpPr>
          <p:nvPr userDrawn="1"/>
        </p:nvSpPr>
        <p:spPr bwMode="auto">
          <a:xfrm>
            <a:off x="9231842" y="4125920"/>
            <a:ext cx="674158" cy="1425575"/>
          </a:xfrm>
          <a:custGeom>
            <a:avLst/>
            <a:gdLst>
              <a:gd name="T0" fmla="*/ 1569 w 1569"/>
              <a:gd name="T1" fmla="*/ 3384 h 3590"/>
              <a:gd name="T2" fmla="*/ 205 w 1569"/>
              <a:gd name="T3" fmla="*/ 3589 h 3590"/>
              <a:gd name="T4" fmla="*/ 194 w 1569"/>
              <a:gd name="T5" fmla="*/ 3590 h 3590"/>
              <a:gd name="T6" fmla="*/ 182 w 1569"/>
              <a:gd name="T7" fmla="*/ 3590 h 3590"/>
              <a:gd name="T8" fmla="*/ 172 w 1569"/>
              <a:gd name="T9" fmla="*/ 3590 h 3590"/>
              <a:gd name="T10" fmla="*/ 162 w 1569"/>
              <a:gd name="T11" fmla="*/ 3590 h 3590"/>
              <a:gd name="T12" fmla="*/ 151 w 1569"/>
              <a:gd name="T13" fmla="*/ 3588 h 3590"/>
              <a:gd name="T14" fmla="*/ 141 w 1569"/>
              <a:gd name="T15" fmla="*/ 3587 h 3590"/>
              <a:gd name="T16" fmla="*/ 131 w 1569"/>
              <a:gd name="T17" fmla="*/ 3584 h 3590"/>
              <a:gd name="T18" fmla="*/ 121 w 1569"/>
              <a:gd name="T19" fmla="*/ 3581 h 3590"/>
              <a:gd name="T20" fmla="*/ 112 w 1569"/>
              <a:gd name="T21" fmla="*/ 3577 h 3590"/>
              <a:gd name="T22" fmla="*/ 103 w 1569"/>
              <a:gd name="T23" fmla="*/ 3573 h 3590"/>
              <a:gd name="T24" fmla="*/ 94 w 1569"/>
              <a:gd name="T25" fmla="*/ 3568 h 3590"/>
              <a:gd name="T26" fmla="*/ 86 w 1569"/>
              <a:gd name="T27" fmla="*/ 3563 h 3590"/>
              <a:gd name="T28" fmla="*/ 70 w 1569"/>
              <a:gd name="T29" fmla="*/ 3551 h 3590"/>
              <a:gd name="T30" fmla="*/ 56 w 1569"/>
              <a:gd name="T31" fmla="*/ 3537 h 3590"/>
              <a:gd name="T32" fmla="*/ 42 w 1569"/>
              <a:gd name="T33" fmla="*/ 3521 h 3590"/>
              <a:gd name="T34" fmla="*/ 30 w 1569"/>
              <a:gd name="T35" fmla="*/ 3504 h 3590"/>
              <a:gd name="T36" fmla="*/ 21 w 1569"/>
              <a:gd name="T37" fmla="*/ 3486 h 3590"/>
              <a:gd name="T38" fmla="*/ 13 w 1569"/>
              <a:gd name="T39" fmla="*/ 3466 h 3590"/>
              <a:gd name="T40" fmla="*/ 7 w 1569"/>
              <a:gd name="T41" fmla="*/ 3446 h 3590"/>
              <a:gd name="T42" fmla="*/ 2 w 1569"/>
              <a:gd name="T43" fmla="*/ 3424 h 3590"/>
              <a:gd name="T44" fmla="*/ 0 w 1569"/>
              <a:gd name="T45" fmla="*/ 3403 h 3590"/>
              <a:gd name="T46" fmla="*/ 0 w 1569"/>
              <a:gd name="T47" fmla="*/ 3380 h 3590"/>
              <a:gd name="T48" fmla="*/ 149 w 1569"/>
              <a:gd name="T49" fmla="*/ 687 h 3590"/>
              <a:gd name="T50" fmla="*/ 150 w 1569"/>
              <a:gd name="T51" fmla="*/ 656 h 3590"/>
              <a:gd name="T52" fmla="*/ 153 w 1569"/>
              <a:gd name="T53" fmla="*/ 627 h 3590"/>
              <a:gd name="T54" fmla="*/ 158 w 1569"/>
              <a:gd name="T55" fmla="*/ 598 h 3590"/>
              <a:gd name="T56" fmla="*/ 163 w 1569"/>
              <a:gd name="T57" fmla="*/ 570 h 3590"/>
              <a:gd name="T58" fmla="*/ 168 w 1569"/>
              <a:gd name="T59" fmla="*/ 542 h 3590"/>
              <a:gd name="T60" fmla="*/ 175 w 1569"/>
              <a:gd name="T61" fmla="*/ 516 h 3590"/>
              <a:gd name="T62" fmla="*/ 184 w 1569"/>
              <a:gd name="T63" fmla="*/ 491 h 3590"/>
              <a:gd name="T64" fmla="*/ 193 w 1569"/>
              <a:gd name="T65" fmla="*/ 466 h 3590"/>
              <a:gd name="T66" fmla="*/ 202 w 1569"/>
              <a:gd name="T67" fmla="*/ 443 h 3590"/>
              <a:gd name="T68" fmla="*/ 213 w 1569"/>
              <a:gd name="T69" fmla="*/ 421 h 3590"/>
              <a:gd name="T70" fmla="*/ 224 w 1569"/>
              <a:gd name="T71" fmla="*/ 399 h 3590"/>
              <a:gd name="T72" fmla="*/ 236 w 1569"/>
              <a:gd name="T73" fmla="*/ 378 h 3590"/>
              <a:gd name="T74" fmla="*/ 249 w 1569"/>
              <a:gd name="T75" fmla="*/ 358 h 3590"/>
              <a:gd name="T76" fmla="*/ 263 w 1569"/>
              <a:gd name="T77" fmla="*/ 340 h 3590"/>
              <a:gd name="T78" fmla="*/ 277 w 1569"/>
              <a:gd name="T79" fmla="*/ 322 h 3590"/>
              <a:gd name="T80" fmla="*/ 292 w 1569"/>
              <a:gd name="T81" fmla="*/ 305 h 3590"/>
              <a:gd name="T82" fmla="*/ 308 w 1569"/>
              <a:gd name="T83" fmla="*/ 289 h 3590"/>
              <a:gd name="T84" fmla="*/ 324 w 1569"/>
              <a:gd name="T85" fmla="*/ 272 h 3590"/>
              <a:gd name="T86" fmla="*/ 342 w 1569"/>
              <a:gd name="T87" fmla="*/ 258 h 3590"/>
              <a:gd name="T88" fmla="*/ 359 w 1569"/>
              <a:gd name="T89" fmla="*/ 244 h 3590"/>
              <a:gd name="T90" fmla="*/ 378 w 1569"/>
              <a:gd name="T91" fmla="*/ 232 h 3590"/>
              <a:gd name="T92" fmla="*/ 396 w 1569"/>
              <a:gd name="T93" fmla="*/ 219 h 3590"/>
              <a:gd name="T94" fmla="*/ 416 w 1569"/>
              <a:gd name="T95" fmla="*/ 208 h 3590"/>
              <a:gd name="T96" fmla="*/ 436 w 1569"/>
              <a:gd name="T97" fmla="*/ 198 h 3590"/>
              <a:gd name="T98" fmla="*/ 457 w 1569"/>
              <a:gd name="T99" fmla="*/ 188 h 3590"/>
              <a:gd name="T100" fmla="*/ 478 w 1569"/>
              <a:gd name="T101" fmla="*/ 179 h 3590"/>
              <a:gd name="T102" fmla="*/ 500 w 1569"/>
              <a:gd name="T103" fmla="*/ 171 h 3590"/>
              <a:gd name="T104" fmla="*/ 522 w 1569"/>
              <a:gd name="T105" fmla="*/ 164 h 3590"/>
              <a:gd name="T106" fmla="*/ 545 w 1569"/>
              <a:gd name="T107" fmla="*/ 157 h 3590"/>
              <a:gd name="T108" fmla="*/ 568 w 1569"/>
              <a:gd name="T109" fmla="*/ 152 h 3590"/>
              <a:gd name="T110" fmla="*/ 592 w 1569"/>
              <a:gd name="T111" fmla="*/ 147 h 3590"/>
              <a:gd name="T112" fmla="*/ 616 w 1569"/>
              <a:gd name="T113" fmla="*/ 143 h 3590"/>
              <a:gd name="T114" fmla="*/ 1569 w 1569"/>
              <a:gd name="T115" fmla="*/ 0 h 3590"/>
              <a:gd name="T116" fmla="*/ 1569 w 1569"/>
              <a:gd name="T117" fmla="*/ 3384 h 35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569" h="3590">
                <a:moveTo>
                  <a:pt x="1569" y="3384"/>
                </a:moveTo>
                <a:lnTo>
                  <a:pt x="205" y="3589"/>
                </a:lnTo>
                <a:lnTo>
                  <a:pt x="194" y="3590"/>
                </a:lnTo>
                <a:lnTo>
                  <a:pt x="182" y="3590"/>
                </a:lnTo>
                <a:lnTo>
                  <a:pt x="172" y="3590"/>
                </a:lnTo>
                <a:lnTo>
                  <a:pt x="162" y="3590"/>
                </a:lnTo>
                <a:lnTo>
                  <a:pt x="151" y="3588"/>
                </a:lnTo>
                <a:lnTo>
                  <a:pt x="141" y="3587"/>
                </a:lnTo>
                <a:lnTo>
                  <a:pt x="131" y="3584"/>
                </a:lnTo>
                <a:lnTo>
                  <a:pt x="121" y="3581"/>
                </a:lnTo>
                <a:lnTo>
                  <a:pt x="112" y="3577"/>
                </a:lnTo>
                <a:lnTo>
                  <a:pt x="103" y="3573"/>
                </a:lnTo>
                <a:lnTo>
                  <a:pt x="94" y="3568"/>
                </a:lnTo>
                <a:lnTo>
                  <a:pt x="86" y="3563"/>
                </a:lnTo>
                <a:lnTo>
                  <a:pt x="70" y="3551"/>
                </a:lnTo>
                <a:lnTo>
                  <a:pt x="56" y="3537"/>
                </a:lnTo>
                <a:lnTo>
                  <a:pt x="42" y="3521"/>
                </a:lnTo>
                <a:lnTo>
                  <a:pt x="30" y="3504"/>
                </a:lnTo>
                <a:lnTo>
                  <a:pt x="21" y="3486"/>
                </a:lnTo>
                <a:lnTo>
                  <a:pt x="13" y="3466"/>
                </a:lnTo>
                <a:lnTo>
                  <a:pt x="7" y="3446"/>
                </a:lnTo>
                <a:lnTo>
                  <a:pt x="2" y="3424"/>
                </a:lnTo>
                <a:lnTo>
                  <a:pt x="0" y="3403"/>
                </a:lnTo>
                <a:lnTo>
                  <a:pt x="0" y="3380"/>
                </a:lnTo>
                <a:lnTo>
                  <a:pt x="149" y="687"/>
                </a:lnTo>
                <a:lnTo>
                  <a:pt x="150" y="656"/>
                </a:lnTo>
                <a:lnTo>
                  <a:pt x="153" y="627"/>
                </a:lnTo>
                <a:lnTo>
                  <a:pt x="158" y="598"/>
                </a:lnTo>
                <a:lnTo>
                  <a:pt x="163" y="570"/>
                </a:lnTo>
                <a:lnTo>
                  <a:pt x="168" y="542"/>
                </a:lnTo>
                <a:lnTo>
                  <a:pt x="175" y="516"/>
                </a:lnTo>
                <a:lnTo>
                  <a:pt x="184" y="491"/>
                </a:lnTo>
                <a:lnTo>
                  <a:pt x="193" y="466"/>
                </a:lnTo>
                <a:lnTo>
                  <a:pt x="202" y="443"/>
                </a:lnTo>
                <a:lnTo>
                  <a:pt x="213" y="421"/>
                </a:lnTo>
                <a:lnTo>
                  <a:pt x="224" y="399"/>
                </a:lnTo>
                <a:lnTo>
                  <a:pt x="236" y="378"/>
                </a:lnTo>
                <a:lnTo>
                  <a:pt x="249" y="358"/>
                </a:lnTo>
                <a:lnTo>
                  <a:pt x="263" y="340"/>
                </a:lnTo>
                <a:lnTo>
                  <a:pt x="277" y="322"/>
                </a:lnTo>
                <a:lnTo>
                  <a:pt x="292" y="305"/>
                </a:lnTo>
                <a:lnTo>
                  <a:pt x="308" y="289"/>
                </a:lnTo>
                <a:lnTo>
                  <a:pt x="324" y="272"/>
                </a:lnTo>
                <a:lnTo>
                  <a:pt x="342" y="258"/>
                </a:lnTo>
                <a:lnTo>
                  <a:pt x="359" y="244"/>
                </a:lnTo>
                <a:lnTo>
                  <a:pt x="378" y="232"/>
                </a:lnTo>
                <a:lnTo>
                  <a:pt x="396" y="219"/>
                </a:lnTo>
                <a:lnTo>
                  <a:pt x="416" y="208"/>
                </a:lnTo>
                <a:lnTo>
                  <a:pt x="436" y="198"/>
                </a:lnTo>
                <a:lnTo>
                  <a:pt x="457" y="188"/>
                </a:lnTo>
                <a:lnTo>
                  <a:pt x="478" y="179"/>
                </a:lnTo>
                <a:lnTo>
                  <a:pt x="500" y="171"/>
                </a:lnTo>
                <a:lnTo>
                  <a:pt x="522" y="164"/>
                </a:lnTo>
                <a:lnTo>
                  <a:pt x="545" y="157"/>
                </a:lnTo>
                <a:lnTo>
                  <a:pt x="568" y="152"/>
                </a:lnTo>
                <a:lnTo>
                  <a:pt x="592" y="147"/>
                </a:lnTo>
                <a:lnTo>
                  <a:pt x="616" y="143"/>
                </a:lnTo>
                <a:lnTo>
                  <a:pt x="1569" y="0"/>
                </a:lnTo>
                <a:lnTo>
                  <a:pt x="1569" y="3384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0" name="Freeform 9"/>
          <p:cNvSpPr>
            <a:spLocks/>
          </p:cNvSpPr>
          <p:nvPr userDrawn="1"/>
        </p:nvSpPr>
        <p:spPr bwMode="auto">
          <a:xfrm>
            <a:off x="8905177" y="5940604"/>
            <a:ext cx="1000919" cy="917575"/>
          </a:xfrm>
          <a:custGeom>
            <a:avLst/>
            <a:gdLst>
              <a:gd name="T0" fmla="*/ 759 w 2327"/>
              <a:gd name="T1" fmla="*/ 2310 h 2310"/>
              <a:gd name="T2" fmla="*/ 19 w 2327"/>
              <a:gd name="T3" fmla="*/ 851 h 2310"/>
              <a:gd name="T4" fmla="*/ 14 w 2327"/>
              <a:gd name="T5" fmla="*/ 841 h 2310"/>
              <a:gd name="T6" fmla="*/ 9 w 2327"/>
              <a:gd name="T7" fmla="*/ 832 h 2310"/>
              <a:gd name="T8" fmla="*/ 6 w 2327"/>
              <a:gd name="T9" fmla="*/ 821 h 2310"/>
              <a:gd name="T10" fmla="*/ 4 w 2327"/>
              <a:gd name="T11" fmla="*/ 811 h 2310"/>
              <a:gd name="T12" fmla="*/ 1 w 2327"/>
              <a:gd name="T13" fmla="*/ 800 h 2310"/>
              <a:gd name="T14" fmla="*/ 0 w 2327"/>
              <a:gd name="T15" fmla="*/ 790 h 2310"/>
              <a:gd name="T16" fmla="*/ 0 w 2327"/>
              <a:gd name="T17" fmla="*/ 781 h 2310"/>
              <a:gd name="T18" fmla="*/ 0 w 2327"/>
              <a:gd name="T19" fmla="*/ 770 h 2310"/>
              <a:gd name="T20" fmla="*/ 0 w 2327"/>
              <a:gd name="T21" fmla="*/ 760 h 2310"/>
              <a:gd name="T22" fmla="*/ 1 w 2327"/>
              <a:gd name="T23" fmla="*/ 750 h 2310"/>
              <a:gd name="T24" fmla="*/ 4 w 2327"/>
              <a:gd name="T25" fmla="*/ 740 h 2310"/>
              <a:gd name="T26" fmla="*/ 6 w 2327"/>
              <a:gd name="T27" fmla="*/ 731 h 2310"/>
              <a:gd name="T28" fmla="*/ 13 w 2327"/>
              <a:gd name="T29" fmla="*/ 712 h 2310"/>
              <a:gd name="T30" fmla="*/ 21 w 2327"/>
              <a:gd name="T31" fmla="*/ 693 h 2310"/>
              <a:gd name="T32" fmla="*/ 32 w 2327"/>
              <a:gd name="T33" fmla="*/ 676 h 2310"/>
              <a:gd name="T34" fmla="*/ 44 w 2327"/>
              <a:gd name="T35" fmla="*/ 660 h 2310"/>
              <a:gd name="T36" fmla="*/ 58 w 2327"/>
              <a:gd name="T37" fmla="*/ 645 h 2310"/>
              <a:gd name="T38" fmla="*/ 75 w 2327"/>
              <a:gd name="T39" fmla="*/ 631 h 2310"/>
              <a:gd name="T40" fmla="*/ 92 w 2327"/>
              <a:gd name="T41" fmla="*/ 619 h 2310"/>
              <a:gd name="T42" fmla="*/ 111 w 2327"/>
              <a:gd name="T43" fmla="*/ 607 h 2310"/>
              <a:gd name="T44" fmla="*/ 130 w 2327"/>
              <a:gd name="T45" fmla="*/ 599 h 2310"/>
              <a:gd name="T46" fmla="*/ 152 w 2327"/>
              <a:gd name="T47" fmla="*/ 592 h 2310"/>
              <a:gd name="T48" fmla="*/ 2327 w 2327"/>
              <a:gd name="T49" fmla="*/ 0 h 2310"/>
              <a:gd name="T50" fmla="*/ 2327 w 2327"/>
              <a:gd name="T51" fmla="*/ 2310 h 2310"/>
              <a:gd name="T52" fmla="*/ 759 w 2327"/>
              <a:gd name="T53" fmla="*/ 2310 h 2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2327" h="2310">
                <a:moveTo>
                  <a:pt x="759" y="2310"/>
                </a:moveTo>
                <a:lnTo>
                  <a:pt x="19" y="851"/>
                </a:lnTo>
                <a:lnTo>
                  <a:pt x="14" y="841"/>
                </a:lnTo>
                <a:lnTo>
                  <a:pt x="9" y="832"/>
                </a:lnTo>
                <a:lnTo>
                  <a:pt x="6" y="821"/>
                </a:lnTo>
                <a:lnTo>
                  <a:pt x="4" y="811"/>
                </a:lnTo>
                <a:lnTo>
                  <a:pt x="1" y="800"/>
                </a:lnTo>
                <a:lnTo>
                  <a:pt x="0" y="790"/>
                </a:lnTo>
                <a:lnTo>
                  <a:pt x="0" y="781"/>
                </a:lnTo>
                <a:lnTo>
                  <a:pt x="0" y="770"/>
                </a:lnTo>
                <a:lnTo>
                  <a:pt x="0" y="760"/>
                </a:lnTo>
                <a:lnTo>
                  <a:pt x="1" y="750"/>
                </a:lnTo>
                <a:lnTo>
                  <a:pt x="4" y="740"/>
                </a:lnTo>
                <a:lnTo>
                  <a:pt x="6" y="731"/>
                </a:lnTo>
                <a:lnTo>
                  <a:pt x="13" y="712"/>
                </a:lnTo>
                <a:lnTo>
                  <a:pt x="21" y="693"/>
                </a:lnTo>
                <a:lnTo>
                  <a:pt x="32" y="676"/>
                </a:lnTo>
                <a:lnTo>
                  <a:pt x="44" y="660"/>
                </a:lnTo>
                <a:lnTo>
                  <a:pt x="58" y="645"/>
                </a:lnTo>
                <a:lnTo>
                  <a:pt x="75" y="631"/>
                </a:lnTo>
                <a:lnTo>
                  <a:pt x="92" y="619"/>
                </a:lnTo>
                <a:lnTo>
                  <a:pt x="111" y="607"/>
                </a:lnTo>
                <a:lnTo>
                  <a:pt x="130" y="599"/>
                </a:lnTo>
                <a:lnTo>
                  <a:pt x="152" y="592"/>
                </a:lnTo>
                <a:lnTo>
                  <a:pt x="2327" y="0"/>
                </a:lnTo>
                <a:lnTo>
                  <a:pt x="2327" y="2310"/>
                </a:lnTo>
                <a:lnTo>
                  <a:pt x="759" y="2310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2" name="Freeform 11"/>
          <p:cNvSpPr>
            <a:spLocks/>
          </p:cNvSpPr>
          <p:nvPr userDrawn="1"/>
        </p:nvSpPr>
        <p:spPr bwMode="auto">
          <a:xfrm>
            <a:off x="7248937" y="6127750"/>
            <a:ext cx="1389592" cy="730250"/>
          </a:xfrm>
          <a:custGeom>
            <a:avLst/>
            <a:gdLst>
              <a:gd name="T0" fmla="*/ 0 w 3232"/>
              <a:gd name="T1" fmla="*/ 1840 h 1840"/>
              <a:gd name="T2" fmla="*/ 1817 w 3232"/>
              <a:gd name="T3" fmla="*/ 49 h 1840"/>
              <a:gd name="T4" fmla="*/ 1825 w 3232"/>
              <a:gd name="T5" fmla="*/ 42 h 1840"/>
              <a:gd name="T6" fmla="*/ 1834 w 3232"/>
              <a:gd name="T7" fmla="*/ 35 h 1840"/>
              <a:gd name="T8" fmla="*/ 1842 w 3232"/>
              <a:gd name="T9" fmla="*/ 28 h 1840"/>
              <a:gd name="T10" fmla="*/ 1852 w 3232"/>
              <a:gd name="T11" fmla="*/ 22 h 1840"/>
              <a:gd name="T12" fmla="*/ 1861 w 3232"/>
              <a:gd name="T13" fmla="*/ 18 h 1840"/>
              <a:gd name="T14" fmla="*/ 1870 w 3232"/>
              <a:gd name="T15" fmla="*/ 13 h 1840"/>
              <a:gd name="T16" fmla="*/ 1880 w 3232"/>
              <a:gd name="T17" fmla="*/ 10 h 1840"/>
              <a:gd name="T18" fmla="*/ 1889 w 3232"/>
              <a:gd name="T19" fmla="*/ 7 h 1840"/>
              <a:gd name="T20" fmla="*/ 1899 w 3232"/>
              <a:gd name="T21" fmla="*/ 4 h 1840"/>
              <a:gd name="T22" fmla="*/ 1909 w 3232"/>
              <a:gd name="T23" fmla="*/ 3 h 1840"/>
              <a:gd name="T24" fmla="*/ 1919 w 3232"/>
              <a:gd name="T25" fmla="*/ 1 h 1840"/>
              <a:gd name="T26" fmla="*/ 1928 w 3232"/>
              <a:gd name="T27" fmla="*/ 0 h 1840"/>
              <a:gd name="T28" fmla="*/ 1949 w 3232"/>
              <a:gd name="T29" fmla="*/ 0 h 1840"/>
              <a:gd name="T30" fmla="*/ 1969 w 3232"/>
              <a:gd name="T31" fmla="*/ 4 h 1840"/>
              <a:gd name="T32" fmla="*/ 1989 w 3232"/>
              <a:gd name="T33" fmla="*/ 8 h 1840"/>
              <a:gd name="T34" fmla="*/ 2007 w 3232"/>
              <a:gd name="T35" fmla="*/ 15 h 1840"/>
              <a:gd name="T36" fmla="*/ 2026 w 3232"/>
              <a:gd name="T37" fmla="*/ 25 h 1840"/>
              <a:gd name="T38" fmla="*/ 2045 w 3232"/>
              <a:gd name="T39" fmla="*/ 35 h 1840"/>
              <a:gd name="T40" fmla="*/ 2061 w 3232"/>
              <a:gd name="T41" fmla="*/ 48 h 1840"/>
              <a:gd name="T42" fmla="*/ 2077 w 3232"/>
              <a:gd name="T43" fmla="*/ 63 h 1840"/>
              <a:gd name="T44" fmla="*/ 2092 w 3232"/>
              <a:gd name="T45" fmla="*/ 79 h 1840"/>
              <a:gd name="T46" fmla="*/ 2105 w 3232"/>
              <a:gd name="T47" fmla="*/ 98 h 1840"/>
              <a:gd name="T48" fmla="*/ 3232 w 3232"/>
              <a:gd name="T49" fmla="*/ 1840 h 1840"/>
              <a:gd name="T50" fmla="*/ 0 w 3232"/>
              <a:gd name="T51" fmla="*/ 1840 h 18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232" h="1840">
                <a:moveTo>
                  <a:pt x="0" y="1840"/>
                </a:moveTo>
                <a:lnTo>
                  <a:pt x="1817" y="49"/>
                </a:lnTo>
                <a:lnTo>
                  <a:pt x="1825" y="42"/>
                </a:lnTo>
                <a:lnTo>
                  <a:pt x="1834" y="35"/>
                </a:lnTo>
                <a:lnTo>
                  <a:pt x="1842" y="28"/>
                </a:lnTo>
                <a:lnTo>
                  <a:pt x="1852" y="22"/>
                </a:lnTo>
                <a:lnTo>
                  <a:pt x="1861" y="18"/>
                </a:lnTo>
                <a:lnTo>
                  <a:pt x="1870" y="13"/>
                </a:lnTo>
                <a:lnTo>
                  <a:pt x="1880" y="10"/>
                </a:lnTo>
                <a:lnTo>
                  <a:pt x="1889" y="7"/>
                </a:lnTo>
                <a:lnTo>
                  <a:pt x="1899" y="4"/>
                </a:lnTo>
                <a:lnTo>
                  <a:pt x="1909" y="3"/>
                </a:lnTo>
                <a:lnTo>
                  <a:pt x="1919" y="1"/>
                </a:lnTo>
                <a:lnTo>
                  <a:pt x="1928" y="0"/>
                </a:lnTo>
                <a:lnTo>
                  <a:pt x="1949" y="0"/>
                </a:lnTo>
                <a:lnTo>
                  <a:pt x="1969" y="4"/>
                </a:lnTo>
                <a:lnTo>
                  <a:pt x="1989" y="8"/>
                </a:lnTo>
                <a:lnTo>
                  <a:pt x="2007" y="15"/>
                </a:lnTo>
                <a:lnTo>
                  <a:pt x="2026" y="25"/>
                </a:lnTo>
                <a:lnTo>
                  <a:pt x="2045" y="35"/>
                </a:lnTo>
                <a:lnTo>
                  <a:pt x="2061" y="48"/>
                </a:lnTo>
                <a:lnTo>
                  <a:pt x="2077" y="63"/>
                </a:lnTo>
                <a:lnTo>
                  <a:pt x="2092" y="79"/>
                </a:lnTo>
                <a:lnTo>
                  <a:pt x="2105" y="98"/>
                </a:lnTo>
                <a:lnTo>
                  <a:pt x="3232" y="1840"/>
                </a:lnTo>
                <a:lnTo>
                  <a:pt x="0" y="1840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4" name="Freeform 13"/>
          <p:cNvSpPr>
            <a:spLocks/>
          </p:cNvSpPr>
          <p:nvPr userDrawn="1"/>
        </p:nvSpPr>
        <p:spPr bwMode="auto">
          <a:xfrm>
            <a:off x="5510213" y="4397554"/>
            <a:ext cx="2424906" cy="1976437"/>
          </a:xfrm>
          <a:custGeom>
            <a:avLst/>
            <a:gdLst>
              <a:gd name="T0" fmla="*/ 5548 w 5640"/>
              <a:gd name="T1" fmla="*/ 2360 h 4980"/>
              <a:gd name="T2" fmla="*/ 5567 w 5640"/>
              <a:gd name="T3" fmla="*/ 2372 h 4980"/>
              <a:gd name="T4" fmla="*/ 5584 w 5640"/>
              <a:gd name="T5" fmla="*/ 2385 h 4980"/>
              <a:gd name="T6" fmla="*/ 5598 w 5640"/>
              <a:gd name="T7" fmla="*/ 2400 h 4980"/>
              <a:gd name="T8" fmla="*/ 5611 w 5640"/>
              <a:gd name="T9" fmla="*/ 2415 h 4980"/>
              <a:gd name="T10" fmla="*/ 5621 w 5640"/>
              <a:gd name="T11" fmla="*/ 2432 h 4980"/>
              <a:gd name="T12" fmla="*/ 5629 w 5640"/>
              <a:gd name="T13" fmla="*/ 2451 h 4980"/>
              <a:gd name="T14" fmla="*/ 5639 w 5640"/>
              <a:gd name="T15" fmla="*/ 2490 h 4980"/>
              <a:gd name="T16" fmla="*/ 5640 w 5640"/>
              <a:gd name="T17" fmla="*/ 2531 h 4980"/>
              <a:gd name="T18" fmla="*/ 5632 w 5640"/>
              <a:gd name="T19" fmla="*/ 2572 h 4980"/>
              <a:gd name="T20" fmla="*/ 5616 w 5640"/>
              <a:gd name="T21" fmla="*/ 2611 h 4980"/>
              <a:gd name="T22" fmla="*/ 5591 w 5640"/>
              <a:gd name="T23" fmla="*/ 2648 h 4980"/>
              <a:gd name="T24" fmla="*/ 3873 w 5640"/>
              <a:gd name="T25" fmla="*/ 4768 h 4980"/>
              <a:gd name="T26" fmla="*/ 3834 w 5640"/>
              <a:gd name="T27" fmla="*/ 4811 h 4980"/>
              <a:gd name="T28" fmla="*/ 3792 w 5640"/>
              <a:gd name="T29" fmla="*/ 4850 h 4980"/>
              <a:gd name="T30" fmla="*/ 3750 w 5640"/>
              <a:gd name="T31" fmla="*/ 4882 h 4980"/>
              <a:gd name="T32" fmla="*/ 3707 w 5640"/>
              <a:gd name="T33" fmla="*/ 4910 h 4980"/>
              <a:gd name="T34" fmla="*/ 3664 w 5640"/>
              <a:gd name="T35" fmla="*/ 4933 h 4980"/>
              <a:gd name="T36" fmla="*/ 3620 w 5640"/>
              <a:gd name="T37" fmla="*/ 4952 h 4980"/>
              <a:gd name="T38" fmla="*/ 3576 w 5640"/>
              <a:gd name="T39" fmla="*/ 4966 h 4980"/>
              <a:gd name="T40" fmla="*/ 3530 w 5640"/>
              <a:gd name="T41" fmla="*/ 4975 h 4980"/>
              <a:gd name="T42" fmla="*/ 3486 w 5640"/>
              <a:gd name="T43" fmla="*/ 4980 h 4980"/>
              <a:gd name="T44" fmla="*/ 3441 w 5640"/>
              <a:gd name="T45" fmla="*/ 4980 h 4980"/>
              <a:gd name="T46" fmla="*/ 3397 w 5640"/>
              <a:gd name="T47" fmla="*/ 4976 h 4980"/>
              <a:gd name="T48" fmla="*/ 3351 w 5640"/>
              <a:gd name="T49" fmla="*/ 4968 h 4980"/>
              <a:gd name="T50" fmla="*/ 3306 w 5640"/>
              <a:gd name="T51" fmla="*/ 4957 h 4980"/>
              <a:gd name="T52" fmla="*/ 3262 w 5640"/>
              <a:gd name="T53" fmla="*/ 4941 h 4980"/>
              <a:gd name="T54" fmla="*/ 3218 w 5640"/>
              <a:gd name="T55" fmla="*/ 4923 h 4980"/>
              <a:gd name="T56" fmla="*/ 297 w 5640"/>
              <a:gd name="T57" fmla="*/ 3413 h 4980"/>
              <a:gd name="T58" fmla="*/ 254 w 5640"/>
              <a:gd name="T59" fmla="*/ 3390 h 4980"/>
              <a:gd name="T60" fmla="*/ 215 w 5640"/>
              <a:gd name="T61" fmla="*/ 3363 h 4980"/>
              <a:gd name="T62" fmla="*/ 179 w 5640"/>
              <a:gd name="T63" fmla="*/ 3335 h 4980"/>
              <a:gd name="T64" fmla="*/ 144 w 5640"/>
              <a:gd name="T65" fmla="*/ 3304 h 4980"/>
              <a:gd name="T66" fmla="*/ 113 w 5640"/>
              <a:gd name="T67" fmla="*/ 3270 h 4980"/>
              <a:gd name="T68" fmla="*/ 87 w 5640"/>
              <a:gd name="T69" fmla="*/ 3235 h 4980"/>
              <a:gd name="T70" fmla="*/ 62 w 5640"/>
              <a:gd name="T71" fmla="*/ 3197 h 4980"/>
              <a:gd name="T72" fmla="*/ 43 w 5640"/>
              <a:gd name="T73" fmla="*/ 3156 h 4980"/>
              <a:gd name="T74" fmla="*/ 25 w 5640"/>
              <a:gd name="T75" fmla="*/ 3113 h 4980"/>
              <a:gd name="T76" fmla="*/ 13 w 5640"/>
              <a:gd name="T77" fmla="*/ 3068 h 4980"/>
              <a:gd name="T78" fmla="*/ 4 w 5640"/>
              <a:gd name="T79" fmla="*/ 3020 h 4980"/>
              <a:gd name="T80" fmla="*/ 1 w 5640"/>
              <a:gd name="T81" fmla="*/ 2972 h 4980"/>
              <a:gd name="T82" fmla="*/ 1 w 5640"/>
              <a:gd name="T83" fmla="*/ 2919 h 4980"/>
              <a:gd name="T84" fmla="*/ 5 w 5640"/>
              <a:gd name="T85" fmla="*/ 2865 h 4980"/>
              <a:gd name="T86" fmla="*/ 15 w 5640"/>
              <a:gd name="T87" fmla="*/ 2808 h 4980"/>
              <a:gd name="T88" fmla="*/ 30 w 5640"/>
              <a:gd name="T89" fmla="*/ 2748 h 4980"/>
              <a:gd name="T90" fmla="*/ 764 w 5640"/>
              <a:gd name="T91" fmla="*/ 130 h 4980"/>
              <a:gd name="T92" fmla="*/ 784 w 5640"/>
              <a:gd name="T93" fmla="*/ 90 h 4980"/>
              <a:gd name="T94" fmla="*/ 810 w 5640"/>
              <a:gd name="T95" fmla="*/ 58 h 4980"/>
              <a:gd name="T96" fmla="*/ 841 w 5640"/>
              <a:gd name="T97" fmla="*/ 31 h 4980"/>
              <a:gd name="T98" fmla="*/ 877 w 5640"/>
              <a:gd name="T99" fmla="*/ 11 h 4980"/>
              <a:gd name="T100" fmla="*/ 906 w 5640"/>
              <a:gd name="T101" fmla="*/ 3 h 4980"/>
              <a:gd name="T102" fmla="*/ 926 w 5640"/>
              <a:gd name="T103" fmla="*/ 1 h 4980"/>
              <a:gd name="T104" fmla="*/ 946 w 5640"/>
              <a:gd name="T105" fmla="*/ 0 h 4980"/>
              <a:gd name="T106" fmla="*/ 967 w 5640"/>
              <a:gd name="T107" fmla="*/ 2 h 4980"/>
              <a:gd name="T108" fmla="*/ 986 w 5640"/>
              <a:gd name="T109" fmla="*/ 7 h 4980"/>
              <a:gd name="T110" fmla="*/ 1007 w 5640"/>
              <a:gd name="T111" fmla="*/ 14 h 49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640" h="4980">
                <a:moveTo>
                  <a:pt x="1018" y="20"/>
                </a:moveTo>
                <a:lnTo>
                  <a:pt x="5548" y="2360"/>
                </a:lnTo>
                <a:lnTo>
                  <a:pt x="5557" y="2366"/>
                </a:lnTo>
                <a:lnTo>
                  <a:pt x="5567" y="2372"/>
                </a:lnTo>
                <a:lnTo>
                  <a:pt x="5576" y="2378"/>
                </a:lnTo>
                <a:lnTo>
                  <a:pt x="5584" y="2385"/>
                </a:lnTo>
                <a:lnTo>
                  <a:pt x="5591" y="2392"/>
                </a:lnTo>
                <a:lnTo>
                  <a:pt x="5598" y="2400"/>
                </a:lnTo>
                <a:lnTo>
                  <a:pt x="5605" y="2407"/>
                </a:lnTo>
                <a:lnTo>
                  <a:pt x="5611" y="2415"/>
                </a:lnTo>
                <a:lnTo>
                  <a:pt x="5617" y="2424"/>
                </a:lnTo>
                <a:lnTo>
                  <a:pt x="5621" y="2432"/>
                </a:lnTo>
                <a:lnTo>
                  <a:pt x="5626" y="2442"/>
                </a:lnTo>
                <a:lnTo>
                  <a:pt x="5629" y="2451"/>
                </a:lnTo>
                <a:lnTo>
                  <a:pt x="5635" y="2471"/>
                </a:lnTo>
                <a:lnTo>
                  <a:pt x="5639" y="2490"/>
                </a:lnTo>
                <a:lnTo>
                  <a:pt x="5640" y="2510"/>
                </a:lnTo>
                <a:lnTo>
                  <a:pt x="5640" y="2531"/>
                </a:lnTo>
                <a:lnTo>
                  <a:pt x="5636" y="2551"/>
                </a:lnTo>
                <a:lnTo>
                  <a:pt x="5632" y="2572"/>
                </a:lnTo>
                <a:lnTo>
                  <a:pt x="5625" y="2592"/>
                </a:lnTo>
                <a:lnTo>
                  <a:pt x="5616" y="2611"/>
                </a:lnTo>
                <a:lnTo>
                  <a:pt x="5605" y="2631"/>
                </a:lnTo>
                <a:lnTo>
                  <a:pt x="5591" y="2648"/>
                </a:lnTo>
                <a:lnTo>
                  <a:pt x="3894" y="4745"/>
                </a:lnTo>
                <a:lnTo>
                  <a:pt x="3873" y="4768"/>
                </a:lnTo>
                <a:lnTo>
                  <a:pt x="3854" y="4790"/>
                </a:lnTo>
                <a:lnTo>
                  <a:pt x="3834" y="4811"/>
                </a:lnTo>
                <a:lnTo>
                  <a:pt x="3813" y="4831"/>
                </a:lnTo>
                <a:lnTo>
                  <a:pt x="3792" y="4850"/>
                </a:lnTo>
                <a:lnTo>
                  <a:pt x="3771" y="4867"/>
                </a:lnTo>
                <a:lnTo>
                  <a:pt x="3750" y="4882"/>
                </a:lnTo>
                <a:lnTo>
                  <a:pt x="3729" y="4897"/>
                </a:lnTo>
                <a:lnTo>
                  <a:pt x="3707" y="4910"/>
                </a:lnTo>
                <a:lnTo>
                  <a:pt x="3686" y="4923"/>
                </a:lnTo>
                <a:lnTo>
                  <a:pt x="3664" y="4933"/>
                </a:lnTo>
                <a:lnTo>
                  <a:pt x="3642" y="4944"/>
                </a:lnTo>
                <a:lnTo>
                  <a:pt x="3620" y="4952"/>
                </a:lnTo>
                <a:lnTo>
                  <a:pt x="3598" y="4959"/>
                </a:lnTo>
                <a:lnTo>
                  <a:pt x="3576" y="4966"/>
                </a:lnTo>
                <a:lnTo>
                  <a:pt x="3554" y="4971"/>
                </a:lnTo>
                <a:lnTo>
                  <a:pt x="3530" y="4975"/>
                </a:lnTo>
                <a:lnTo>
                  <a:pt x="3508" y="4978"/>
                </a:lnTo>
                <a:lnTo>
                  <a:pt x="3486" y="4980"/>
                </a:lnTo>
                <a:lnTo>
                  <a:pt x="3464" y="4980"/>
                </a:lnTo>
                <a:lnTo>
                  <a:pt x="3441" y="4980"/>
                </a:lnTo>
                <a:lnTo>
                  <a:pt x="3419" y="4979"/>
                </a:lnTo>
                <a:lnTo>
                  <a:pt x="3397" y="4976"/>
                </a:lnTo>
                <a:lnTo>
                  <a:pt x="3374" y="4973"/>
                </a:lnTo>
                <a:lnTo>
                  <a:pt x="3351" y="4968"/>
                </a:lnTo>
                <a:lnTo>
                  <a:pt x="3329" y="4964"/>
                </a:lnTo>
                <a:lnTo>
                  <a:pt x="3306" y="4957"/>
                </a:lnTo>
                <a:lnTo>
                  <a:pt x="3284" y="4950"/>
                </a:lnTo>
                <a:lnTo>
                  <a:pt x="3262" y="4941"/>
                </a:lnTo>
                <a:lnTo>
                  <a:pt x="3240" y="4932"/>
                </a:lnTo>
                <a:lnTo>
                  <a:pt x="3218" y="4923"/>
                </a:lnTo>
                <a:lnTo>
                  <a:pt x="3196" y="4911"/>
                </a:lnTo>
                <a:lnTo>
                  <a:pt x="297" y="3413"/>
                </a:lnTo>
                <a:lnTo>
                  <a:pt x="275" y="3402"/>
                </a:lnTo>
                <a:lnTo>
                  <a:pt x="254" y="3390"/>
                </a:lnTo>
                <a:lnTo>
                  <a:pt x="234" y="3377"/>
                </a:lnTo>
                <a:lnTo>
                  <a:pt x="215" y="3363"/>
                </a:lnTo>
                <a:lnTo>
                  <a:pt x="196" y="3349"/>
                </a:lnTo>
                <a:lnTo>
                  <a:pt x="179" y="3335"/>
                </a:lnTo>
                <a:lnTo>
                  <a:pt x="161" y="3320"/>
                </a:lnTo>
                <a:lnTo>
                  <a:pt x="144" y="3304"/>
                </a:lnTo>
                <a:lnTo>
                  <a:pt x="129" y="3288"/>
                </a:lnTo>
                <a:lnTo>
                  <a:pt x="113" y="3270"/>
                </a:lnTo>
                <a:lnTo>
                  <a:pt x="99" y="3253"/>
                </a:lnTo>
                <a:lnTo>
                  <a:pt x="87" y="3235"/>
                </a:lnTo>
                <a:lnTo>
                  <a:pt x="74" y="3217"/>
                </a:lnTo>
                <a:lnTo>
                  <a:pt x="62" y="3197"/>
                </a:lnTo>
                <a:lnTo>
                  <a:pt x="52" y="3177"/>
                </a:lnTo>
                <a:lnTo>
                  <a:pt x="43" y="3156"/>
                </a:lnTo>
                <a:lnTo>
                  <a:pt x="33" y="3135"/>
                </a:lnTo>
                <a:lnTo>
                  <a:pt x="25" y="3113"/>
                </a:lnTo>
                <a:lnTo>
                  <a:pt x="18" y="3091"/>
                </a:lnTo>
                <a:lnTo>
                  <a:pt x="13" y="3068"/>
                </a:lnTo>
                <a:lnTo>
                  <a:pt x="8" y="3045"/>
                </a:lnTo>
                <a:lnTo>
                  <a:pt x="4" y="3020"/>
                </a:lnTo>
                <a:lnTo>
                  <a:pt x="2" y="2996"/>
                </a:lnTo>
                <a:lnTo>
                  <a:pt x="1" y="2972"/>
                </a:lnTo>
                <a:lnTo>
                  <a:pt x="0" y="2945"/>
                </a:lnTo>
                <a:lnTo>
                  <a:pt x="1" y="2919"/>
                </a:lnTo>
                <a:lnTo>
                  <a:pt x="2" y="2891"/>
                </a:lnTo>
                <a:lnTo>
                  <a:pt x="5" y="2865"/>
                </a:lnTo>
                <a:lnTo>
                  <a:pt x="10" y="2836"/>
                </a:lnTo>
                <a:lnTo>
                  <a:pt x="15" y="2808"/>
                </a:lnTo>
                <a:lnTo>
                  <a:pt x="22" y="2779"/>
                </a:lnTo>
                <a:lnTo>
                  <a:pt x="30" y="2748"/>
                </a:lnTo>
                <a:lnTo>
                  <a:pt x="757" y="151"/>
                </a:lnTo>
                <a:lnTo>
                  <a:pt x="764" y="130"/>
                </a:lnTo>
                <a:lnTo>
                  <a:pt x="772" y="109"/>
                </a:lnTo>
                <a:lnTo>
                  <a:pt x="784" y="90"/>
                </a:lnTo>
                <a:lnTo>
                  <a:pt x="796" y="73"/>
                </a:lnTo>
                <a:lnTo>
                  <a:pt x="810" y="58"/>
                </a:lnTo>
                <a:lnTo>
                  <a:pt x="825" y="43"/>
                </a:lnTo>
                <a:lnTo>
                  <a:pt x="841" y="31"/>
                </a:lnTo>
                <a:lnTo>
                  <a:pt x="858" y="21"/>
                </a:lnTo>
                <a:lnTo>
                  <a:pt x="877" y="11"/>
                </a:lnTo>
                <a:lnTo>
                  <a:pt x="896" y="6"/>
                </a:lnTo>
                <a:lnTo>
                  <a:pt x="906" y="3"/>
                </a:lnTo>
                <a:lnTo>
                  <a:pt x="915" y="2"/>
                </a:lnTo>
                <a:lnTo>
                  <a:pt x="926" y="1"/>
                </a:lnTo>
                <a:lnTo>
                  <a:pt x="936" y="0"/>
                </a:lnTo>
                <a:lnTo>
                  <a:pt x="946" y="0"/>
                </a:lnTo>
                <a:lnTo>
                  <a:pt x="956" y="1"/>
                </a:lnTo>
                <a:lnTo>
                  <a:pt x="967" y="2"/>
                </a:lnTo>
                <a:lnTo>
                  <a:pt x="977" y="4"/>
                </a:lnTo>
                <a:lnTo>
                  <a:pt x="986" y="7"/>
                </a:lnTo>
                <a:lnTo>
                  <a:pt x="997" y="10"/>
                </a:lnTo>
                <a:lnTo>
                  <a:pt x="1007" y="14"/>
                </a:lnTo>
                <a:lnTo>
                  <a:pt x="1018" y="20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6" name="Группа 15"/>
          <p:cNvGrpSpPr/>
          <p:nvPr userDrawn="1"/>
        </p:nvGrpSpPr>
        <p:grpSpPr>
          <a:xfrm>
            <a:off x="531416" y="487363"/>
            <a:ext cx="2332038" cy="455612"/>
            <a:chOff x="490538" y="487363"/>
            <a:chExt cx="2152650" cy="455612"/>
          </a:xfrm>
        </p:grpSpPr>
        <p:sp>
          <p:nvSpPr>
            <p:cNvPr id="17" name="Freeform 5"/>
            <p:cNvSpPr>
              <a:spLocks noEditPoints="1"/>
            </p:cNvSpPr>
            <p:nvPr userDrawn="1"/>
          </p:nvSpPr>
          <p:spPr bwMode="auto">
            <a:xfrm>
              <a:off x="1144588" y="590550"/>
              <a:ext cx="1498600" cy="247650"/>
            </a:xfrm>
            <a:custGeom>
              <a:avLst/>
              <a:gdLst>
                <a:gd name="T0" fmla="*/ 2465 w 11327"/>
                <a:gd name="T1" fmla="*/ 803 h 1868"/>
                <a:gd name="T2" fmla="*/ 2667 w 11327"/>
                <a:gd name="T3" fmla="*/ 466 h 1868"/>
                <a:gd name="T4" fmla="*/ 3049 w 11327"/>
                <a:gd name="T5" fmla="*/ 345 h 1868"/>
                <a:gd name="T6" fmla="*/ 3430 w 11327"/>
                <a:gd name="T7" fmla="*/ 466 h 1868"/>
                <a:gd name="T8" fmla="*/ 3632 w 11327"/>
                <a:gd name="T9" fmla="*/ 803 h 1868"/>
                <a:gd name="T10" fmla="*/ 3574 w 11327"/>
                <a:gd name="T11" fmla="*/ 1233 h 1868"/>
                <a:gd name="T12" fmla="*/ 3284 w 11327"/>
                <a:gd name="T13" fmla="*/ 1483 h 1868"/>
                <a:gd name="T14" fmla="*/ 2870 w 11327"/>
                <a:gd name="T15" fmla="*/ 1500 h 1868"/>
                <a:gd name="T16" fmla="*/ 2553 w 11327"/>
                <a:gd name="T17" fmla="*/ 1281 h 1868"/>
                <a:gd name="T18" fmla="*/ 4046 w 11327"/>
                <a:gd name="T19" fmla="*/ 882 h 1868"/>
                <a:gd name="T20" fmla="*/ 3784 w 11327"/>
                <a:gd name="T21" fmla="*/ 289 h 1868"/>
                <a:gd name="T22" fmla="*/ 3199 w 11327"/>
                <a:gd name="T23" fmla="*/ 10 h 1868"/>
                <a:gd name="T24" fmla="*/ 2536 w 11327"/>
                <a:gd name="T25" fmla="*/ 125 h 1868"/>
                <a:gd name="T26" fmla="*/ 2113 w 11327"/>
                <a:gd name="T27" fmla="*/ 595 h 1868"/>
                <a:gd name="T28" fmla="*/ 2113 w 11327"/>
                <a:gd name="T29" fmla="*/ 1273 h 1868"/>
                <a:gd name="T30" fmla="*/ 2536 w 11327"/>
                <a:gd name="T31" fmla="*/ 1743 h 1868"/>
                <a:gd name="T32" fmla="*/ 3199 w 11327"/>
                <a:gd name="T33" fmla="*/ 1858 h 1868"/>
                <a:gd name="T34" fmla="*/ 3784 w 11327"/>
                <a:gd name="T35" fmla="*/ 1579 h 1868"/>
                <a:gd name="T36" fmla="*/ 4046 w 11327"/>
                <a:gd name="T37" fmla="*/ 985 h 1868"/>
                <a:gd name="T38" fmla="*/ 4444 w 11327"/>
                <a:gd name="T39" fmla="*/ 1443 h 1868"/>
                <a:gd name="T40" fmla="*/ 4540 w 11327"/>
                <a:gd name="T41" fmla="*/ 1808 h 1868"/>
                <a:gd name="T42" fmla="*/ 4811 w 11327"/>
                <a:gd name="T43" fmla="*/ 1650 h 1868"/>
                <a:gd name="T44" fmla="*/ 5796 w 11327"/>
                <a:gd name="T45" fmla="*/ 403 h 1868"/>
                <a:gd name="T46" fmla="*/ 7304 w 11327"/>
                <a:gd name="T47" fmla="*/ 1292 h 1868"/>
                <a:gd name="T48" fmla="*/ 7673 w 11327"/>
                <a:gd name="T49" fmla="*/ 1730 h 1868"/>
                <a:gd name="T50" fmla="*/ 8267 w 11327"/>
                <a:gd name="T51" fmla="*/ 1867 h 1868"/>
                <a:gd name="T52" fmla="*/ 8871 w 11327"/>
                <a:gd name="T53" fmla="*/ 1653 h 1868"/>
                <a:gd name="T54" fmla="*/ 9178 w 11327"/>
                <a:gd name="T55" fmla="*/ 1094 h 1868"/>
                <a:gd name="T56" fmla="*/ 9049 w 11327"/>
                <a:gd name="T57" fmla="*/ 414 h 1868"/>
                <a:gd name="T58" fmla="*/ 8552 w 11327"/>
                <a:gd name="T59" fmla="*/ 48 h 1868"/>
                <a:gd name="T60" fmla="*/ 7924 w 11327"/>
                <a:gd name="T61" fmla="*/ 36 h 1868"/>
                <a:gd name="T62" fmla="*/ 7459 w 11327"/>
                <a:gd name="T63" fmla="*/ 313 h 1868"/>
                <a:gd name="T64" fmla="*/ 6585 w 11327"/>
                <a:gd name="T65" fmla="*/ 42 h 1868"/>
                <a:gd name="T66" fmla="*/ 7740 w 11327"/>
                <a:gd name="T67" fmla="*/ 563 h 1868"/>
                <a:gd name="T68" fmla="*/ 8053 w 11327"/>
                <a:gd name="T69" fmla="*/ 361 h 1868"/>
                <a:gd name="T70" fmla="*/ 8492 w 11327"/>
                <a:gd name="T71" fmla="*/ 396 h 1868"/>
                <a:gd name="T72" fmla="*/ 8744 w 11327"/>
                <a:gd name="T73" fmla="*/ 660 h 1868"/>
                <a:gd name="T74" fmla="*/ 8775 w 11327"/>
                <a:gd name="T75" fmla="*/ 1095 h 1868"/>
                <a:gd name="T76" fmla="*/ 8585 w 11327"/>
                <a:gd name="T77" fmla="*/ 1418 h 1868"/>
                <a:gd name="T78" fmla="*/ 8182 w 11327"/>
                <a:gd name="T79" fmla="*/ 1522 h 1868"/>
                <a:gd name="T80" fmla="*/ 7807 w 11327"/>
                <a:gd name="T81" fmla="*/ 1385 h 1868"/>
                <a:gd name="T82" fmla="*/ 7649 w 11327"/>
                <a:gd name="T83" fmla="*/ 1033 h 1868"/>
                <a:gd name="T84" fmla="*/ 11121 w 11327"/>
                <a:gd name="T85" fmla="*/ 228 h 1868"/>
                <a:gd name="T86" fmla="*/ 10716 w 11327"/>
                <a:gd name="T87" fmla="*/ 30 h 1868"/>
                <a:gd name="T88" fmla="*/ 10126 w 11327"/>
                <a:gd name="T89" fmla="*/ 37 h 1868"/>
                <a:gd name="T90" fmla="*/ 9598 w 11327"/>
                <a:gd name="T91" fmla="*/ 385 h 1868"/>
                <a:gd name="T92" fmla="*/ 9435 w 11327"/>
                <a:gd name="T93" fmla="*/ 1039 h 1868"/>
                <a:gd name="T94" fmla="*/ 9714 w 11327"/>
                <a:gd name="T95" fmla="*/ 1617 h 1868"/>
                <a:gd name="T96" fmla="*/ 10320 w 11327"/>
                <a:gd name="T97" fmla="*/ 1863 h 1868"/>
                <a:gd name="T98" fmla="*/ 10845 w 11327"/>
                <a:gd name="T99" fmla="*/ 1799 h 1868"/>
                <a:gd name="T100" fmla="*/ 11211 w 11327"/>
                <a:gd name="T101" fmla="*/ 1551 h 1868"/>
                <a:gd name="T102" fmla="*/ 10919 w 11327"/>
                <a:gd name="T103" fmla="*/ 1325 h 1868"/>
                <a:gd name="T104" fmla="*/ 10676 w 11327"/>
                <a:gd name="T105" fmla="*/ 1473 h 1868"/>
                <a:gd name="T106" fmla="*/ 10324 w 11327"/>
                <a:gd name="T107" fmla="*/ 1504 h 1868"/>
                <a:gd name="T108" fmla="*/ 9975 w 11327"/>
                <a:gd name="T109" fmla="*/ 1332 h 1868"/>
                <a:gd name="T110" fmla="*/ 9831 w 11327"/>
                <a:gd name="T111" fmla="*/ 966 h 1868"/>
                <a:gd name="T112" fmla="*/ 9938 w 11327"/>
                <a:gd name="T113" fmla="*/ 575 h 1868"/>
                <a:gd name="T114" fmla="*/ 10261 w 11327"/>
                <a:gd name="T115" fmla="*/ 373 h 1868"/>
                <a:gd name="T116" fmla="*/ 10634 w 11327"/>
                <a:gd name="T117" fmla="*/ 382 h 1868"/>
                <a:gd name="T118" fmla="*/ 10890 w 11327"/>
                <a:gd name="T119" fmla="*/ 515 h 1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27" h="1868">
                  <a:moveTo>
                    <a:pt x="0" y="42"/>
                  </a:moveTo>
                  <a:lnTo>
                    <a:pt x="0" y="1822"/>
                  </a:lnTo>
                  <a:lnTo>
                    <a:pt x="399" y="1822"/>
                  </a:lnTo>
                  <a:lnTo>
                    <a:pt x="399" y="400"/>
                  </a:lnTo>
                  <a:lnTo>
                    <a:pt x="1352" y="400"/>
                  </a:lnTo>
                  <a:lnTo>
                    <a:pt x="1352" y="1822"/>
                  </a:lnTo>
                  <a:lnTo>
                    <a:pt x="1755" y="1822"/>
                  </a:lnTo>
                  <a:lnTo>
                    <a:pt x="1755" y="42"/>
                  </a:lnTo>
                  <a:lnTo>
                    <a:pt x="0" y="42"/>
                  </a:lnTo>
                  <a:close/>
                  <a:moveTo>
                    <a:pt x="2454" y="933"/>
                  </a:moveTo>
                  <a:lnTo>
                    <a:pt x="2454" y="900"/>
                  </a:lnTo>
                  <a:lnTo>
                    <a:pt x="2457" y="866"/>
                  </a:lnTo>
                  <a:lnTo>
                    <a:pt x="2460" y="835"/>
                  </a:lnTo>
                  <a:lnTo>
                    <a:pt x="2465" y="803"/>
                  </a:lnTo>
                  <a:lnTo>
                    <a:pt x="2472" y="773"/>
                  </a:lnTo>
                  <a:lnTo>
                    <a:pt x="2480" y="743"/>
                  </a:lnTo>
                  <a:lnTo>
                    <a:pt x="2489" y="715"/>
                  </a:lnTo>
                  <a:lnTo>
                    <a:pt x="2499" y="686"/>
                  </a:lnTo>
                  <a:lnTo>
                    <a:pt x="2511" y="660"/>
                  </a:lnTo>
                  <a:lnTo>
                    <a:pt x="2524" y="634"/>
                  </a:lnTo>
                  <a:lnTo>
                    <a:pt x="2538" y="610"/>
                  </a:lnTo>
                  <a:lnTo>
                    <a:pt x="2553" y="586"/>
                  </a:lnTo>
                  <a:lnTo>
                    <a:pt x="2570" y="563"/>
                  </a:lnTo>
                  <a:lnTo>
                    <a:pt x="2588" y="542"/>
                  </a:lnTo>
                  <a:lnTo>
                    <a:pt x="2606" y="521"/>
                  </a:lnTo>
                  <a:lnTo>
                    <a:pt x="2626" y="501"/>
                  </a:lnTo>
                  <a:lnTo>
                    <a:pt x="2646" y="483"/>
                  </a:lnTo>
                  <a:lnTo>
                    <a:pt x="2667" y="466"/>
                  </a:lnTo>
                  <a:lnTo>
                    <a:pt x="2691" y="449"/>
                  </a:lnTo>
                  <a:lnTo>
                    <a:pt x="2713" y="434"/>
                  </a:lnTo>
                  <a:lnTo>
                    <a:pt x="2737" y="420"/>
                  </a:lnTo>
                  <a:lnTo>
                    <a:pt x="2763" y="408"/>
                  </a:lnTo>
                  <a:lnTo>
                    <a:pt x="2788" y="396"/>
                  </a:lnTo>
                  <a:lnTo>
                    <a:pt x="2815" y="385"/>
                  </a:lnTo>
                  <a:lnTo>
                    <a:pt x="2842" y="375"/>
                  </a:lnTo>
                  <a:lnTo>
                    <a:pt x="2870" y="367"/>
                  </a:lnTo>
                  <a:lnTo>
                    <a:pt x="2898" y="361"/>
                  </a:lnTo>
                  <a:lnTo>
                    <a:pt x="2928" y="355"/>
                  </a:lnTo>
                  <a:lnTo>
                    <a:pt x="2957" y="351"/>
                  </a:lnTo>
                  <a:lnTo>
                    <a:pt x="2988" y="347"/>
                  </a:lnTo>
                  <a:lnTo>
                    <a:pt x="3018" y="345"/>
                  </a:lnTo>
                  <a:lnTo>
                    <a:pt x="3049" y="345"/>
                  </a:lnTo>
                  <a:lnTo>
                    <a:pt x="3080" y="345"/>
                  </a:lnTo>
                  <a:lnTo>
                    <a:pt x="3111" y="347"/>
                  </a:lnTo>
                  <a:lnTo>
                    <a:pt x="3141" y="351"/>
                  </a:lnTo>
                  <a:lnTo>
                    <a:pt x="3171" y="355"/>
                  </a:lnTo>
                  <a:lnTo>
                    <a:pt x="3200" y="361"/>
                  </a:lnTo>
                  <a:lnTo>
                    <a:pt x="3229" y="367"/>
                  </a:lnTo>
                  <a:lnTo>
                    <a:pt x="3256" y="375"/>
                  </a:lnTo>
                  <a:lnTo>
                    <a:pt x="3284" y="385"/>
                  </a:lnTo>
                  <a:lnTo>
                    <a:pt x="3310" y="396"/>
                  </a:lnTo>
                  <a:lnTo>
                    <a:pt x="3335" y="408"/>
                  </a:lnTo>
                  <a:lnTo>
                    <a:pt x="3361" y="420"/>
                  </a:lnTo>
                  <a:lnTo>
                    <a:pt x="3384" y="434"/>
                  </a:lnTo>
                  <a:lnTo>
                    <a:pt x="3408" y="449"/>
                  </a:lnTo>
                  <a:lnTo>
                    <a:pt x="3430" y="466"/>
                  </a:lnTo>
                  <a:lnTo>
                    <a:pt x="3452" y="483"/>
                  </a:lnTo>
                  <a:lnTo>
                    <a:pt x="3473" y="501"/>
                  </a:lnTo>
                  <a:lnTo>
                    <a:pt x="3492" y="521"/>
                  </a:lnTo>
                  <a:lnTo>
                    <a:pt x="3510" y="542"/>
                  </a:lnTo>
                  <a:lnTo>
                    <a:pt x="3528" y="563"/>
                  </a:lnTo>
                  <a:lnTo>
                    <a:pt x="3545" y="586"/>
                  </a:lnTo>
                  <a:lnTo>
                    <a:pt x="3560" y="610"/>
                  </a:lnTo>
                  <a:lnTo>
                    <a:pt x="3574" y="634"/>
                  </a:lnTo>
                  <a:lnTo>
                    <a:pt x="3587" y="660"/>
                  </a:lnTo>
                  <a:lnTo>
                    <a:pt x="3599" y="686"/>
                  </a:lnTo>
                  <a:lnTo>
                    <a:pt x="3609" y="715"/>
                  </a:lnTo>
                  <a:lnTo>
                    <a:pt x="3618" y="743"/>
                  </a:lnTo>
                  <a:lnTo>
                    <a:pt x="3626" y="773"/>
                  </a:lnTo>
                  <a:lnTo>
                    <a:pt x="3632" y="803"/>
                  </a:lnTo>
                  <a:lnTo>
                    <a:pt x="3637" y="835"/>
                  </a:lnTo>
                  <a:lnTo>
                    <a:pt x="3642" y="866"/>
                  </a:lnTo>
                  <a:lnTo>
                    <a:pt x="3644" y="900"/>
                  </a:lnTo>
                  <a:lnTo>
                    <a:pt x="3645" y="933"/>
                  </a:lnTo>
                  <a:lnTo>
                    <a:pt x="3644" y="968"/>
                  </a:lnTo>
                  <a:lnTo>
                    <a:pt x="3642" y="1001"/>
                  </a:lnTo>
                  <a:lnTo>
                    <a:pt x="3637" y="1033"/>
                  </a:lnTo>
                  <a:lnTo>
                    <a:pt x="3632" y="1065"/>
                  </a:lnTo>
                  <a:lnTo>
                    <a:pt x="3626" y="1095"/>
                  </a:lnTo>
                  <a:lnTo>
                    <a:pt x="3618" y="1125"/>
                  </a:lnTo>
                  <a:lnTo>
                    <a:pt x="3609" y="1153"/>
                  </a:lnTo>
                  <a:lnTo>
                    <a:pt x="3599" y="1181"/>
                  </a:lnTo>
                  <a:lnTo>
                    <a:pt x="3587" y="1207"/>
                  </a:lnTo>
                  <a:lnTo>
                    <a:pt x="3574" y="1233"/>
                  </a:lnTo>
                  <a:lnTo>
                    <a:pt x="3560" y="1258"/>
                  </a:lnTo>
                  <a:lnTo>
                    <a:pt x="3545" y="1281"/>
                  </a:lnTo>
                  <a:lnTo>
                    <a:pt x="3528" y="1305"/>
                  </a:lnTo>
                  <a:lnTo>
                    <a:pt x="3510" y="1326"/>
                  </a:lnTo>
                  <a:lnTo>
                    <a:pt x="3492" y="1346"/>
                  </a:lnTo>
                  <a:lnTo>
                    <a:pt x="3473" y="1366"/>
                  </a:lnTo>
                  <a:lnTo>
                    <a:pt x="3452" y="1385"/>
                  </a:lnTo>
                  <a:lnTo>
                    <a:pt x="3430" y="1402"/>
                  </a:lnTo>
                  <a:lnTo>
                    <a:pt x="3408" y="1418"/>
                  </a:lnTo>
                  <a:lnTo>
                    <a:pt x="3384" y="1434"/>
                  </a:lnTo>
                  <a:lnTo>
                    <a:pt x="3361" y="1447"/>
                  </a:lnTo>
                  <a:lnTo>
                    <a:pt x="3335" y="1460"/>
                  </a:lnTo>
                  <a:lnTo>
                    <a:pt x="3310" y="1472"/>
                  </a:lnTo>
                  <a:lnTo>
                    <a:pt x="3284" y="1483"/>
                  </a:lnTo>
                  <a:lnTo>
                    <a:pt x="3256" y="1492"/>
                  </a:lnTo>
                  <a:lnTo>
                    <a:pt x="3229" y="1500"/>
                  </a:lnTo>
                  <a:lnTo>
                    <a:pt x="3200" y="1507"/>
                  </a:lnTo>
                  <a:lnTo>
                    <a:pt x="3171" y="1513"/>
                  </a:lnTo>
                  <a:lnTo>
                    <a:pt x="3141" y="1517"/>
                  </a:lnTo>
                  <a:lnTo>
                    <a:pt x="3111" y="1520"/>
                  </a:lnTo>
                  <a:lnTo>
                    <a:pt x="3080" y="1522"/>
                  </a:lnTo>
                  <a:lnTo>
                    <a:pt x="3049" y="1523"/>
                  </a:lnTo>
                  <a:lnTo>
                    <a:pt x="3018" y="1522"/>
                  </a:lnTo>
                  <a:lnTo>
                    <a:pt x="2988" y="1520"/>
                  </a:lnTo>
                  <a:lnTo>
                    <a:pt x="2957" y="1517"/>
                  </a:lnTo>
                  <a:lnTo>
                    <a:pt x="2928" y="1513"/>
                  </a:lnTo>
                  <a:lnTo>
                    <a:pt x="2898" y="1507"/>
                  </a:lnTo>
                  <a:lnTo>
                    <a:pt x="2870" y="1500"/>
                  </a:lnTo>
                  <a:lnTo>
                    <a:pt x="2842" y="1492"/>
                  </a:lnTo>
                  <a:lnTo>
                    <a:pt x="2815" y="1483"/>
                  </a:lnTo>
                  <a:lnTo>
                    <a:pt x="2788" y="1472"/>
                  </a:lnTo>
                  <a:lnTo>
                    <a:pt x="2763" y="1460"/>
                  </a:lnTo>
                  <a:lnTo>
                    <a:pt x="2737" y="1447"/>
                  </a:lnTo>
                  <a:lnTo>
                    <a:pt x="2713" y="1434"/>
                  </a:lnTo>
                  <a:lnTo>
                    <a:pt x="2691" y="1418"/>
                  </a:lnTo>
                  <a:lnTo>
                    <a:pt x="2667" y="1402"/>
                  </a:lnTo>
                  <a:lnTo>
                    <a:pt x="2646" y="1385"/>
                  </a:lnTo>
                  <a:lnTo>
                    <a:pt x="2626" y="1366"/>
                  </a:lnTo>
                  <a:lnTo>
                    <a:pt x="2606" y="1346"/>
                  </a:lnTo>
                  <a:lnTo>
                    <a:pt x="2588" y="1326"/>
                  </a:lnTo>
                  <a:lnTo>
                    <a:pt x="2570" y="1305"/>
                  </a:lnTo>
                  <a:lnTo>
                    <a:pt x="2553" y="1281"/>
                  </a:lnTo>
                  <a:lnTo>
                    <a:pt x="2538" y="1258"/>
                  </a:lnTo>
                  <a:lnTo>
                    <a:pt x="2524" y="1233"/>
                  </a:lnTo>
                  <a:lnTo>
                    <a:pt x="2511" y="1207"/>
                  </a:lnTo>
                  <a:lnTo>
                    <a:pt x="2499" y="1181"/>
                  </a:lnTo>
                  <a:lnTo>
                    <a:pt x="2489" y="1153"/>
                  </a:lnTo>
                  <a:lnTo>
                    <a:pt x="2480" y="1125"/>
                  </a:lnTo>
                  <a:lnTo>
                    <a:pt x="2472" y="1095"/>
                  </a:lnTo>
                  <a:lnTo>
                    <a:pt x="2465" y="1065"/>
                  </a:lnTo>
                  <a:lnTo>
                    <a:pt x="2460" y="1033"/>
                  </a:lnTo>
                  <a:lnTo>
                    <a:pt x="2457" y="1001"/>
                  </a:lnTo>
                  <a:lnTo>
                    <a:pt x="2454" y="968"/>
                  </a:lnTo>
                  <a:lnTo>
                    <a:pt x="2454" y="933"/>
                  </a:lnTo>
                  <a:close/>
                  <a:moveTo>
                    <a:pt x="4047" y="933"/>
                  </a:moveTo>
                  <a:lnTo>
                    <a:pt x="4046" y="882"/>
                  </a:lnTo>
                  <a:lnTo>
                    <a:pt x="4042" y="831"/>
                  </a:lnTo>
                  <a:lnTo>
                    <a:pt x="4035" y="781"/>
                  </a:lnTo>
                  <a:lnTo>
                    <a:pt x="4026" y="733"/>
                  </a:lnTo>
                  <a:lnTo>
                    <a:pt x="4015" y="685"/>
                  </a:lnTo>
                  <a:lnTo>
                    <a:pt x="4002" y="640"/>
                  </a:lnTo>
                  <a:lnTo>
                    <a:pt x="3985" y="595"/>
                  </a:lnTo>
                  <a:lnTo>
                    <a:pt x="3967" y="551"/>
                  </a:lnTo>
                  <a:lnTo>
                    <a:pt x="3947" y="509"/>
                  </a:lnTo>
                  <a:lnTo>
                    <a:pt x="3924" y="469"/>
                  </a:lnTo>
                  <a:lnTo>
                    <a:pt x="3900" y="430"/>
                  </a:lnTo>
                  <a:lnTo>
                    <a:pt x="3874" y="392"/>
                  </a:lnTo>
                  <a:lnTo>
                    <a:pt x="3846" y="356"/>
                  </a:lnTo>
                  <a:lnTo>
                    <a:pt x="3815" y="321"/>
                  </a:lnTo>
                  <a:lnTo>
                    <a:pt x="3784" y="289"/>
                  </a:lnTo>
                  <a:lnTo>
                    <a:pt x="3751" y="257"/>
                  </a:lnTo>
                  <a:lnTo>
                    <a:pt x="3716" y="227"/>
                  </a:lnTo>
                  <a:lnTo>
                    <a:pt x="3679" y="199"/>
                  </a:lnTo>
                  <a:lnTo>
                    <a:pt x="3642" y="173"/>
                  </a:lnTo>
                  <a:lnTo>
                    <a:pt x="3603" y="147"/>
                  </a:lnTo>
                  <a:lnTo>
                    <a:pt x="3562" y="125"/>
                  </a:lnTo>
                  <a:lnTo>
                    <a:pt x="3521" y="104"/>
                  </a:lnTo>
                  <a:lnTo>
                    <a:pt x="3477" y="84"/>
                  </a:lnTo>
                  <a:lnTo>
                    <a:pt x="3433" y="67"/>
                  </a:lnTo>
                  <a:lnTo>
                    <a:pt x="3388" y="52"/>
                  </a:lnTo>
                  <a:lnTo>
                    <a:pt x="3342" y="39"/>
                  </a:lnTo>
                  <a:lnTo>
                    <a:pt x="3295" y="26"/>
                  </a:lnTo>
                  <a:lnTo>
                    <a:pt x="3247" y="17"/>
                  </a:lnTo>
                  <a:lnTo>
                    <a:pt x="3199" y="10"/>
                  </a:lnTo>
                  <a:lnTo>
                    <a:pt x="3149" y="4"/>
                  </a:lnTo>
                  <a:lnTo>
                    <a:pt x="3099" y="1"/>
                  </a:lnTo>
                  <a:lnTo>
                    <a:pt x="3049" y="0"/>
                  </a:lnTo>
                  <a:lnTo>
                    <a:pt x="2999" y="1"/>
                  </a:lnTo>
                  <a:lnTo>
                    <a:pt x="2949" y="4"/>
                  </a:lnTo>
                  <a:lnTo>
                    <a:pt x="2899" y="10"/>
                  </a:lnTo>
                  <a:lnTo>
                    <a:pt x="2851" y="17"/>
                  </a:lnTo>
                  <a:lnTo>
                    <a:pt x="2804" y="26"/>
                  </a:lnTo>
                  <a:lnTo>
                    <a:pt x="2756" y="39"/>
                  </a:lnTo>
                  <a:lnTo>
                    <a:pt x="2710" y="52"/>
                  </a:lnTo>
                  <a:lnTo>
                    <a:pt x="2665" y="67"/>
                  </a:lnTo>
                  <a:lnTo>
                    <a:pt x="2620" y="84"/>
                  </a:lnTo>
                  <a:lnTo>
                    <a:pt x="2578" y="104"/>
                  </a:lnTo>
                  <a:lnTo>
                    <a:pt x="2536" y="125"/>
                  </a:lnTo>
                  <a:lnTo>
                    <a:pt x="2495" y="147"/>
                  </a:lnTo>
                  <a:lnTo>
                    <a:pt x="2457" y="173"/>
                  </a:lnTo>
                  <a:lnTo>
                    <a:pt x="2418" y="199"/>
                  </a:lnTo>
                  <a:lnTo>
                    <a:pt x="2382" y="227"/>
                  </a:lnTo>
                  <a:lnTo>
                    <a:pt x="2347" y="257"/>
                  </a:lnTo>
                  <a:lnTo>
                    <a:pt x="2313" y="289"/>
                  </a:lnTo>
                  <a:lnTo>
                    <a:pt x="2282" y="321"/>
                  </a:lnTo>
                  <a:lnTo>
                    <a:pt x="2252" y="356"/>
                  </a:lnTo>
                  <a:lnTo>
                    <a:pt x="2224" y="392"/>
                  </a:lnTo>
                  <a:lnTo>
                    <a:pt x="2197" y="430"/>
                  </a:lnTo>
                  <a:lnTo>
                    <a:pt x="2173" y="469"/>
                  </a:lnTo>
                  <a:lnTo>
                    <a:pt x="2152" y="509"/>
                  </a:lnTo>
                  <a:lnTo>
                    <a:pt x="2131" y="551"/>
                  </a:lnTo>
                  <a:lnTo>
                    <a:pt x="2113" y="595"/>
                  </a:lnTo>
                  <a:lnTo>
                    <a:pt x="2097" y="640"/>
                  </a:lnTo>
                  <a:lnTo>
                    <a:pt x="2083" y="685"/>
                  </a:lnTo>
                  <a:lnTo>
                    <a:pt x="2071" y="733"/>
                  </a:lnTo>
                  <a:lnTo>
                    <a:pt x="2063" y="781"/>
                  </a:lnTo>
                  <a:lnTo>
                    <a:pt x="2056" y="831"/>
                  </a:lnTo>
                  <a:lnTo>
                    <a:pt x="2052" y="882"/>
                  </a:lnTo>
                  <a:lnTo>
                    <a:pt x="2051" y="933"/>
                  </a:lnTo>
                  <a:lnTo>
                    <a:pt x="2052" y="985"/>
                  </a:lnTo>
                  <a:lnTo>
                    <a:pt x="2056" y="1036"/>
                  </a:lnTo>
                  <a:lnTo>
                    <a:pt x="2063" y="1086"/>
                  </a:lnTo>
                  <a:lnTo>
                    <a:pt x="2071" y="1135"/>
                  </a:lnTo>
                  <a:lnTo>
                    <a:pt x="2083" y="1182"/>
                  </a:lnTo>
                  <a:lnTo>
                    <a:pt x="2097" y="1228"/>
                  </a:lnTo>
                  <a:lnTo>
                    <a:pt x="2113" y="1273"/>
                  </a:lnTo>
                  <a:lnTo>
                    <a:pt x="2131" y="1316"/>
                  </a:lnTo>
                  <a:lnTo>
                    <a:pt x="2152" y="1357"/>
                  </a:lnTo>
                  <a:lnTo>
                    <a:pt x="2173" y="1398"/>
                  </a:lnTo>
                  <a:lnTo>
                    <a:pt x="2197" y="1438"/>
                  </a:lnTo>
                  <a:lnTo>
                    <a:pt x="2224" y="1475"/>
                  </a:lnTo>
                  <a:lnTo>
                    <a:pt x="2252" y="1512"/>
                  </a:lnTo>
                  <a:lnTo>
                    <a:pt x="2282" y="1547"/>
                  </a:lnTo>
                  <a:lnTo>
                    <a:pt x="2313" y="1579"/>
                  </a:lnTo>
                  <a:lnTo>
                    <a:pt x="2347" y="1611"/>
                  </a:lnTo>
                  <a:lnTo>
                    <a:pt x="2382" y="1640"/>
                  </a:lnTo>
                  <a:lnTo>
                    <a:pt x="2418" y="1669"/>
                  </a:lnTo>
                  <a:lnTo>
                    <a:pt x="2457" y="1695"/>
                  </a:lnTo>
                  <a:lnTo>
                    <a:pt x="2495" y="1719"/>
                  </a:lnTo>
                  <a:lnTo>
                    <a:pt x="2536" y="1743"/>
                  </a:lnTo>
                  <a:lnTo>
                    <a:pt x="2578" y="1764"/>
                  </a:lnTo>
                  <a:lnTo>
                    <a:pt x="2620" y="1782"/>
                  </a:lnTo>
                  <a:lnTo>
                    <a:pt x="2665" y="1801"/>
                  </a:lnTo>
                  <a:lnTo>
                    <a:pt x="2710" y="1816"/>
                  </a:lnTo>
                  <a:lnTo>
                    <a:pt x="2756" y="1829"/>
                  </a:lnTo>
                  <a:lnTo>
                    <a:pt x="2804" y="1840"/>
                  </a:lnTo>
                  <a:lnTo>
                    <a:pt x="2851" y="1851"/>
                  </a:lnTo>
                  <a:lnTo>
                    <a:pt x="2899" y="1858"/>
                  </a:lnTo>
                  <a:lnTo>
                    <a:pt x="2949" y="1863"/>
                  </a:lnTo>
                  <a:lnTo>
                    <a:pt x="2999" y="1866"/>
                  </a:lnTo>
                  <a:lnTo>
                    <a:pt x="3049" y="1868"/>
                  </a:lnTo>
                  <a:lnTo>
                    <a:pt x="3099" y="1866"/>
                  </a:lnTo>
                  <a:lnTo>
                    <a:pt x="3149" y="1863"/>
                  </a:lnTo>
                  <a:lnTo>
                    <a:pt x="3199" y="1858"/>
                  </a:lnTo>
                  <a:lnTo>
                    <a:pt x="3247" y="1851"/>
                  </a:lnTo>
                  <a:lnTo>
                    <a:pt x="3295" y="1840"/>
                  </a:lnTo>
                  <a:lnTo>
                    <a:pt x="3342" y="1829"/>
                  </a:lnTo>
                  <a:lnTo>
                    <a:pt x="3388" y="1816"/>
                  </a:lnTo>
                  <a:lnTo>
                    <a:pt x="3433" y="1801"/>
                  </a:lnTo>
                  <a:lnTo>
                    <a:pt x="3477" y="1782"/>
                  </a:lnTo>
                  <a:lnTo>
                    <a:pt x="3521" y="1764"/>
                  </a:lnTo>
                  <a:lnTo>
                    <a:pt x="3562" y="1743"/>
                  </a:lnTo>
                  <a:lnTo>
                    <a:pt x="3603" y="1719"/>
                  </a:lnTo>
                  <a:lnTo>
                    <a:pt x="3642" y="1695"/>
                  </a:lnTo>
                  <a:lnTo>
                    <a:pt x="3679" y="1669"/>
                  </a:lnTo>
                  <a:lnTo>
                    <a:pt x="3716" y="1640"/>
                  </a:lnTo>
                  <a:lnTo>
                    <a:pt x="3751" y="1611"/>
                  </a:lnTo>
                  <a:lnTo>
                    <a:pt x="3784" y="1579"/>
                  </a:lnTo>
                  <a:lnTo>
                    <a:pt x="3815" y="1547"/>
                  </a:lnTo>
                  <a:lnTo>
                    <a:pt x="3846" y="1512"/>
                  </a:lnTo>
                  <a:lnTo>
                    <a:pt x="3874" y="1475"/>
                  </a:lnTo>
                  <a:lnTo>
                    <a:pt x="3900" y="1438"/>
                  </a:lnTo>
                  <a:lnTo>
                    <a:pt x="3924" y="1398"/>
                  </a:lnTo>
                  <a:lnTo>
                    <a:pt x="3947" y="1357"/>
                  </a:lnTo>
                  <a:lnTo>
                    <a:pt x="3967" y="1316"/>
                  </a:lnTo>
                  <a:lnTo>
                    <a:pt x="3985" y="1273"/>
                  </a:lnTo>
                  <a:lnTo>
                    <a:pt x="4002" y="1228"/>
                  </a:lnTo>
                  <a:lnTo>
                    <a:pt x="4015" y="1182"/>
                  </a:lnTo>
                  <a:lnTo>
                    <a:pt x="4026" y="1135"/>
                  </a:lnTo>
                  <a:lnTo>
                    <a:pt x="4035" y="1086"/>
                  </a:lnTo>
                  <a:lnTo>
                    <a:pt x="4042" y="1036"/>
                  </a:lnTo>
                  <a:lnTo>
                    <a:pt x="4046" y="985"/>
                  </a:lnTo>
                  <a:lnTo>
                    <a:pt x="4047" y="933"/>
                  </a:lnTo>
                  <a:close/>
                  <a:moveTo>
                    <a:pt x="4779" y="42"/>
                  </a:moveTo>
                  <a:lnTo>
                    <a:pt x="4540" y="1317"/>
                  </a:lnTo>
                  <a:lnTo>
                    <a:pt x="4535" y="1334"/>
                  </a:lnTo>
                  <a:lnTo>
                    <a:pt x="4530" y="1350"/>
                  </a:lnTo>
                  <a:lnTo>
                    <a:pt x="4524" y="1366"/>
                  </a:lnTo>
                  <a:lnTo>
                    <a:pt x="4517" y="1379"/>
                  </a:lnTo>
                  <a:lnTo>
                    <a:pt x="4510" y="1392"/>
                  </a:lnTo>
                  <a:lnTo>
                    <a:pt x="4501" y="1403"/>
                  </a:lnTo>
                  <a:lnTo>
                    <a:pt x="4491" y="1413"/>
                  </a:lnTo>
                  <a:lnTo>
                    <a:pt x="4481" y="1423"/>
                  </a:lnTo>
                  <a:lnTo>
                    <a:pt x="4469" y="1431"/>
                  </a:lnTo>
                  <a:lnTo>
                    <a:pt x="4457" y="1437"/>
                  </a:lnTo>
                  <a:lnTo>
                    <a:pt x="4444" y="1443"/>
                  </a:lnTo>
                  <a:lnTo>
                    <a:pt x="4430" y="1447"/>
                  </a:lnTo>
                  <a:lnTo>
                    <a:pt x="4415" y="1451"/>
                  </a:lnTo>
                  <a:lnTo>
                    <a:pt x="4399" y="1453"/>
                  </a:lnTo>
                  <a:lnTo>
                    <a:pt x="4383" y="1455"/>
                  </a:lnTo>
                  <a:lnTo>
                    <a:pt x="4366" y="1455"/>
                  </a:lnTo>
                  <a:lnTo>
                    <a:pt x="4172" y="1455"/>
                  </a:lnTo>
                  <a:lnTo>
                    <a:pt x="4172" y="1822"/>
                  </a:lnTo>
                  <a:lnTo>
                    <a:pt x="4385" y="1822"/>
                  </a:lnTo>
                  <a:lnTo>
                    <a:pt x="4412" y="1822"/>
                  </a:lnTo>
                  <a:lnTo>
                    <a:pt x="4439" y="1821"/>
                  </a:lnTo>
                  <a:lnTo>
                    <a:pt x="4465" y="1819"/>
                  </a:lnTo>
                  <a:lnTo>
                    <a:pt x="4491" y="1816"/>
                  </a:lnTo>
                  <a:lnTo>
                    <a:pt x="4515" y="1812"/>
                  </a:lnTo>
                  <a:lnTo>
                    <a:pt x="4540" y="1808"/>
                  </a:lnTo>
                  <a:lnTo>
                    <a:pt x="4563" y="1802"/>
                  </a:lnTo>
                  <a:lnTo>
                    <a:pt x="4586" y="1796"/>
                  </a:lnTo>
                  <a:lnTo>
                    <a:pt x="4609" y="1789"/>
                  </a:lnTo>
                  <a:lnTo>
                    <a:pt x="4630" y="1780"/>
                  </a:lnTo>
                  <a:lnTo>
                    <a:pt x="4651" y="1771"/>
                  </a:lnTo>
                  <a:lnTo>
                    <a:pt x="4672" y="1762"/>
                  </a:lnTo>
                  <a:lnTo>
                    <a:pt x="4692" y="1751"/>
                  </a:lnTo>
                  <a:lnTo>
                    <a:pt x="4710" y="1740"/>
                  </a:lnTo>
                  <a:lnTo>
                    <a:pt x="4730" y="1728"/>
                  </a:lnTo>
                  <a:lnTo>
                    <a:pt x="4747" y="1713"/>
                  </a:lnTo>
                  <a:lnTo>
                    <a:pt x="4764" y="1699"/>
                  </a:lnTo>
                  <a:lnTo>
                    <a:pt x="4781" y="1684"/>
                  </a:lnTo>
                  <a:lnTo>
                    <a:pt x="4796" y="1668"/>
                  </a:lnTo>
                  <a:lnTo>
                    <a:pt x="4811" y="1650"/>
                  </a:lnTo>
                  <a:lnTo>
                    <a:pt x="4825" y="1633"/>
                  </a:lnTo>
                  <a:lnTo>
                    <a:pt x="4839" y="1614"/>
                  </a:lnTo>
                  <a:lnTo>
                    <a:pt x="4852" y="1593"/>
                  </a:lnTo>
                  <a:lnTo>
                    <a:pt x="4864" y="1572"/>
                  </a:lnTo>
                  <a:lnTo>
                    <a:pt x="4875" y="1551"/>
                  </a:lnTo>
                  <a:lnTo>
                    <a:pt x="4885" y="1527"/>
                  </a:lnTo>
                  <a:lnTo>
                    <a:pt x="4895" y="1504"/>
                  </a:lnTo>
                  <a:lnTo>
                    <a:pt x="4905" y="1478"/>
                  </a:lnTo>
                  <a:lnTo>
                    <a:pt x="4913" y="1452"/>
                  </a:lnTo>
                  <a:lnTo>
                    <a:pt x="4920" y="1426"/>
                  </a:lnTo>
                  <a:lnTo>
                    <a:pt x="4927" y="1397"/>
                  </a:lnTo>
                  <a:lnTo>
                    <a:pt x="4932" y="1369"/>
                  </a:lnTo>
                  <a:lnTo>
                    <a:pt x="5113" y="403"/>
                  </a:lnTo>
                  <a:lnTo>
                    <a:pt x="5796" y="403"/>
                  </a:lnTo>
                  <a:lnTo>
                    <a:pt x="5796" y="1822"/>
                  </a:lnTo>
                  <a:lnTo>
                    <a:pt x="6198" y="1822"/>
                  </a:lnTo>
                  <a:lnTo>
                    <a:pt x="6198" y="42"/>
                  </a:lnTo>
                  <a:lnTo>
                    <a:pt x="4779" y="42"/>
                  </a:lnTo>
                  <a:close/>
                  <a:moveTo>
                    <a:pt x="6585" y="42"/>
                  </a:moveTo>
                  <a:lnTo>
                    <a:pt x="6585" y="1822"/>
                  </a:lnTo>
                  <a:lnTo>
                    <a:pt x="6980" y="1822"/>
                  </a:lnTo>
                  <a:lnTo>
                    <a:pt x="6980" y="1069"/>
                  </a:lnTo>
                  <a:lnTo>
                    <a:pt x="7251" y="1069"/>
                  </a:lnTo>
                  <a:lnTo>
                    <a:pt x="7258" y="1116"/>
                  </a:lnTo>
                  <a:lnTo>
                    <a:pt x="7266" y="1162"/>
                  </a:lnTo>
                  <a:lnTo>
                    <a:pt x="7277" y="1207"/>
                  </a:lnTo>
                  <a:lnTo>
                    <a:pt x="7290" y="1251"/>
                  </a:lnTo>
                  <a:lnTo>
                    <a:pt x="7304" y="1292"/>
                  </a:lnTo>
                  <a:lnTo>
                    <a:pt x="7320" y="1333"/>
                  </a:lnTo>
                  <a:lnTo>
                    <a:pt x="7338" y="1372"/>
                  </a:lnTo>
                  <a:lnTo>
                    <a:pt x="7358" y="1409"/>
                  </a:lnTo>
                  <a:lnTo>
                    <a:pt x="7379" y="1446"/>
                  </a:lnTo>
                  <a:lnTo>
                    <a:pt x="7402" y="1482"/>
                  </a:lnTo>
                  <a:lnTo>
                    <a:pt x="7427" y="1514"/>
                  </a:lnTo>
                  <a:lnTo>
                    <a:pt x="7452" y="1547"/>
                  </a:lnTo>
                  <a:lnTo>
                    <a:pt x="7480" y="1577"/>
                  </a:lnTo>
                  <a:lnTo>
                    <a:pt x="7509" y="1607"/>
                  </a:lnTo>
                  <a:lnTo>
                    <a:pt x="7540" y="1634"/>
                  </a:lnTo>
                  <a:lnTo>
                    <a:pt x="7571" y="1660"/>
                  </a:lnTo>
                  <a:lnTo>
                    <a:pt x="7604" y="1685"/>
                  </a:lnTo>
                  <a:lnTo>
                    <a:pt x="7637" y="1708"/>
                  </a:lnTo>
                  <a:lnTo>
                    <a:pt x="7673" y="1730"/>
                  </a:lnTo>
                  <a:lnTo>
                    <a:pt x="7710" y="1750"/>
                  </a:lnTo>
                  <a:lnTo>
                    <a:pt x="7747" y="1768"/>
                  </a:lnTo>
                  <a:lnTo>
                    <a:pt x="7786" y="1786"/>
                  </a:lnTo>
                  <a:lnTo>
                    <a:pt x="7824" y="1801"/>
                  </a:lnTo>
                  <a:lnTo>
                    <a:pt x="7865" y="1815"/>
                  </a:lnTo>
                  <a:lnTo>
                    <a:pt x="7907" y="1827"/>
                  </a:lnTo>
                  <a:lnTo>
                    <a:pt x="7949" y="1837"/>
                  </a:lnTo>
                  <a:lnTo>
                    <a:pt x="7991" y="1847"/>
                  </a:lnTo>
                  <a:lnTo>
                    <a:pt x="8035" y="1854"/>
                  </a:lnTo>
                  <a:lnTo>
                    <a:pt x="8080" y="1860"/>
                  </a:lnTo>
                  <a:lnTo>
                    <a:pt x="8124" y="1864"/>
                  </a:lnTo>
                  <a:lnTo>
                    <a:pt x="8170" y="1867"/>
                  </a:lnTo>
                  <a:lnTo>
                    <a:pt x="8217" y="1868"/>
                  </a:lnTo>
                  <a:lnTo>
                    <a:pt x="8267" y="1867"/>
                  </a:lnTo>
                  <a:lnTo>
                    <a:pt x="8317" y="1864"/>
                  </a:lnTo>
                  <a:lnTo>
                    <a:pt x="8364" y="1859"/>
                  </a:lnTo>
                  <a:lnTo>
                    <a:pt x="8413" y="1852"/>
                  </a:lnTo>
                  <a:lnTo>
                    <a:pt x="8460" y="1842"/>
                  </a:lnTo>
                  <a:lnTo>
                    <a:pt x="8506" y="1832"/>
                  </a:lnTo>
                  <a:lnTo>
                    <a:pt x="8552" y="1820"/>
                  </a:lnTo>
                  <a:lnTo>
                    <a:pt x="8595" y="1805"/>
                  </a:lnTo>
                  <a:lnTo>
                    <a:pt x="8639" y="1789"/>
                  </a:lnTo>
                  <a:lnTo>
                    <a:pt x="8681" y="1771"/>
                  </a:lnTo>
                  <a:lnTo>
                    <a:pt x="8721" y="1751"/>
                  </a:lnTo>
                  <a:lnTo>
                    <a:pt x="8761" y="1729"/>
                  </a:lnTo>
                  <a:lnTo>
                    <a:pt x="8799" y="1705"/>
                  </a:lnTo>
                  <a:lnTo>
                    <a:pt x="8835" y="1680"/>
                  </a:lnTo>
                  <a:lnTo>
                    <a:pt x="8871" y="1653"/>
                  </a:lnTo>
                  <a:lnTo>
                    <a:pt x="8905" y="1624"/>
                  </a:lnTo>
                  <a:lnTo>
                    <a:pt x="8937" y="1593"/>
                  </a:lnTo>
                  <a:lnTo>
                    <a:pt x="8968" y="1561"/>
                  </a:lnTo>
                  <a:lnTo>
                    <a:pt x="8996" y="1526"/>
                  </a:lnTo>
                  <a:lnTo>
                    <a:pt x="9023" y="1491"/>
                  </a:lnTo>
                  <a:lnTo>
                    <a:pt x="9049" y="1453"/>
                  </a:lnTo>
                  <a:lnTo>
                    <a:pt x="9072" y="1414"/>
                  </a:lnTo>
                  <a:lnTo>
                    <a:pt x="9094" y="1374"/>
                  </a:lnTo>
                  <a:lnTo>
                    <a:pt x="9113" y="1331"/>
                  </a:lnTo>
                  <a:lnTo>
                    <a:pt x="9130" y="1287"/>
                  </a:lnTo>
                  <a:lnTo>
                    <a:pt x="9146" y="1242"/>
                  </a:lnTo>
                  <a:lnTo>
                    <a:pt x="9159" y="1194"/>
                  </a:lnTo>
                  <a:lnTo>
                    <a:pt x="9169" y="1145"/>
                  </a:lnTo>
                  <a:lnTo>
                    <a:pt x="9178" y="1094"/>
                  </a:lnTo>
                  <a:lnTo>
                    <a:pt x="9184" y="1042"/>
                  </a:lnTo>
                  <a:lnTo>
                    <a:pt x="9188" y="988"/>
                  </a:lnTo>
                  <a:lnTo>
                    <a:pt x="9189" y="933"/>
                  </a:lnTo>
                  <a:lnTo>
                    <a:pt x="9188" y="879"/>
                  </a:lnTo>
                  <a:lnTo>
                    <a:pt x="9184" y="825"/>
                  </a:lnTo>
                  <a:lnTo>
                    <a:pt x="9178" y="773"/>
                  </a:lnTo>
                  <a:lnTo>
                    <a:pt x="9169" y="723"/>
                  </a:lnTo>
                  <a:lnTo>
                    <a:pt x="9159" y="674"/>
                  </a:lnTo>
                  <a:lnTo>
                    <a:pt x="9146" y="626"/>
                  </a:lnTo>
                  <a:lnTo>
                    <a:pt x="9130" y="581"/>
                  </a:lnTo>
                  <a:lnTo>
                    <a:pt x="9113" y="537"/>
                  </a:lnTo>
                  <a:lnTo>
                    <a:pt x="9094" y="494"/>
                  </a:lnTo>
                  <a:lnTo>
                    <a:pt x="9072" y="453"/>
                  </a:lnTo>
                  <a:lnTo>
                    <a:pt x="9049" y="414"/>
                  </a:lnTo>
                  <a:lnTo>
                    <a:pt x="9023" y="376"/>
                  </a:lnTo>
                  <a:lnTo>
                    <a:pt x="8996" y="341"/>
                  </a:lnTo>
                  <a:lnTo>
                    <a:pt x="8968" y="307"/>
                  </a:lnTo>
                  <a:lnTo>
                    <a:pt x="8937" y="275"/>
                  </a:lnTo>
                  <a:lnTo>
                    <a:pt x="8905" y="244"/>
                  </a:lnTo>
                  <a:lnTo>
                    <a:pt x="8871" y="215"/>
                  </a:lnTo>
                  <a:lnTo>
                    <a:pt x="8835" y="187"/>
                  </a:lnTo>
                  <a:lnTo>
                    <a:pt x="8799" y="162"/>
                  </a:lnTo>
                  <a:lnTo>
                    <a:pt x="8761" y="138"/>
                  </a:lnTo>
                  <a:lnTo>
                    <a:pt x="8721" y="117"/>
                  </a:lnTo>
                  <a:lnTo>
                    <a:pt x="8681" y="97"/>
                  </a:lnTo>
                  <a:lnTo>
                    <a:pt x="8639" y="78"/>
                  </a:lnTo>
                  <a:lnTo>
                    <a:pt x="8595" y="62"/>
                  </a:lnTo>
                  <a:lnTo>
                    <a:pt x="8552" y="48"/>
                  </a:lnTo>
                  <a:lnTo>
                    <a:pt x="8506" y="36"/>
                  </a:lnTo>
                  <a:lnTo>
                    <a:pt x="8460" y="24"/>
                  </a:lnTo>
                  <a:lnTo>
                    <a:pt x="8413" y="16"/>
                  </a:lnTo>
                  <a:lnTo>
                    <a:pt x="8364" y="9"/>
                  </a:lnTo>
                  <a:lnTo>
                    <a:pt x="8317" y="4"/>
                  </a:lnTo>
                  <a:lnTo>
                    <a:pt x="8267" y="1"/>
                  </a:lnTo>
                  <a:lnTo>
                    <a:pt x="8217" y="0"/>
                  </a:lnTo>
                  <a:lnTo>
                    <a:pt x="8173" y="1"/>
                  </a:lnTo>
                  <a:lnTo>
                    <a:pt x="8131" y="3"/>
                  </a:lnTo>
                  <a:lnTo>
                    <a:pt x="8088" y="7"/>
                  </a:lnTo>
                  <a:lnTo>
                    <a:pt x="8046" y="12"/>
                  </a:lnTo>
                  <a:lnTo>
                    <a:pt x="8004" y="18"/>
                  </a:lnTo>
                  <a:lnTo>
                    <a:pt x="7964" y="26"/>
                  </a:lnTo>
                  <a:lnTo>
                    <a:pt x="7924" y="36"/>
                  </a:lnTo>
                  <a:lnTo>
                    <a:pt x="7884" y="47"/>
                  </a:lnTo>
                  <a:lnTo>
                    <a:pt x="7846" y="59"/>
                  </a:lnTo>
                  <a:lnTo>
                    <a:pt x="7808" y="73"/>
                  </a:lnTo>
                  <a:lnTo>
                    <a:pt x="7772" y="88"/>
                  </a:lnTo>
                  <a:lnTo>
                    <a:pt x="7736" y="105"/>
                  </a:lnTo>
                  <a:lnTo>
                    <a:pt x="7700" y="122"/>
                  </a:lnTo>
                  <a:lnTo>
                    <a:pt x="7667" y="141"/>
                  </a:lnTo>
                  <a:lnTo>
                    <a:pt x="7633" y="162"/>
                  </a:lnTo>
                  <a:lnTo>
                    <a:pt x="7602" y="184"/>
                  </a:lnTo>
                  <a:lnTo>
                    <a:pt x="7571" y="207"/>
                  </a:lnTo>
                  <a:lnTo>
                    <a:pt x="7542" y="232"/>
                  </a:lnTo>
                  <a:lnTo>
                    <a:pt x="7512" y="257"/>
                  </a:lnTo>
                  <a:lnTo>
                    <a:pt x="7486" y="285"/>
                  </a:lnTo>
                  <a:lnTo>
                    <a:pt x="7459" y="313"/>
                  </a:lnTo>
                  <a:lnTo>
                    <a:pt x="7435" y="343"/>
                  </a:lnTo>
                  <a:lnTo>
                    <a:pt x="7412" y="374"/>
                  </a:lnTo>
                  <a:lnTo>
                    <a:pt x="7389" y="406"/>
                  </a:lnTo>
                  <a:lnTo>
                    <a:pt x="7369" y="439"/>
                  </a:lnTo>
                  <a:lnTo>
                    <a:pt x="7350" y="475"/>
                  </a:lnTo>
                  <a:lnTo>
                    <a:pt x="7331" y="510"/>
                  </a:lnTo>
                  <a:lnTo>
                    <a:pt x="7315" y="548"/>
                  </a:lnTo>
                  <a:lnTo>
                    <a:pt x="7301" y="586"/>
                  </a:lnTo>
                  <a:lnTo>
                    <a:pt x="7287" y="625"/>
                  </a:lnTo>
                  <a:lnTo>
                    <a:pt x="7276" y="666"/>
                  </a:lnTo>
                  <a:lnTo>
                    <a:pt x="7267" y="709"/>
                  </a:lnTo>
                  <a:lnTo>
                    <a:pt x="6980" y="709"/>
                  </a:lnTo>
                  <a:lnTo>
                    <a:pt x="6980" y="42"/>
                  </a:lnTo>
                  <a:lnTo>
                    <a:pt x="6585" y="42"/>
                  </a:lnTo>
                  <a:close/>
                  <a:moveTo>
                    <a:pt x="7643" y="933"/>
                  </a:moveTo>
                  <a:lnTo>
                    <a:pt x="7644" y="900"/>
                  </a:lnTo>
                  <a:lnTo>
                    <a:pt x="7645" y="866"/>
                  </a:lnTo>
                  <a:lnTo>
                    <a:pt x="7649" y="835"/>
                  </a:lnTo>
                  <a:lnTo>
                    <a:pt x="7653" y="803"/>
                  </a:lnTo>
                  <a:lnTo>
                    <a:pt x="7658" y="773"/>
                  </a:lnTo>
                  <a:lnTo>
                    <a:pt x="7664" y="743"/>
                  </a:lnTo>
                  <a:lnTo>
                    <a:pt x="7672" y="715"/>
                  </a:lnTo>
                  <a:lnTo>
                    <a:pt x="7680" y="686"/>
                  </a:lnTo>
                  <a:lnTo>
                    <a:pt x="7690" y="660"/>
                  </a:lnTo>
                  <a:lnTo>
                    <a:pt x="7700" y="634"/>
                  </a:lnTo>
                  <a:lnTo>
                    <a:pt x="7713" y="610"/>
                  </a:lnTo>
                  <a:lnTo>
                    <a:pt x="7726" y="586"/>
                  </a:lnTo>
                  <a:lnTo>
                    <a:pt x="7740" y="563"/>
                  </a:lnTo>
                  <a:lnTo>
                    <a:pt x="7755" y="542"/>
                  </a:lnTo>
                  <a:lnTo>
                    <a:pt x="7772" y="521"/>
                  </a:lnTo>
                  <a:lnTo>
                    <a:pt x="7789" y="501"/>
                  </a:lnTo>
                  <a:lnTo>
                    <a:pt x="7807" y="483"/>
                  </a:lnTo>
                  <a:lnTo>
                    <a:pt x="7828" y="466"/>
                  </a:lnTo>
                  <a:lnTo>
                    <a:pt x="7848" y="449"/>
                  </a:lnTo>
                  <a:lnTo>
                    <a:pt x="7870" y="434"/>
                  </a:lnTo>
                  <a:lnTo>
                    <a:pt x="7893" y="420"/>
                  </a:lnTo>
                  <a:lnTo>
                    <a:pt x="7917" y="408"/>
                  </a:lnTo>
                  <a:lnTo>
                    <a:pt x="7942" y="396"/>
                  </a:lnTo>
                  <a:lnTo>
                    <a:pt x="7968" y="385"/>
                  </a:lnTo>
                  <a:lnTo>
                    <a:pt x="7995" y="375"/>
                  </a:lnTo>
                  <a:lnTo>
                    <a:pt x="8024" y="367"/>
                  </a:lnTo>
                  <a:lnTo>
                    <a:pt x="8053" y="361"/>
                  </a:lnTo>
                  <a:lnTo>
                    <a:pt x="8084" y="355"/>
                  </a:lnTo>
                  <a:lnTo>
                    <a:pt x="8115" y="351"/>
                  </a:lnTo>
                  <a:lnTo>
                    <a:pt x="8148" y="347"/>
                  </a:lnTo>
                  <a:lnTo>
                    <a:pt x="8182" y="345"/>
                  </a:lnTo>
                  <a:lnTo>
                    <a:pt x="8217" y="345"/>
                  </a:lnTo>
                  <a:lnTo>
                    <a:pt x="8252" y="345"/>
                  </a:lnTo>
                  <a:lnTo>
                    <a:pt x="8285" y="347"/>
                  </a:lnTo>
                  <a:lnTo>
                    <a:pt x="8318" y="351"/>
                  </a:lnTo>
                  <a:lnTo>
                    <a:pt x="8349" y="355"/>
                  </a:lnTo>
                  <a:lnTo>
                    <a:pt x="8380" y="361"/>
                  </a:lnTo>
                  <a:lnTo>
                    <a:pt x="8409" y="367"/>
                  </a:lnTo>
                  <a:lnTo>
                    <a:pt x="8438" y="375"/>
                  </a:lnTo>
                  <a:lnTo>
                    <a:pt x="8465" y="385"/>
                  </a:lnTo>
                  <a:lnTo>
                    <a:pt x="8492" y="396"/>
                  </a:lnTo>
                  <a:lnTo>
                    <a:pt x="8517" y="408"/>
                  </a:lnTo>
                  <a:lnTo>
                    <a:pt x="8540" y="420"/>
                  </a:lnTo>
                  <a:lnTo>
                    <a:pt x="8564" y="434"/>
                  </a:lnTo>
                  <a:lnTo>
                    <a:pt x="8585" y="449"/>
                  </a:lnTo>
                  <a:lnTo>
                    <a:pt x="8607" y="466"/>
                  </a:lnTo>
                  <a:lnTo>
                    <a:pt x="8626" y="483"/>
                  </a:lnTo>
                  <a:lnTo>
                    <a:pt x="8644" y="501"/>
                  </a:lnTo>
                  <a:lnTo>
                    <a:pt x="8662" y="521"/>
                  </a:lnTo>
                  <a:lnTo>
                    <a:pt x="8679" y="542"/>
                  </a:lnTo>
                  <a:lnTo>
                    <a:pt x="8694" y="563"/>
                  </a:lnTo>
                  <a:lnTo>
                    <a:pt x="8708" y="586"/>
                  </a:lnTo>
                  <a:lnTo>
                    <a:pt x="8720" y="610"/>
                  </a:lnTo>
                  <a:lnTo>
                    <a:pt x="8733" y="634"/>
                  </a:lnTo>
                  <a:lnTo>
                    <a:pt x="8744" y="660"/>
                  </a:lnTo>
                  <a:lnTo>
                    <a:pt x="8753" y="686"/>
                  </a:lnTo>
                  <a:lnTo>
                    <a:pt x="8762" y="715"/>
                  </a:lnTo>
                  <a:lnTo>
                    <a:pt x="8769" y="743"/>
                  </a:lnTo>
                  <a:lnTo>
                    <a:pt x="8775" y="773"/>
                  </a:lnTo>
                  <a:lnTo>
                    <a:pt x="8780" y="803"/>
                  </a:lnTo>
                  <a:lnTo>
                    <a:pt x="8785" y="835"/>
                  </a:lnTo>
                  <a:lnTo>
                    <a:pt x="8788" y="866"/>
                  </a:lnTo>
                  <a:lnTo>
                    <a:pt x="8790" y="900"/>
                  </a:lnTo>
                  <a:lnTo>
                    <a:pt x="8790" y="933"/>
                  </a:lnTo>
                  <a:lnTo>
                    <a:pt x="8790" y="968"/>
                  </a:lnTo>
                  <a:lnTo>
                    <a:pt x="8788" y="1001"/>
                  </a:lnTo>
                  <a:lnTo>
                    <a:pt x="8785" y="1033"/>
                  </a:lnTo>
                  <a:lnTo>
                    <a:pt x="8780" y="1065"/>
                  </a:lnTo>
                  <a:lnTo>
                    <a:pt x="8775" y="1095"/>
                  </a:lnTo>
                  <a:lnTo>
                    <a:pt x="8769" y="1125"/>
                  </a:lnTo>
                  <a:lnTo>
                    <a:pt x="8762" y="1153"/>
                  </a:lnTo>
                  <a:lnTo>
                    <a:pt x="8753" y="1181"/>
                  </a:lnTo>
                  <a:lnTo>
                    <a:pt x="8744" y="1207"/>
                  </a:lnTo>
                  <a:lnTo>
                    <a:pt x="8733" y="1233"/>
                  </a:lnTo>
                  <a:lnTo>
                    <a:pt x="8720" y="1258"/>
                  </a:lnTo>
                  <a:lnTo>
                    <a:pt x="8708" y="1281"/>
                  </a:lnTo>
                  <a:lnTo>
                    <a:pt x="8694" y="1305"/>
                  </a:lnTo>
                  <a:lnTo>
                    <a:pt x="8679" y="1326"/>
                  </a:lnTo>
                  <a:lnTo>
                    <a:pt x="8662" y="1346"/>
                  </a:lnTo>
                  <a:lnTo>
                    <a:pt x="8644" y="1366"/>
                  </a:lnTo>
                  <a:lnTo>
                    <a:pt x="8626" y="1385"/>
                  </a:lnTo>
                  <a:lnTo>
                    <a:pt x="8607" y="1402"/>
                  </a:lnTo>
                  <a:lnTo>
                    <a:pt x="8585" y="1418"/>
                  </a:lnTo>
                  <a:lnTo>
                    <a:pt x="8564" y="1434"/>
                  </a:lnTo>
                  <a:lnTo>
                    <a:pt x="8540" y="1447"/>
                  </a:lnTo>
                  <a:lnTo>
                    <a:pt x="8517" y="1460"/>
                  </a:lnTo>
                  <a:lnTo>
                    <a:pt x="8492" y="1472"/>
                  </a:lnTo>
                  <a:lnTo>
                    <a:pt x="8465" y="1483"/>
                  </a:lnTo>
                  <a:lnTo>
                    <a:pt x="8438" y="1492"/>
                  </a:lnTo>
                  <a:lnTo>
                    <a:pt x="8409" y="1500"/>
                  </a:lnTo>
                  <a:lnTo>
                    <a:pt x="8380" y="1507"/>
                  </a:lnTo>
                  <a:lnTo>
                    <a:pt x="8349" y="1513"/>
                  </a:lnTo>
                  <a:lnTo>
                    <a:pt x="8318" y="1517"/>
                  </a:lnTo>
                  <a:lnTo>
                    <a:pt x="8285" y="1520"/>
                  </a:lnTo>
                  <a:lnTo>
                    <a:pt x="8252" y="1522"/>
                  </a:lnTo>
                  <a:lnTo>
                    <a:pt x="8217" y="1523"/>
                  </a:lnTo>
                  <a:lnTo>
                    <a:pt x="8182" y="1522"/>
                  </a:lnTo>
                  <a:lnTo>
                    <a:pt x="8148" y="1520"/>
                  </a:lnTo>
                  <a:lnTo>
                    <a:pt x="8115" y="1517"/>
                  </a:lnTo>
                  <a:lnTo>
                    <a:pt x="8084" y="1513"/>
                  </a:lnTo>
                  <a:lnTo>
                    <a:pt x="8053" y="1507"/>
                  </a:lnTo>
                  <a:lnTo>
                    <a:pt x="8024" y="1500"/>
                  </a:lnTo>
                  <a:lnTo>
                    <a:pt x="7995" y="1492"/>
                  </a:lnTo>
                  <a:lnTo>
                    <a:pt x="7968" y="1483"/>
                  </a:lnTo>
                  <a:lnTo>
                    <a:pt x="7942" y="1472"/>
                  </a:lnTo>
                  <a:lnTo>
                    <a:pt x="7917" y="1460"/>
                  </a:lnTo>
                  <a:lnTo>
                    <a:pt x="7893" y="1447"/>
                  </a:lnTo>
                  <a:lnTo>
                    <a:pt x="7870" y="1434"/>
                  </a:lnTo>
                  <a:lnTo>
                    <a:pt x="7848" y="1418"/>
                  </a:lnTo>
                  <a:lnTo>
                    <a:pt x="7828" y="1402"/>
                  </a:lnTo>
                  <a:lnTo>
                    <a:pt x="7807" y="1385"/>
                  </a:lnTo>
                  <a:lnTo>
                    <a:pt x="7789" y="1366"/>
                  </a:lnTo>
                  <a:lnTo>
                    <a:pt x="7772" y="1346"/>
                  </a:lnTo>
                  <a:lnTo>
                    <a:pt x="7755" y="1326"/>
                  </a:lnTo>
                  <a:lnTo>
                    <a:pt x="7740" y="1305"/>
                  </a:lnTo>
                  <a:lnTo>
                    <a:pt x="7726" y="1281"/>
                  </a:lnTo>
                  <a:lnTo>
                    <a:pt x="7713" y="1258"/>
                  </a:lnTo>
                  <a:lnTo>
                    <a:pt x="7700" y="1233"/>
                  </a:lnTo>
                  <a:lnTo>
                    <a:pt x="7690" y="1207"/>
                  </a:lnTo>
                  <a:lnTo>
                    <a:pt x="7680" y="1181"/>
                  </a:lnTo>
                  <a:lnTo>
                    <a:pt x="7672" y="1153"/>
                  </a:lnTo>
                  <a:lnTo>
                    <a:pt x="7664" y="1125"/>
                  </a:lnTo>
                  <a:lnTo>
                    <a:pt x="7658" y="1095"/>
                  </a:lnTo>
                  <a:lnTo>
                    <a:pt x="7653" y="1065"/>
                  </a:lnTo>
                  <a:lnTo>
                    <a:pt x="7649" y="1033"/>
                  </a:lnTo>
                  <a:lnTo>
                    <a:pt x="7645" y="1001"/>
                  </a:lnTo>
                  <a:lnTo>
                    <a:pt x="7644" y="968"/>
                  </a:lnTo>
                  <a:lnTo>
                    <a:pt x="7643" y="933"/>
                  </a:lnTo>
                  <a:close/>
                  <a:moveTo>
                    <a:pt x="11327" y="477"/>
                  </a:moveTo>
                  <a:lnTo>
                    <a:pt x="11310" y="447"/>
                  </a:lnTo>
                  <a:lnTo>
                    <a:pt x="11291" y="420"/>
                  </a:lnTo>
                  <a:lnTo>
                    <a:pt x="11272" y="392"/>
                  </a:lnTo>
                  <a:lnTo>
                    <a:pt x="11253" y="366"/>
                  </a:lnTo>
                  <a:lnTo>
                    <a:pt x="11232" y="341"/>
                  </a:lnTo>
                  <a:lnTo>
                    <a:pt x="11211" y="316"/>
                  </a:lnTo>
                  <a:lnTo>
                    <a:pt x="11190" y="293"/>
                  </a:lnTo>
                  <a:lnTo>
                    <a:pt x="11167" y="270"/>
                  </a:lnTo>
                  <a:lnTo>
                    <a:pt x="11144" y="248"/>
                  </a:lnTo>
                  <a:lnTo>
                    <a:pt x="11121" y="228"/>
                  </a:lnTo>
                  <a:lnTo>
                    <a:pt x="11096" y="207"/>
                  </a:lnTo>
                  <a:lnTo>
                    <a:pt x="11071" y="188"/>
                  </a:lnTo>
                  <a:lnTo>
                    <a:pt x="11045" y="171"/>
                  </a:lnTo>
                  <a:lnTo>
                    <a:pt x="11018" y="154"/>
                  </a:lnTo>
                  <a:lnTo>
                    <a:pt x="10991" y="136"/>
                  </a:lnTo>
                  <a:lnTo>
                    <a:pt x="10963" y="121"/>
                  </a:lnTo>
                  <a:lnTo>
                    <a:pt x="10934" y="107"/>
                  </a:lnTo>
                  <a:lnTo>
                    <a:pt x="10905" y="93"/>
                  </a:lnTo>
                  <a:lnTo>
                    <a:pt x="10875" y="80"/>
                  </a:lnTo>
                  <a:lnTo>
                    <a:pt x="10845" y="68"/>
                  </a:lnTo>
                  <a:lnTo>
                    <a:pt x="10813" y="58"/>
                  </a:lnTo>
                  <a:lnTo>
                    <a:pt x="10782" y="48"/>
                  </a:lnTo>
                  <a:lnTo>
                    <a:pt x="10749" y="39"/>
                  </a:lnTo>
                  <a:lnTo>
                    <a:pt x="10716" y="30"/>
                  </a:lnTo>
                  <a:lnTo>
                    <a:pt x="10682" y="23"/>
                  </a:lnTo>
                  <a:lnTo>
                    <a:pt x="10648" y="17"/>
                  </a:lnTo>
                  <a:lnTo>
                    <a:pt x="10612" y="12"/>
                  </a:lnTo>
                  <a:lnTo>
                    <a:pt x="10576" y="8"/>
                  </a:lnTo>
                  <a:lnTo>
                    <a:pt x="10540" y="4"/>
                  </a:lnTo>
                  <a:lnTo>
                    <a:pt x="10502" y="2"/>
                  </a:lnTo>
                  <a:lnTo>
                    <a:pt x="10465" y="1"/>
                  </a:lnTo>
                  <a:lnTo>
                    <a:pt x="10426" y="0"/>
                  </a:lnTo>
                  <a:lnTo>
                    <a:pt x="10373" y="1"/>
                  </a:lnTo>
                  <a:lnTo>
                    <a:pt x="10322" y="4"/>
                  </a:lnTo>
                  <a:lnTo>
                    <a:pt x="10271" y="9"/>
                  </a:lnTo>
                  <a:lnTo>
                    <a:pt x="10222" y="16"/>
                  </a:lnTo>
                  <a:lnTo>
                    <a:pt x="10174" y="25"/>
                  </a:lnTo>
                  <a:lnTo>
                    <a:pt x="10126" y="37"/>
                  </a:lnTo>
                  <a:lnTo>
                    <a:pt x="10079" y="50"/>
                  </a:lnTo>
                  <a:lnTo>
                    <a:pt x="10033" y="65"/>
                  </a:lnTo>
                  <a:lnTo>
                    <a:pt x="9990" y="81"/>
                  </a:lnTo>
                  <a:lnTo>
                    <a:pt x="9947" y="101"/>
                  </a:lnTo>
                  <a:lnTo>
                    <a:pt x="9905" y="121"/>
                  </a:lnTo>
                  <a:lnTo>
                    <a:pt x="9865" y="143"/>
                  </a:lnTo>
                  <a:lnTo>
                    <a:pt x="9826" y="168"/>
                  </a:lnTo>
                  <a:lnTo>
                    <a:pt x="9788" y="194"/>
                  </a:lnTo>
                  <a:lnTo>
                    <a:pt x="9753" y="222"/>
                  </a:lnTo>
                  <a:lnTo>
                    <a:pt x="9718" y="251"/>
                  </a:lnTo>
                  <a:lnTo>
                    <a:pt x="9686" y="282"/>
                  </a:lnTo>
                  <a:lnTo>
                    <a:pt x="9654" y="314"/>
                  </a:lnTo>
                  <a:lnTo>
                    <a:pt x="9626" y="349"/>
                  </a:lnTo>
                  <a:lnTo>
                    <a:pt x="9598" y="385"/>
                  </a:lnTo>
                  <a:lnTo>
                    <a:pt x="9572" y="423"/>
                  </a:lnTo>
                  <a:lnTo>
                    <a:pt x="9548" y="462"/>
                  </a:lnTo>
                  <a:lnTo>
                    <a:pt x="9527" y="502"/>
                  </a:lnTo>
                  <a:lnTo>
                    <a:pt x="9508" y="545"/>
                  </a:lnTo>
                  <a:lnTo>
                    <a:pt x="9489" y="589"/>
                  </a:lnTo>
                  <a:lnTo>
                    <a:pt x="9474" y="633"/>
                  </a:lnTo>
                  <a:lnTo>
                    <a:pt x="9461" y="680"/>
                  </a:lnTo>
                  <a:lnTo>
                    <a:pt x="9451" y="728"/>
                  </a:lnTo>
                  <a:lnTo>
                    <a:pt x="9441" y="778"/>
                  </a:lnTo>
                  <a:lnTo>
                    <a:pt x="9435" y="829"/>
                  </a:lnTo>
                  <a:lnTo>
                    <a:pt x="9432" y="881"/>
                  </a:lnTo>
                  <a:lnTo>
                    <a:pt x="9430" y="933"/>
                  </a:lnTo>
                  <a:lnTo>
                    <a:pt x="9431" y="987"/>
                  </a:lnTo>
                  <a:lnTo>
                    <a:pt x="9435" y="1039"/>
                  </a:lnTo>
                  <a:lnTo>
                    <a:pt x="9441" y="1090"/>
                  </a:lnTo>
                  <a:lnTo>
                    <a:pt x="9450" y="1139"/>
                  </a:lnTo>
                  <a:lnTo>
                    <a:pt x="9461" y="1188"/>
                  </a:lnTo>
                  <a:lnTo>
                    <a:pt x="9474" y="1234"/>
                  </a:lnTo>
                  <a:lnTo>
                    <a:pt x="9488" y="1279"/>
                  </a:lnTo>
                  <a:lnTo>
                    <a:pt x="9506" y="1323"/>
                  </a:lnTo>
                  <a:lnTo>
                    <a:pt x="9525" y="1365"/>
                  </a:lnTo>
                  <a:lnTo>
                    <a:pt x="9546" y="1405"/>
                  </a:lnTo>
                  <a:lnTo>
                    <a:pt x="9570" y="1445"/>
                  </a:lnTo>
                  <a:lnTo>
                    <a:pt x="9595" y="1483"/>
                  </a:lnTo>
                  <a:lnTo>
                    <a:pt x="9623" y="1518"/>
                  </a:lnTo>
                  <a:lnTo>
                    <a:pt x="9651" y="1553"/>
                  </a:lnTo>
                  <a:lnTo>
                    <a:pt x="9681" y="1585"/>
                  </a:lnTo>
                  <a:lnTo>
                    <a:pt x="9714" y="1617"/>
                  </a:lnTo>
                  <a:lnTo>
                    <a:pt x="9749" y="1646"/>
                  </a:lnTo>
                  <a:lnTo>
                    <a:pt x="9784" y="1674"/>
                  </a:lnTo>
                  <a:lnTo>
                    <a:pt x="9822" y="1700"/>
                  </a:lnTo>
                  <a:lnTo>
                    <a:pt x="9860" y="1724"/>
                  </a:lnTo>
                  <a:lnTo>
                    <a:pt x="9900" y="1746"/>
                  </a:lnTo>
                  <a:lnTo>
                    <a:pt x="9942" y="1767"/>
                  </a:lnTo>
                  <a:lnTo>
                    <a:pt x="9986" y="1786"/>
                  </a:lnTo>
                  <a:lnTo>
                    <a:pt x="10029" y="1803"/>
                  </a:lnTo>
                  <a:lnTo>
                    <a:pt x="10075" y="1818"/>
                  </a:lnTo>
                  <a:lnTo>
                    <a:pt x="10122" y="1830"/>
                  </a:lnTo>
                  <a:lnTo>
                    <a:pt x="10170" y="1841"/>
                  </a:lnTo>
                  <a:lnTo>
                    <a:pt x="10219" y="1851"/>
                  </a:lnTo>
                  <a:lnTo>
                    <a:pt x="10269" y="1858"/>
                  </a:lnTo>
                  <a:lnTo>
                    <a:pt x="10320" y="1863"/>
                  </a:lnTo>
                  <a:lnTo>
                    <a:pt x="10372" y="1867"/>
                  </a:lnTo>
                  <a:lnTo>
                    <a:pt x="10426" y="1868"/>
                  </a:lnTo>
                  <a:lnTo>
                    <a:pt x="10465" y="1867"/>
                  </a:lnTo>
                  <a:lnTo>
                    <a:pt x="10502" y="1866"/>
                  </a:lnTo>
                  <a:lnTo>
                    <a:pt x="10540" y="1863"/>
                  </a:lnTo>
                  <a:lnTo>
                    <a:pt x="10576" y="1860"/>
                  </a:lnTo>
                  <a:lnTo>
                    <a:pt x="10612" y="1856"/>
                  </a:lnTo>
                  <a:lnTo>
                    <a:pt x="10648" y="1851"/>
                  </a:lnTo>
                  <a:lnTo>
                    <a:pt x="10682" y="1845"/>
                  </a:lnTo>
                  <a:lnTo>
                    <a:pt x="10716" y="1837"/>
                  </a:lnTo>
                  <a:lnTo>
                    <a:pt x="10749" y="1829"/>
                  </a:lnTo>
                  <a:lnTo>
                    <a:pt x="10782" y="1820"/>
                  </a:lnTo>
                  <a:lnTo>
                    <a:pt x="10813" y="1810"/>
                  </a:lnTo>
                  <a:lnTo>
                    <a:pt x="10845" y="1799"/>
                  </a:lnTo>
                  <a:lnTo>
                    <a:pt x="10875" y="1788"/>
                  </a:lnTo>
                  <a:lnTo>
                    <a:pt x="10905" y="1774"/>
                  </a:lnTo>
                  <a:lnTo>
                    <a:pt x="10934" y="1761"/>
                  </a:lnTo>
                  <a:lnTo>
                    <a:pt x="10963" y="1746"/>
                  </a:lnTo>
                  <a:lnTo>
                    <a:pt x="10991" y="1731"/>
                  </a:lnTo>
                  <a:lnTo>
                    <a:pt x="11018" y="1714"/>
                  </a:lnTo>
                  <a:lnTo>
                    <a:pt x="11045" y="1697"/>
                  </a:lnTo>
                  <a:lnTo>
                    <a:pt x="11071" y="1679"/>
                  </a:lnTo>
                  <a:lnTo>
                    <a:pt x="11096" y="1659"/>
                  </a:lnTo>
                  <a:lnTo>
                    <a:pt x="11121" y="1640"/>
                  </a:lnTo>
                  <a:lnTo>
                    <a:pt x="11144" y="1619"/>
                  </a:lnTo>
                  <a:lnTo>
                    <a:pt x="11167" y="1597"/>
                  </a:lnTo>
                  <a:lnTo>
                    <a:pt x="11190" y="1574"/>
                  </a:lnTo>
                  <a:lnTo>
                    <a:pt x="11211" y="1551"/>
                  </a:lnTo>
                  <a:lnTo>
                    <a:pt x="11232" y="1526"/>
                  </a:lnTo>
                  <a:lnTo>
                    <a:pt x="11253" y="1501"/>
                  </a:lnTo>
                  <a:lnTo>
                    <a:pt x="11272" y="1474"/>
                  </a:lnTo>
                  <a:lnTo>
                    <a:pt x="11291" y="1448"/>
                  </a:lnTo>
                  <a:lnTo>
                    <a:pt x="11310" y="1419"/>
                  </a:lnTo>
                  <a:lnTo>
                    <a:pt x="11327" y="1391"/>
                  </a:lnTo>
                  <a:lnTo>
                    <a:pt x="11015" y="1211"/>
                  </a:lnTo>
                  <a:lnTo>
                    <a:pt x="11002" y="1228"/>
                  </a:lnTo>
                  <a:lnTo>
                    <a:pt x="10988" y="1246"/>
                  </a:lnTo>
                  <a:lnTo>
                    <a:pt x="10975" y="1263"/>
                  </a:lnTo>
                  <a:lnTo>
                    <a:pt x="10962" y="1279"/>
                  </a:lnTo>
                  <a:lnTo>
                    <a:pt x="10948" y="1294"/>
                  </a:lnTo>
                  <a:lnTo>
                    <a:pt x="10933" y="1310"/>
                  </a:lnTo>
                  <a:lnTo>
                    <a:pt x="10919" y="1325"/>
                  </a:lnTo>
                  <a:lnTo>
                    <a:pt x="10904" y="1339"/>
                  </a:lnTo>
                  <a:lnTo>
                    <a:pt x="10890" y="1352"/>
                  </a:lnTo>
                  <a:lnTo>
                    <a:pt x="10873" y="1366"/>
                  </a:lnTo>
                  <a:lnTo>
                    <a:pt x="10858" y="1378"/>
                  </a:lnTo>
                  <a:lnTo>
                    <a:pt x="10842" y="1390"/>
                  </a:lnTo>
                  <a:lnTo>
                    <a:pt x="10825" y="1402"/>
                  </a:lnTo>
                  <a:lnTo>
                    <a:pt x="10807" y="1412"/>
                  </a:lnTo>
                  <a:lnTo>
                    <a:pt x="10790" y="1423"/>
                  </a:lnTo>
                  <a:lnTo>
                    <a:pt x="10773" y="1433"/>
                  </a:lnTo>
                  <a:lnTo>
                    <a:pt x="10754" y="1442"/>
                  </a:lnTo>
                  <a:lnTo>
                    <a:pt x="10735" y="1451"/>
                  </a:lnTo>
                  <a:lnTo>
                    <a:pt x="10716" y="1459"/>
                  </a:lnTo>
                  <a:lnTo>
                    <a:pt x="10696" y="1466"/>
                  </a:lnTo>
                  <a:lnTo>
                    <a:pt x="10676" y="1473"/>
                  </a:lnTo>
                  <a:lnTo>
                    <a:pt x="10656" y="1479"/>
                  </a:lnTo>
                  <a:lnTo>
                    <a:pt x="10634" y="1486"/>
                  </a:lnTo>
                  <a:lnTo>
                    <a:pt x="10613" y="1491"/>
                  </a:lnTo>
                  <a:lnTo>
                    <a:pt x="10591" y="1495"/>
                  </a:lnTo>
                  <a:lnTo>
                    <a:pt x="10567" y="1499"/>
                  </a:lnTo>
                  <a:lnTo>
                    <a:pt x="10544" y="1502"/>
                  </a:lnTo>
                  <a:lnTo>
                    <a:pt x="10521" y="1505"/>
                  </a:lnTo>
                  <a:lnTo>
                    <a:pt x="10496" y="1507"/>
                  </a:lnTo>
                  <a:lnTo>
                    <a:pt x="10471" y="1509"/>
                  </a:lnTo>
                  <a:lnTo>
                    <a:pt x="10445" y="1510"/>
                  </a:lnTo>
                  <a:lnTo>
                    <a:pt x="10419" y="1510"/>
                  </a:lnTo>
                  <a:lnTo>
                    <a:pt x="10386" y="1509"/>
                  </a:lnTo>
                  <a:lnTo>
                    <a:pt x="10355" y="1507"/>
                  </a:lnTo>
                  <a:lnTo>
                    <a:pt x="10324" y="1504"/>
                  </a:lnTo>
                  <a:lnTo>
                    <a:pt x="10294" y="1500"/>
                  </a:lnTo>
                  <a:lnTo>
                    <a:pt x="10264" y="1494"/>
                  </a:lnTo>
                  <a:lnTo>
                    <a:pt x="10236" y="1487"/>
                  </a:lnTo>
                  <a:lnTo>
                    <a:pt x="10207" y="1478"/>
                  </a:lnTo>
                  <a:lnTo>
                    <a:pt x="10180" y="1468"/>
                  </a:lnTo>
                  <a:lnTo>
                    <a:pt x="10153" y="1458"/>
                  </a:lnTo>
                  <a:lnTo>
                    <a:pt x="10128" y="1446"/>
                  </a:lnTo>
                  <a:lnTo>
                    <a:pt x="10104" y="1433"/>
                  </a:lnTo>
                  <a:lnTo>
                    <a:pt x="10080" y="1418"/>
                  </a:lnTo>
                  <a:lnTo>
                    <a:pt x="10057" y="1403"/>
                  </a:lnTo>
                  <a:lnTo>
                    <a:pt x="10035" y="1387"/>
                  </a:lnTo>
                  <a:lnTo>
                    <a:pt x="10014" y="1370"/>
                  </a:lnTo>
                  <a:lnTo>
                    <a:pt x="9994" y="1351"/>
                  </a:lnTo>
                  <a:lnTo>
                    <a:pt x="9975" y="1332"/>
                  </a:lnTo>
                  <a:lnTo>
                    <a:pt x="9957" y="1312"/>
                  </a:lnTo>
                  <a:lnTo>
                    <a:pt x="9941" y="1289"/>
                  </a:lnTo>
                  <a:lnTo>
                    <a:pt x="9925" y="1268"/>
                  </a:lnTo>
                  <a:lnTo>
                    <a:pt x="9910" y="1245"/>
                  </a:lnTo>
                  <a:lnTo>
                    <a:pt x="9896" y="1220"/>
                  </a:lnTo>
                  <a:lnTo>
                    <a:pt x="9884" y="1195"/>
                  </a:lnTo>
                  <a:lnTo>
                    <a:pt x="9873" y="1169"/>
                  </a:lnTo>
                  <a:lnTo>
                    <a:pt x="9864" y="1143"/>
                  </a:lnTo>
                  <a:lnTo>
                    <a:pt x="9854" y="1114"/>
                  </a:lnTo>
                  <a:lnTo>
                    <a:pt x="9847" y="1087"/>
                  </a:lnTo>
                  <a:lnTo>
                    <a:pt x="9841" y="1057"/>
                  </a:lnTo>
                  <a:lnTo>
                    <a:pt x="9836" y="1028"/>
                  </a:lnTo>
                  <a:lnTo>
                    <a:pt x="9833" y="998"/>
                  </a:lnTo>
                  <a:lnTo>
                    <a:pt x="9831" y="966"/>
                  </a:lnTo>
                  <a:lnTo>
                    <a:pt x="9830" y="933"/>
                  </a:lnTo>
                  <a:lnTo>
                    <a:pt x="9831" y="901"/>
                  </a:lnTo>
                  <a:lnTo>
                    <a:pt x="9833" y="869"/>
                  </a:lnTo>
                  <a:lnTo>
                    <a:pt x="9836" y="839"/>
                  </a:lnTo>
                  <a:lnTo>
                    <a:pt x="9840" y="808"/>
                  </a:lnTo>
                  <a:lnTo>
                    <a:pt x="9846" y="779"/>
                  </a:lnTo>
                  <a:lnTo>
                    <a:pt x="9853" y="750"/>
                  </a:lnTo>
                  <a:lnTo>
                    <a:pt x="9863" y="723"/>
                  </a:lnTo>
                  <a:lnTo>
                    <a:pt x="9872" y="696"/>
                  </a:lnTo>
                  <a:lnTo>
                    <a:pt x="9883" y="670"/>
                  </a:lnTo>
                  <a:lnTo>
                    <a:pt x="9894" y="645"/>
                  </a:lnTo>
                  <a:lnTo>
                    <a:pt x="9907" y="620"/>
                  </a:lnTo>
                  <a:lnTo>
                    <a:pt x="9923" y="597"/>
                  </a:lnTo>
                  <a:lnTo>
                    <a:pt x="9938" y="575"/>
                  </a:lnTo>
                  <a:lnTo>
                    <a:pt x="9954" y="553"/>
                  </a:lnTo>
                  <a:lnTo>
                    <a:pt x="9971" y="533"/>
                  </a:lnTo>
                  <a:lnTo>
                    <a:pt x="9991" y="513"/>
                  </a:lnTo>
                  <a:lnTo>
                    <a:pt x="10010" y="496"/>
                  </a:lnTo>
                  <a:lnTo>
                    <a:pt x="10031" y="479"/>
                  </a:lnTo>
                  <a:lnTo>
                    <a:pt x="10053" y="463"/>
                  </a:lnTo>
                  <a:lnTo>
                    <a:pt x="10075" y="447"/>
                  </a:lnTo>
                  <a:lnTo>
                    <a:pt x="10099" y="433"/>
                  </a:lnTo>
                  <a:lnTo>
                    <a:pt x="10124" y="420"/>
                  </a:lnTo>
                  <a:lnTo>
                    <a:pt x="10149" y="409"/>
                  </a:lnTo>
                  <a:lnTo>
                    <a:pt x="10176" y="399"/>
                  </a:lnTo>
                  <a:lnTo>
                    <a:pt x="10203" y="388"/>
                  </a:lnTo>
                  <a:lnTo>
                    <a:pt x="10232" y="380"/>
                  </a:lnTo>
                  <a:lnTo>
                    <a:pt x="10261" y="373"/>
                  </a:lnTo>
                  <a:lnTo>
                    <a:pt x="10291" y="368"/>
                  </a:lnTo>
                  <a:lnTo>
                    <a:pt x="10322" y="363"/>
                  </a:lnTo>
                  <a:lnTo>
                    <a:pt x="10354" y="360"/>
                  </a:lnTo>
                  <a:lnTo>
                    <a:pt x="10386" y="358"/>
                  </a:lnTo>
                  <a:lnTo>
                    <a:pt x="10419" y="358"/>
                  </a:lnTo>
                  <a:lnTo>
                    <a:pt x="10445" y="358"/>
                  </a:lnTo>
                  <a:lnTo>
                    <a:pt x="10471" y="359"/>
                  </a:lnTo>
                  <a:lnTo>
                    <a:pt x="10496" y="360"/>
                  </a:lnTo>
                  <a:lnTo>
                    <a:pt x="10521" y="362"/>
                  </a:lnTo>
                  <a:lnTo>
                    <a:pt x="10544" y="365"/>
                  </a:lnTo>
                  <a:lnTo>
                    <a:pt x="10567" y="368"/>
                  </a:lnTo>
                  <a:lnTo>
                    <a:pt x="10591" y="372"/>
                  </a:lnTo>
                  <a:lnTo>
                    <a:pt x="10613" y="377"/>
                  </a:lnTo>
                  <a:lnTo>
                    <a:pt x="10634" y="382"/>
                  </a:lnTo>
                  <a:lnTo>
                    <a:pt x="10656" y="388"/>
                  </a:lnTo>
                  <a:lnTo>
                    <a:pt x="10676" y="395"/>
                  </a:lnTo>
                  <a:lnTo>
                    <a:pt x="10696" y="402"/>
                  </a:lnTo>
                  <a:lnTo>
                    <a:pt x="10716" y="409"/>
                  </a:lnTo>
                  <a:lnTo>
                    <a:pt x="10735" y="417"/>
                  </a:lnTo>
                  <a:lnTo>
                    <a:pt x="10754" y="425"/>
                  </a:lnTo>
                  <a:lnTo>
                    <a:pt x="10773" y="435"/>
                  </a:lnTo>
                  <a:lnTo>
                    <a:pt x="10790" y="444"/>
                  </a:lnTo>
                  <a:lnTo>
                    <a:pt x="10807" y="455"/>
                  </a:lnTo>
                  <a:lnTo>
                    <a:pt x="10825" y="466"/>
                  </a:lnTo>
                  <a:lnTo>
                    <a:pt x="10842" y="477"/>
                  </a:lnTo>
                  <a:lnTo>
                    <a:pt x="10858" y="489"/>
                  </a:lnTo>
                  <a:lnTo>
                    <a:pt x="10873" y="502"/>
                  </a:lnTo>
                  <a:lnTo>
                    <a:pt x="10890" y="515"/>
                  </a:lnTo>
                  <a:lnTo>
                    <a:pt x="10904" y="529"/>
                  </a:lnTo>
                  <a:lnTo>
                    <a:pt x="10919" y="543"/>
                  </a:lnTo>
                  <a:lnTo>
                    <a:pt x="10933" y="557"/>
                  </a:lnTo>
                  <a:lnTo>
                    <a:pt x="10948" y="572"/>
                  </a:lnTo>
                  <a:lnTo>
                    <a:pt x="10962" y="589"/>
                  </a:lnTo>
                  <a:lnTo>
                    <a:pt x="10975" y="605"/>
                  </a:lnTo>
                  <a:lnTo>
                    <a:pt x="10988" y="621"/>
                  </a:lnTo>
                  <a:lnTo>
                    <a:pt x="11002" y="639"/>
                  </a:lnTo>
                  <a:lnTo>
                    <a:pt x="11015" y="657"/>
                  </a:lnTo>
                  <a:lnTo>
                    <a:pt x="11327" y="4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490538" y="487363"/>
              <a:ext cx="466725" cy="455612"/>
            </a:xfrm>
            <a:custGeom>
              <a:avLst/>
              <a:gdLst>
                <a:gd name="T0" fmla="*/ 1853 w 3532"/>
                <a:gd name="T1" fmla="*/ 1336 h 3444"/>
                <a:gd name="T2" fmla="*/ 1828 w 3532"/>
                <a:gd name="T3" fmla="*/ 1351 h 3444"/>
                <a:gd name="T4" fmla="*/ 1795 w 3532"/>
                <a:gd name="T5" fmla="*/ 1349 h 3444"/>
                <a:gd name="T6" fmla="*/ 1104 w 3532"/>
                <a:gd name="T7" fmla="*/ 1069 h 3444"/>
                <a:gd name="T8" fmla="*/ 1071 w 3532"/>
                <a:gd name="T9" fmla="*/ 1010 h 3444"/>
                <a:gd name="T10" fmla="*/ 1204 w 3532"/>
                <a:gd name="T11" fmla="*/ 141 h 3444"/>
                <a:gd name="T12" fmla="*/ 1231 w 3532"/>
                <a:gd name="T13" fmla="*/ 77 h 3444"/>
                <a:gd name="T14" fmla="*/ 1287 w 3532"/>
                <a:gd name="T15" fmla="*/ 37 h 3444"/>
                <a:gd name="T16" fmla="*/ 2026 w 3532"/>
                <a:gd name="T17" fmla="*/ 0 h 3444"/>
                <a:gd name="T18" fmla="*/ 2055 w 3532"/>
                <a:gd name="T19" fmla="*/ 11 h 3444"/>
                <a:gd name="T20" fmla="*/ 2072 w 3532"/>
                <a:gd name="T21" fmla="*/ 37 h 3444"/>
                <a:gd name="T22" fmla="*/ 1399 w 3532"/>
                <a:gd name="T23" fmla="*/ 1554 h 3444"/>
                <a:gd name="T24" fmla="*/ 1417 w 3532"/>
                <a:gd name="T25" fmla="*/ 1578 h 3444"/>
                <a:gd name="T26" fmla="*/ 1414 w 3532"/>
                <a:gd name="T27" fmla="*/ 1610 h 3444"/>
                <a:gd name="T28" fmla="*/ 958 w 3532"/>
                <a:gd name="T29" fmla="*/ 2172 h 3444"/>
                <a:gd name="T30" fmla="*/ 893 w 3532"/>
                <a:gd name="T31" fmla="*/ 2208 h 3444"/>
                <a:gd name="T32" fmla="*/ 826 w 3532"/>
                <a:gd name="T33" fmla="*/ 2201 h 3444"/>
                <a:gd name="T34" fmla="*/ 45 w 3532"/>
                <a:gd name="T35" fmla="*/ 1796 h 3444"/>
                <a:gd name="T36" fmla="*/ 6 w 3532"/>
                <a:gd name="T37" fmla="*/ 1741 h 3444"/>
                <a:gd name="T38" fmla="*/ 4 w 3532"/>
                <a:gd name="T39" fmla="*/ 1664 h 3444"/>
                <a:gd name="T40" fmla="*/ 200 w 3532"/>
                <a:gd name="T41" fmla="*/ 976 h 3444"/>
                <a:gd name="T42" fmla="*/ 226 w 3532"/>
                <a:gd name="T43" fmla="*/ 959 h 3444"/>
                <a:gd name="T44" fmla="*/ 255 w 3532"/>
                <a:gd name="T45" fmla="*/ 963 h 3444"/>
                <a:gd name="T46" fmla="*/ 1491 w 3532"/>
                <a:gd name="T47" fmla="*/ 2055 h 3444"/>
                <a:gd name="T48" fmla="*/ 1521 w 3532"/>
                <a:gd name="T49" fmla="*/ 2057 h 3444"/>
                <a:gd name="T50" fmla="*/ 1546 w 3532"/>
                <a:gd name="T51" fmla="*/ 2077 h 3444"/>
                <a:gd name="T52" fmla="*/ 1940 w 3532"/>
                <a:gd name="T53" fmla="*/ 2711 h 3444"/>
                <a:gd name="T54" fmla="*/ 1933 w 3532"/>
                <a:gd name="T55" fmla="*/ 2779 h 3444"/>
                <a:gd name="T56" fmla="*/ 1315 w 3532"/>
                <a:gd name="T57" fmla="*/ 3402 h 3444"/>
                <a:gd name="T58" fmla="*/ 1256 w 3532"/>
                <a:gd name="T59" fmla="*/ 3439 h 3444"/>
                <a:gd name="T60" fmla="*/ 1187 w 3532"/>
                <a:gd name="T61" fmla="*/ 3439 h 3444"/>
                <a:gd name="T62" fmla="*/ 567 w 3532"/>
                <a:gd name="T63" fmla="*/ 3035 h 3444"/>
                <a:gd name="T64" fmla="*/ 549 w 3532"/>
                <a:gd name="T65" fmla="*/ 3009 h 3444"/>
                <a:gd name="T66" fmla="*/ 551 w 3532"/>
                <a:gd name="T67" fmla="*/ 2978 h 3444"/>
                <a:gd name="T68" fmla="*/ 1987 w 3532"/>
                <a:gd name="T69" fmla="*/ 2144 h 3444"/>
                <a:gd name="T70" fmla="*/ 1988 w 3532"/>
                <a:gd name="T71" fmla="*/ 2114 h 3444"/>
                <a:gd name="T72" fmla="*/ 2009 w 3532"/>
                <a:gd name="T73" fmla="*/ 2091 h 3444"/>
                <a:gd name="T74" fmla="*/ 2707 w 3532"/>
                <a:gd name="T75" fmla="*/ 1899 h 3444"/>
                <a:gd name="T76" fmla="*/ 2780 w 3532"/>
                <a:gd name="T77" fmla="*/ 1910 h 3444"/>
                <a:gd name="T78" fmla="*/ 2832 w 3532"/>
                <a:gd name="T79" fmla="*/ 1953 h 3444"/>
                <a:gd name="T80" fmla="*/ 3229 w 3532"/>
                <a:gd name="T81" fmla="*/ 2739 h 3444"/>
                <a:gd name="T82" fmla="*/ 3227 w 3532"/>
                <a:gd name="T83" fmla="*/ 2806 h 3444"/>
                <a:gd name="T84" fmla="*/ 3184 w 3532"/>
                <a:gd name="T85" fmla="*/ 2871 h 3444"/>
                <a:gd name="T86" fmla="*/ 2624 w 3532"/>
                <a:gd name="T87" fmla="*/ 3314 h 3444"/>
                <a:gd name="T88" fmla="*/ 2593 w 3532"/>
                <a:gd name="T89" fmla="*/ 3313 h 3444"/>
                <a:gd name="T90" fmla="*/ 2570 w 3532"/>
                <a:gd name="T91" fmla="*/ 3292 h 3444"/>
                <a:gd name="T92" fmla="*/ 2206 w 3532"/>
                <a:gd name="T93" fmla="*/ 1686 h 3444"/>
                <a:gd name="T94" fmla="*/ 2183 w 3532"/>
                <a:gd name="T95" fmla="*/ 1667 h 3444"/>
                <a:gd name="T96" fmla="*/ 2176 w 3532"/>
                <a:gd name="T97" fmla="*/ 1635 h 3444"/>
                <a:gd name="T98" fmla="*/ 2229 w 3532"/>
                <a:gd name="T99" fmla="*/ 892 h 3444"/>
                <a:gd name="T100" fmla="*/ 2275 w 3532"/>
                <a:gd name="T101" fmla="*/ 841 h 3444"/>
                <a:gd name="T102" fmla="*/ 3142 w 3532"/>
                <a:gd name="T103" fmla="*/ 700 h 3444"/>
                <a:gd name="T104" fmla="*/ 3211 w 3532"/>
                <a:gd name="T105" fmla="*/ 706 h 3444"/>
                <a:gd name="T106" fmla="*/ 3268 w 3532"/>
                <a:gd name="T107" fmla="*/ 746 h 3444"/>
                <a:gd name="T108" fmla="*/ 3530 w 3532"/>
                <a:gd name="T109" fmla="*/ 1438 h 3444"/>
                <a:gd name="T110" fmla="*/ 3529 w 3532"/>
                <a:gd name="T111" fmla="*/ 1469 h 3444"/>
                <a:gd name="T112" fmla="*/ 3510 w 3532"/>
                <a:gd name="T113" fmla="*/ 1493 h 3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32" h="3444">
                  <a:moveTo>
                    <a:pt x="2072" y="52"/>
                  </a:moveTo>
                  <a:lnTo>
                    <a:pt x="1861" y="1317"/>
                  </a:lnTo>
                  <a:lnTo>
                    <a:pt x="1860" y="1322"/>
                  </a:lnTo>
                  <a:lnTo>
                    <a:pt x="1858" y="1327"/>
                  </a:lnTo>
                  <a:lnTo>
                    <a:pt x="1856" y="1332"/>
                  </a:lnTo>
                  <a:lnTo>
                    <a:pt x="1853" y="1336"/>
                  </a:lnTo>
                  <a:lnTo>
                    <a:pt x="1849" y="1340"/>
                  </a:lnTo>
                  <a:lnTo>
                    <a:pt x="1846" y="1343"/>
                  </a:lnTo>
                  <a:lnTo>
                    <a:pt x="1842" y="1346"/>
                  </a:lnTo>
                  <a:lnTo>
                    <a:pt x="1837" y="1348"/>
                  </a:lnTo>
                  <a:lnTo>
                    <a:pt x="1833" y="1350"/>
                  </a:lnTo>
                  <a:lnTo>
                    <a:pt x="1828" y="1351"/>
                  </a:lnTo>
                  <a:lnTo>
                    <a:pt x="1822" y="1352"/>
                  </a:lnTo>
                  <a:lnTo>
                    <a:pt x="1817" y="1353"/>
                  </a:lnTo>
                  <a:lnTo>
                    <a:pt x="1811" y="1352"/>
                  </a:lnTo>
                  <a:lnTo>
                    <a:pt x="1806" y="1352"/>
                  </a:lnTo>
                  <a:lnTo>
                    <a:pt x="1801" y="1351"/>
                  </a:lnTo>
                  <a:lnTo>
                    <a:pt x="1795" y="1349"/>
                  </a:lnTo>
                  <a:lnTo>
                    <a:pt x="1163" y="1105"/>
                  </a:lnTo>
                  <a:lnTo>
                    <a:pt x="1149" y="1099"/>
                  </a:lnTo>
                  <a:lnTo>
                    <a:pt x="1136" y="1092"/>
                  </a:lnTo>
                  <a:lnTo>
                    <a:pt x="1125" y="1085"/>
                  </a:lnTo>
                  <a:lnTo>
                    <a:pt x="1114" y="1077"/>
                  </a:lnTo>
                  <a:lnTo>
                    <a:pt x="1104" y="1069"/>
                  </a:lnTo>
                  <a:lnTo>
                    <a:pt x="1096" y="1060"/>
                  </a:lnTo>
                  <a:lnTo>
                    <a:pt x="1089" y="1050"/>
                  </a:lnTo>
                  <a:lnTo>
                    <a:pt x="1083" y="1041"/>
                  </a:lnTo>
                  <a:lnTo>
                    <a:pt x="1078" y="1031"/>
                  </a:lnTo>
                  <a:lnTo>
                    <a:pt x="1074" y="1020"/>
                  </a:lnTo>
                  <a:lnTo>
                    <a:pt x="1071" y="1010"/>
                  </a:lnTo>
                  <a:lnTo>
                    <a:pt x="1068" y="999"/>
                  </a:lnTo>
                  <a:lnTo>
                    <a:pt x="1067" y="986"/>
                  </a:lnTo>
                  <a:lnTo>
                    <a:pt x="1067" y="975"/>
                  </a:lnTo>
                  <a:lnTo>
                    <a:pt x="1068" y="963"/>
                  </a:lnTo>
                  <a:lnTo>
                    <a:pt x="1069" y="951"/>
                  </a:lnTo>
                  <a:lnTo>
                    <a:pt x="1204" y="141"/>
                  </a:lnTo>
                  <a:lnTo>
                    <a:pt x="1206" y="130"/>
                  </a:lnTo>
                  <a:lnTo>
                    <a:pt x="1209" y="118"/>
                  </a:lnTo>
                  <a:lnTo>
                    <a:pt x="1213" y="107"/>
                  </a:lnTo>
                  <a:lnTo>
                    <a:pt x="1218" y="97"/>
                  </a:lnTo>
                  <a:lnTo>
                    <a:pt x="1224" y="86"/>
                  </a:lnTo>
                  <a:lnTo>
                    <a:pt x="1231" y="77"/>
                  </a:lnTo>
                  <a:lnTo>
                    <a:pt x="1238" y="69"/>
                  </a:lnTo>
                  <a:lnTo>
                    <a:pt x="1246" y="61"/>
                  </a:lnTo>
                  <a:lnTo>
                    <a:pt x="1255" y="54"/>
                  </a:lnTo>
                  <a:lnTo>
                    <a:pt x="1265" y="47"/>
                  </a:lnTo>
                  <a:lnTo>
                    <a:pt x="1275" y="42"/>
                  </a:lnTo>
                  <a:lnTo>
                    <a:pt x="1287" y="37"/>
                  </a:lnTo>
                  <a:lnTo>
                    <a:pt x="1300" y="33"/>
                  </a:lnTo>
                  <a:lnTo>
                    <a:pt x="1313" y="29"/>
                  </a:lnTo>
                  <a:lnTo>
                    <a:pt x="1327" y="27"/>
                  </a:lnTo>
                  <a:lnTo>
                    <a:pt x="1342" y="26"/>
                  </a:lnTo>
                  <a:lnTo>
                    <a:pt x="2020" y="0"/>
                  </a:lnTo>
                  <a:lnTo>
                    <a:pt x="2026" y="0"/>
                  </a:lnTo>
                  <a:lnTo>
                    <a:pt x="2031" y="1"/>
                  </a:lnTo>
                  <a:lnTo>
                    <a:pt x="2036" y="2"/>
                  </a:lnTo>
                  <a:lnTo>
                    <a:pt x="2042" y="3"/>
                  </a:lnTo>
                  <a:lnTo>
                    <a:pt x="2046" y="5"/>
                  </a:lnTo>
                  <a:lnTo>
                    <a:pt x="2051" y="8"/>
                  </a:lnTo>
                  <a:lnTo>
                    <a:pt x="2055" y="11"/>
                  </a:lnTo>
                  <a:lnTo>
                    <a:pt x="2059" y="14"/>
                  </a:lnTo>
                  <a:lnTo>
                    <a:pt x="2062" y="18"/>
                  </a:lnTo>
                  <a:lnTo>
                    <a:pt x="2066" y="22"/>
                  </a:lnTo>
                  <a:lnTo>
                    <a:pt x="2068" y="26"/>
                  </a:lnTo>
                  <a:lnTo>
                    <a:pt x="2070" y="32"/>
                  </a:lnTo>
                  <a:lnTo>
                    <a:pt x="2072" y="37"/>
                  </a:lnTo>
                  <a:lnTo>
                    <a:pt x="2072" y="42"/>
                  </a:lnTo>
                  <a:lnTo>
                    <a:pt x="2073" y="47"/>
                  </a:lnTo>
                  <a:lnTo>
                    <a:pt x="2072" y="52"/>
                  </a:lnTo>
                  <a:close/>
                  <a:moveTo>
                    <a:pt x="255" y="963"/>
                  </a:moveTo>
                  <a:lnTo>
                    <a:pt x="1394" y="1551"/>
                  </a:lnTo>
                  <a:lnTo>
                    <a:pt x="1399" y="1554"/>
                  </a:lnTo>
                  <a:lnTo>
                    <a:pt x="1403" y="1557"/>
                  </a:lnTo>
                  <a:lnTo>
                    <a:pt x="1408" y="1561"/>
                  </a:lnTo>
                  <a:lnTo>
                    <a:pt x="1411" y="1565"/>
                  </a:lnTo>
                  <a:lnTo>
                    <a:pt x="1413" y="1569"/>
                  </a:lnTo>
                  <a:lnTo>
                    <a:pt x="1415" y="1574"/>
                  </a:lnTo>
                  <a:lnTo>
                    <a:pt x="1417" y="1578"/>
                  </a:lnTo>
                  <a:lnTo>
                    <a:pt x="1418" y="1583"/>
                  </a:lnTo>
                  <a:lnTo>
                    <a:pt x="1418" y="1588"/>
                  </a:lnTo>
                  <a:lnTo>
                    <a:pt x="1418" y="1593"/>
                  </a:lnTo>
                  <a:lnTo>
                    <a:pt x="1417" y="1599"/>
                  </a:lnTo>
                  <a:lnTo>
                    <a:pt x="1416" y="1605"/>
                  </a:lnTo>
                  <a:lnTo>
                    <a:pt x="1414" y="1610"/>
                  </a:lnTo>
                  <a:lnTo>
                    <a:pt x="1412" y="1614"/>
                  </a:lnTo>
                  <a:lnTo>
                    <a:pt x="1409" y="1619"/>
                  </a:lnTo>
                  <a:lnTo>
                    <a:pt x="1405" y="1624"/>
                  </a:lnTo>
                  <a:lnTo>
                    <a:pt x="978" y="2151"/>
                  </a:lnTo>
                  <a:lnTo>
                    <a:pt x="969" y="2162"/>
                  </a:lnTo>
                  <a:lnTo>
                    <a:pt x="958" y="2172"/>
                  </a:lnTo>
                  <a:lnTo>
                    <a:pt x="948" y="2181"/>
                  </a:lnTo>
                  <a:lnTo>
                    <a:pt x="938" y="2188"/>
                  </a:lnTo>
                  <a:lnTo>
                    <a:pt x="926" y="2195"/>
                  </a:lnTo>
                  <a:lnTo>
                    <a:pt x="915" y="2200"/>
                  </a:lnTo>
                  <a:lnTo>
                    <a:pt x="904" y="2204"/>
                  </a:lnTo>
                  <a:lnTo>
                    <a:pt x="893" y="2208"/>
                  </a:lnTo>
                  <a:lnTo>
                    <a:pt x="882" y="2209"/>
                  </a:lnTo>
                  <a:lnTo>
                    <a:pt x="871" y="2210"/>
                  </a:lnTo>
                  <a:lnTo>
                    <a:pt x="859" y="2209"/>
                  </a:lnTo>
                  <a:lnTo>
                    <a:pt x="848" y="2208"/>
                  </a:lnTo>
                  <a:lnTo>
                    <a:pt x="837" y="2206"/>
                  </a:lnTo>
                  <a:lnTo>
                    <a:pt x="826" y="2201"/>
                  </a:lnTo>
                  <a:lnTo>
                    <a:pt x="815" y="2197"/>
                  </a:lnTo>
                  <a:lnTo>
                    <a:pt x="803" y="2192"/>
                  </a:lnTo>
                  <a:lnTo>
                    <a:pt x="74" y="1816"/>
                  </a:lnTo>
                  <a:lnTo>
                    <a:pt x="64" y="1810"/>
                  </a:lnTo>
                  <a:lnTo>
                    <a:pt x="54" y="1803"/>
                  </a:lnTo>
                  <a:lnTo>
                    <a:pt x="45" y="1796"/>
                  </a:lnTo>
                  <a:lnTo>
                    <a:pt x="37" y="1789"/>
                  </a:lnTo>
                  <a:lnTo>
                    <a:pt x="28" y="1779"/>
                  </a:lnTo>
                  <a:lnTo>
                    <a:pt x="21" y="1771"/>
                  </a:lnTo>
                  <a:lnTo>
                    <a:pt x="15" y="1761"/>
                  </a:lnTo>
                  <a:lnTo>
                    <a:pt x="10" y="1751"/>
                  </a:lnTo>
                  <a:lnTo>
                    <a:pt x="6" y="1741"/>
                  </a:lnTo>
                  <a:lnTo>
                    <a:pt x="3" y="1729"/>
                  </a:lnTo>
                  <a:lnTo>
                    <a:pt x="1" y="1717"/>
                  </a:lnTo>
                  <a:lnTo>
                    <a:pt x="0" y="1704"/>
                  </a:lnTo>
                  <a:lnTo>
                    <a:pt x="0" y="1691"/>
                  </a:lnTo>
                  <a:lnTo>
                    <a:pt x="1" y="1678"/>
                  </a:lnTo>
                  <a:lnTo>
                    <a:pt x="4" y="1664"/>
                  </a:lnTo>
                  <a:lnTo>
                    <a:pt x="7" y="1648"/>
                  </a:lnTo>
                  <a:lnTo>
                    <a:pt x="190" y="995"/>
                  </a:lnTo>
                  <a:lnTo>
                    <a:pt x="192" y="990"/>
                  </a:lnTo>
                  <a:lnTo>
                    <a:pt x="194" y="985"/>
                  </a:lnTo>
                  <a:lnTo>
                    <a:pt x="197" y="980"/>
                  </a:lnTo>
                  <a:lnTo>
                    <a:pt x="200" y="976"/>
                  </a:lnTo>
                  <a:lnTo>
                    <a:pt x="203" y="972"/>
                  </a:lnTo>
                  <a:lnTo>
                    <a:pt x="207" y="969"/>
                  </a:lnTo>
                  <a:lnTo>
                    <a:pt x="212" y="965"/>
                  </a:lnTo>
                  <a:lnTo>
                    <a:pt x="216" y="963"/>
                  </a:lnTo>
                  <a:lnTo>
                    <a:pt x="221" y="961"/>
                  </a:lnTo>
                  <a:lnTo>
                    <a:pt x="226" y="959"/>
                  </a:lnTo>
                  <a:lnTo>
                    <a:pt x="230" y="958"/>
                  </a:lnTo>
                  <a:lnTo>
                    <a:pt x="235" y="958"/>
                  </a:lnTo>
                  <a:lnTo>
                    <a:pt x="240" y="958"/>
                  </a:lnTo>
                  <a:lnTo>
                    <a:pt x="245" y="959"/>
                  </a:lnTo>
                  <a:lnTo>
                    <a:pt x="250" y="960"/>
                  </a:lnTo>
                  <a:lnTo>
                    <a:pt x="255" y="963"/>
                  </a:lnTo>
                  <a:close/>
                  <a:moveTo>
                    <a:pt x="560" y="2966"/>
                  </a:moveTo>
                  <a:lnTo>
                    <a:pt x="1474" y="2066"/>
                  </a:lnTo>
                  <a:lnTo>
                    <a:pt x="1478" y="2062"/>
                  </a:lnTo>
                  <a:lnTo>
                    <a:pt x="1482" y="2059"/>
                  </a:lnTo>
                  <a:lnTo>
                    <a:pt x="1487" y="2057"/>
                  </a:lnTo>
                  <a:lnTo>
                    <a:pt x="1491" y="2055"/>
                  </a:lnTo>
                  <a:lnTo>
                    <a:pt x="1496" y="2054"/>
                  </a:lnTo>
                  <a:lnTo>
                    <a:pt x="1501" y="2053"/>
                  </a:lnTo>
                  <a:lnTo>
                    <a:pt x="1506" y="2054"/>
                  </a:lnTo>
                  <a:lnTo>
                    <a:pt x="1511" y="2054"/>
                  </a:lnTo>
                  <a:lnTo>
                    <a:pt x="1516" y="2055"/>
                  </a:lnTo>
                  <a:lnTo>
                    <a:pt x="1521" y="2057"/>
                  </a:lnTo>
                  <a:lnTo>
                    <a:pt x="1526" y="2059"/>
                  </a:lnTo>
                  <a:lnTo>
                    <a:pt x="1531" y="2062"/>
                  </a:lnTo>
                  <a:lnTo>
                    <a:pt x="1535" y="2065"/>
                  </a:lnTo>
                  <a:lnTo>
                    <a:pt x="1539" y="2069"/>
                  </a:lnTo>
                  <a:lnTo>
                    <a:pt x="1543" y="2073"/>
                  </a:lnTo>
                  <a:lnTo>
                    <a:pt x="1546" y="2077"/>
                  </a:lnTo>
                  <a:lnTo>
                    <a:pt x="1914" y="2647"/>
                  </a:lnTo>
                  <a:lnTo>
                    <a:pt x="1922" y="2660"/>
                  </a:lnTo>
                  <a:lnTo>
                    <a:pt x="1928" y="2673"/>
                  </a:lnTo>
                  <a:lnTo>
                    <a:pt x="1933" y="2685"/>
                  </a:lnTo>
                  <a:lnTo>
                    <a:pt x="1937" y="2699"/>
                  </a:lnTo>
                  <a:lnTo>
                    <a:pt x="1940" y="2711"/>
                  </a:lnTo>
                  <a:lnTo>
                    <a:pt x="1941" y="2723"/>
                  </a:lnTo>
                  <a:lnTo>
                    <a:pt x="1942" y="2734"/>
                  </a:lnTo>
                  <a:lnTo>
                    <a:pt x="1941" y="2745"/>
                  </a:lnTo>
                  <a:lnTo>
                    <a:pt x="1939" y="2758"/>
                  </a:lnTo>
                  <a:lnTo>
                    <a:pt x="1936" y="2768"/>
                  </a:lnTo>
                  <a:lnTo>
                    <a:pt x="1933" y="2779"/>
                  </a:lnTo>
                  <a:lnTo>
                    <a:pt x="1928" y="2789"/>
                  </a:lnTo>
                  <a:lnTo>
                    <a:pt x="1922" y="2799"/>
                  </a:lnTo>
                  <a:lnTo>
                    <a:pt x="1915" y="2808"/>
                  </a:lnTo>
                  <a:lnTo>
                    <a:pt x="1908" y="2818"/>
                  </a:lnTo>
                  <a:lnTo>
                    <a:pt x="1900" y="2827"/>
                  </a:lnTo>
                  <a:lnTo>
                    <a:pt x="1315" y="3402"/>
                  </a:lnTo>
                  <a:lnTo>
                    <a:pt x="1307" y="3410"/>
                  </a:lnTo>
                  <a:lnTo>
                    <a:pt x="1297" y="3419"/>
                  </a:lnTo>
                  <a:lnTo>
                    <a:pt x="1288" y="3425"/>
                  </a:lnTo>
                  <a:lnTo>
                    <a:pt x="1277" y="3431"/>
                  </a:lnTo>
                  <a:lnTo>
                    <a:pt x="1267" y="3435"/>
                  </a:lnTo>
                  <a:lnTo>
                    <a:pt x="1256" y="3439"/>
                  </a:lnTo>
                  <a:lnTo>
                    <a:pt x="1245" y="3442"/>
                  </a:lnTo>
                  <a:lnTo>
                    <a:pt x="1234" y="3443"/>
                  </a:lnTo>
                  <a:lnTo>
                    <a:pt x="1222" y="3444"/>
                  </a:lnTo>
                  <a:lnTo>
                    <a:pt x="1211" y="3443"/>
                  </a:lnTo>
                  <a:lnTo>
                    <a:pt x="1199" y="3442"/>
                  </a:lnTo>
                  <a:lnTo>
                    <a:pt x="1187" y="3439"/>
                  </a:lnTo>
                  <a:lnTo>
                    <a:pt x="1174" y="3435"/>
                  </a:lnTo>
                  <a:lnTo>
                    <a:pt x="1161" y="3430"/>
                  </a:lnTo>
                  <a:lnTo>
                    <a:pt x="1148" y="3423"/>
                  </a:lnTo>
                  <a:lnTo>
                    <a:pt x="1136" y="3415"/>
                  </a:lnTo>
                  <a:lnTo>
                    <a:pt x="572" y="3038"/>
                  </a:lnTo>
                  <a:lnTo>
                    <a:pt x="567" y="3035"/>
                  </a:lnTo>
                  <a:lnTo>
                    <a:pt x="563" y="3031"/>
                  </a:lnTo>
                  <a:lnTo>
                    <a:pt x="559" y="3027"/>
                  </a:lnTo>
                  <a:lnTo>
                    <a:pt x="556" y="3023"/>
                  </a:lnTo>
                  <a:lnTo>
                    <a:pt x="553" y="3018"/>
                  </a:lnTo>
                  <a:lnTo>
                    <a:pt x="551" y="3014"/>
                  </a:lnTo>
                  <a:lnTo>
                    <a:pt x="549" y="3009"/>
                  </a:lnTo>
                  <a:lnTo>
                    <a:pt x="548" y="3004"/>
                  </a:lnTo>
                  <a:lnTo>
                    <a:pt x="548" y="2999"/>
                  </a:lnTo>
                  <a:lnTo>
                    <a:pt x="548" y="2994"/>
                  </a:lnTo>
                  <a:lnTo>
                    <a:pt x="548" y="2988"/>
                  </a:lnTo>
                  <a:lnTo>
                    <a:pt x="549" y="2983"/>
                  </a:lnTo>
                  <a:lnTo>
                    <a:pt x="551" y="2978"/>
                  </a:lnTo>
                  <a:lnTo>
                    <a:pt x="553" y="2974"/>
                  </a:lnTo>
                  <a:lnTo>
                    <a:pt x="556" y="2970"/>
                  </a:lnTo>
                  <a:lnTo>
                    <a:pt x="560" y="2966"/>
                  </a:lnTo>
                  <a:close/>
                  <a:moveTo>
                    <a:pt x="2570" y="3292"/>
                  </a:moveTo>
                  <a:lnTo>
                    <a:pt x="1990" y="2150"/>
                  </a:lnTo>
                  <a:lnTo>
                    <a:pt x="1987" y="2144"/>
                  </a:lnTo>
                  <a:lnTo>
                    <a:pt x="1986" y="2139"/>
                  </a:lnTo>
                  <a:lnTo>
                    <a:pt x="1985" y="2134"/>
                  </a:lnTo>
                  <a:lnTo>
                    <a:pt x="1985" y="2128"/>
                  </a:lnTo>
                  <a:lnTo>
                    <a:pt x="1986" y="2124"/>
                  </a:lnTo>
                  <a:lnTo>
                    <a:pt x="1987" y="2119"/>
                  </a:lnTo>
                  <a:lnTo>
                    <a:pt x="1988" y="2114"/>
                  </a:lnTo>
                  <a:lnTo>
                    <a:pt x="1990" y="2110"/>
                  </a:lnTo>
                  <a:lnTo>
                    <a:pt x="1993" y="2105"/>
                  </a:lnTo>
                  <a:lnTo>
                    <a:pt x="1996" y="2101"/>
                  </a:lnTo>
                  <a:lnTo>
                    <a:pt x="2000" y="2098"/>
                  </a:lnTo>
                  <a:lnTo>
                    <a:pt x="2003" y="2094"/>
                  </a:lnTo>
                  <a:lnTo>
                    <a:pt x="2009" y="2091"/>
                  </a:lnTo>
                  <a:lnTo>
                    <a:pt x="2013" y="2088"/>
                  </a:lnTo>
                  <a:lnTo>
                    <a:pt x="2018" y="2086"/>
                  </a:lnTo>
                  <a:lnTo>
                    <a:pt x="2024" y="2084"/>
                  </a:lnTo>
                  <a:lnTo>
                    <a:pt x="2678" y="1906"/>
                  </a:lnTo>
                  <a:lnTo>
                    <a:pt x="2693" y="1902"/>
                  </a:lnTo>
                  <a:lnTo>
                    <a:pt x="2707" y="1899"/>
                  </a:lnTo>
                  <a:lnTo>
                    <a:pt x="2720" y="1898"/>
                  </a:lnTo>
                  <a:lnTo>
                    <a:pt x="2734" y="1898"/>
                  </a:lnTo>
                  <a:lnTo>
                    <a:pt x="2746" y="1900"/>
                  </a:lnTo>
                  <a:lnTo>
                    <a:pt x="2758" y="1902"/>
                  </a:lnTo>
                  <a:lnTo>
                    <a:pt x="2769" y="1906"/>
                  </a:lnTo>
                  <a:lnTo>
                    <a:pt x="2780" y="1910"/>
                  </a:lnTo>
                  <a:lnTo>
                    <a:pt x="2791" y="1915"/>
                  </a:lnTo>
                  <a:lnTo>
                    <a:pt x="2800" y="1921"/>
                  </a:lnTo>
                  <a:lnTo>
                    <a:pt x="2809" y="1928"/>
                  </a:lnTo>
                  <a:lnTo>
                    <a:pt x="2817" y="1936"/>
                  </a:lnTo>
                  <a:lnTo>
                    <a:pt x="2825" y="1944"/>
                  </a:lnTo>
                  <a:lnTo>
                    <a:pt x="2832" y="1953"/>
                  </a:lnTo>
                  <a:lnTo>
                    <a:pt x="2838" y="1963"/>
                  </a:lnTo>
                  <a:lnTo>
                    <a:pt x="2845" y="1974"/>
                  </a:lnTo>
                  <a:lnTo>
                    <a:pt x="3216" y="2706"/>
                  </a:lnTo>
                  <a:lnTo>
                    <a:pt x="3221" y="2717"/>
                  </a:lnTo>
                  <a:lnTo>
                    <a:pt x="3225" y="2727"/>
                  </a:lnTo>
                  <a:lnTo>
                    <a:pt x="3229" y="2739"/>
                  </a:lnTo>
                  <a:lnTo>
                    <a:pt x="3231" y="2751"/>
                  </a:lnTo>
                  <a:lnTo>
                    <a:pt x="3232" y="2762"/>
                  </a:lnTo>
                  <a:lnTo>
                    <a:pt x="3233" y="2773"/>
                  </a:lnTo>
                  <a:lnTo>
                    <a:pt x="3232" y="2784"/>
                  </a:lnTo>
                  <a:lnTo>
                    <a:pt x="3230" y="2795"/>
                  </a:lnTo>
                  <a:lnTo>
                    <a:pt x="3227" y="2806"/>
                  </a:lnTo>
                  <a:lnTo>
                    <a:pt x="3223" y="2818"/>
                  </a:lnTo>
                  <a:lnTo>
                    <a:pt x="3218" y="2829"/>
                  </a:lnTo>
                  <a:lnTo>
                    <a:pt x="3212" y="2839"/>
                  </a:lnTo>
                  <a:lnTo>
                    <a:pt x="3204" y="2850"/>
                  </a:lnTo>
                  <a:lnTo>
                    <a:pt x="3194" y="2860"/>
                  </a:lnTo>
                  <a:lnTo>
                    <a:pt x="3184" y="2871"/>
                  </a:lnTo>
                  <a:lnTo>
                    <a:pt x="3173" y="2881"/>
                  </a:lnTo>
                  <a:lnTo>
                    <a:pt x="2643" y="3304"/>
                  </a:lnTo>
                  <a:lnTo>
                    <a:pt x="2638" y="3307"/>
                  </a:lnTo>
                  <a:lnTo>
                    <a:pt x="2633" y="3310"/>
                  </a:lnTo>
                  <a:lnTo>
                    <a:pt x="2629" y="3312"/>
                  </a:lnTo>
                  <a:lnTo>
                    <a:pt x="2624" y="3314"/>
                  </a:lnTo>
                  <a:lnTo>
                    <a:pt x="2619" y="3315"/>
                  </a:lnTo>
                  <a:lnTo>
                    <a:pt x="2613" y="3316"/>
                  </a:lnTo>
                  <a:lnTo>
                    <a:pt x="2608" y="3316"/>
                  </a:lnTo>
                  <a:lnTo>
                    <a:pt x="2603" y="3315"/>
                  </a:lnTo>
                  <a:lnTo>
                    <a:pt x="2598" y="3314"/>
                  </a:lnTo>
                  <a:lnTo>
                    <a:pt x="2593" y="3313"/>
                  </a:lnTo>
                  <a:lnTo>
                    <a:pt x="2588" y="3311"/>
                  </a:lnTo>
                  <a:lnTo>
                    <a:pt x="2584" y="3308"/>
                  </a:lnTo>
                  <a:lnTo>
                    <a:pt x="2580" y="3305"/>
                  </a:lnTo>
                  <a:lnTo>
                    <a:pt x="2576" y="3302"/>
                  </a:lnTo>
                  <a:lnTo>
                    <a:pt x="2573" y="3297"/>
                  </a:lnTo>
                  <a:lnTo>
                    <a:pt x="2570" y="3292"/>
                  </a:lnTo>
                  <a:close/>
                  <a:moveTo>
                    <a:pt x="3494" y="1498"/>
                  </a:moveTo>
                  <a:lnTo>
                    <a:pt x="2227" y="1688"/>
                  </a:lnTo>
                  <a:lnTo>
                    <a:pt x="2222" y="1688"/>
                  </a:lnTo>
                  <a:lnTo>
                    <a:pt x="2216" y="1688"/>
                  </a:lnTo>
                  <a:lnTo>
                    <a:pt x="2211" y="1687"/>
                  </a:lnTo>
                  <a:lnTo>
                    <a:pt x="2206" y="1686"/>
                  </a:lnTo>
                  <a:lnTo>
                    <a:pt x="2202" y="1684"/>
                  </a:lnTo>
                  <a:lnTo>
                    <a:pt x="2198" y="1681"/>
                  </a:lnTo>
                  <a:lnTo>
                    <a:pt x="2194" y="1678"/>
                  </a:lnTo>
                  <a:lnTo>
                    <a:pt x="2190" y="1675"/>
                  </a:lnTo>
                  <a:lnTo>
                    <a:pt x="2187" y="1671"/>
                  </a:lnTo>
                  <a:lnTo>
                    <a:pt x="2183" y="1667"/>
                  </a:lnTo>
                  <a:lnTo>
                    <a:pt x="2181" y="1661"/>
                  </a:lnTo>
                  <a:lnTo>
                    <a:pt x="2179" y="1657"/>
                  </a:lnTo>
                  <a:lnTo>
                    <a:pt x="2177" y="1652"/>
                  </a:lnTo>
                  <a:lnTo>
                    <a:pt x="2176" y="1646"/>
                  </a:lnTo>
                  <a:lnTo>
                    <a:pt x="2176" y="1641"/>
                  </a:lnTo>
                  <a:lnTo>
                    <a:pt x="2176" y="1635"/>
                  </a:lnTo>
                  <a:lnTo>
                    <a:pt x="2213" y="959"/>
                  </a:lnTo>
                  <a:lnTo>
                    <a:pt x="2214" y="944"/>
                  </a:lnTo>
                  <a:lnTo>
                    <a:pt x="2217" y="929"/>
                  </a:lnTo>
                  <a:lnTo>
                    <a:pt x="2220" y="915"/>
                  </a:lnTo>
                  <a:lnTo>
                    <a:pt x="2224" y="903"/>
                  </a:lnTo>
                  <a:lnTo>
                    <a:pt x="2229" y="892"/>
                  </a:lnTo>
                  <a:lnTo>
                    <a:pt x="2235" y="881"/>
                  </a:lnTo>
                  <a:lnTo>
                    <a:pt x="2241" y="871"/>
                  </a:lnTo>
                  <a:lnTo>
                    <a:pt x="2250" y="862"/>
                  </a:lnTo>
                  <a:lnTo>
                    <a:pt x="2257" y="854"/>
                  </a:lnTo>
                  <a:lnTo>
                    <a:pt x="2266" y="847"/>
                  </a:lnTo>
                  <a:lnTo>
                    <a:pt x="2275" y="841"/>
                  </a:lnTo>
                  <a:lnTo>
                    <a:pt x="2285" y="836"/>
                  </a:lnTo>
                  <a:lnTo>
                    <a:pt x="2296" y="831"/>
                  </a:lnTo>
                  <a:lnTo>
                    <a:pt x="2307" y="827"/>
                  </a:lnTo>
                  <a:lnTo>
                    <a:pt x="2319" y="824"/>
                  </a:lnTo>
                  <a:lnTo>
                    <a:pt x="2331" y="822"/>
                  </a:lnTo>
                  <a:lnTo>
                    <a:pt x="3142" y="700"/>
                  </a:lnTo>
                  <a:lnTo>
                    <a:pt x="3154" y="699"/>
                  </a:lnTo>
                  <a:lnTo>
                    <a:pt x="3166" y="699"/>
                  </a:lnTo>
                  <a:lnTo>
                    <a:pt x="3177" y="699"/>
                  </a:lnTo>
                  <a:lnTo>
                    <a:pt x="3189" y="700"/>
                  </a:lnTo>
                  <a:lnTo>
                    <a:pt x="3200" y="702"/>
                  </a:lnTo>
                  <a:lnTo>
                    <a:pt x="3211" y="706"/>
                  </a:lnTo>
                  <a:lnTo>
                    <a:pt x="3222" y="710"/>
                  </a:lnTo>
                  <a:lnTo>
                    <a:pt x="3232" y="715"/>
                  </a:lnTo>
                  <a:lnTo>
                    <a:pt x="3241" y="721"/>
                  </a:lnTo>
                  <a:lnTo>
                    <a:pt x="3250" y="728"/>
                  </a:lnTo>
                  <a:lnTo>
                    <a:pt x="3259" y="737"/>
                  </a:lnTo>
                  <a:lnTo>
                    <a:pt x="3268" y="746"/>
                  </a:lnTo>
                  <a:lnTo>
                    <a:pt x="3275" y="758"/>
                  </a:lnTo>
                  <a:lnTo>
                    <a:pt x="3282" y="769"/>
                  </a:lnTo>
                  <a:lnTo>
                    <a:pt x="3289" y="782"/>
                  </a:lnTo>
                  <a:lnTo>
                    <a:pt x="3294" y="796"/>
                  </a:lnTo>
                  <a:lnTo>
                    <a:pt x="3529" y="1433"/>
                  </a:lnTo>
                  <a:lnTo>
                    <a:pt x="3530" y="1438"/>
                  </a:lnTo>
                  <a:lnTo>
                    <a:pt x="3531" y="1443"/>
                  </a:lnTo>
                  <a:lnTo>
                    <a:pt x="3532" y="1449"/>
                  </a:lnTo>
                  <a:lnTo>
                    <a:pt x="3532" y="1454"/>
                  </a:lnTo>
                  <a:lnTo>
                    <a:pt x="3531" y="1459"/>
                  </a:lnTo>
                  <a:lnTo>
                    <a:pt x="3530" y="1464"/>
                  </a:lnTo>
                  <a:lnTo>
                    <a:pt x="3529" y="1469"/>
                  </a:lnTo>
                  <a:lnTo>
                    <a:pt x="3527" y="1474"/>
                  </a:lnTo>
                  <a:lnTo>
                    <a:pt x="3525" y="1478"/>
                  </a:lnTo>
                  <a:lnTo>
                    <a:pt x="3522" y="1483"/>
                  </a:lnTo>
                  <a:lnTo>
                    <a:pt x="3518" y="1487"/>
                  </a:lnTo>
                  <a:lnTo>
                    <a:pt x="3515" y="1490"/>
                  </a:lnTo>
                  <a:lnTo>
                    <a:pt x="3510" y="1493"/>
                  </a:lnTo>
                  <a:lnTo>
                    <a:pt x="3506" y="1495"/>
                  </a:lnTo>
                  <a:lnTo>
                    <a:pt x="3501" y="1497"/>
                  </a:lnTo>
                  <a:lnTo>
                    <a:pt x="3494" y="1498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62705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Вертикальный заголовок и текст"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3"/>
          <p:cNvSpPr>
            <a:spLocks noChangeAspect="1" noChangeArrowheads="1" noTextEdit="1"/>
          </p:cNvSpPr>
          <p:nvPr userDrawn="1"/>
        </p:nvSpPr>
        <p:spPr bwMode="auto">
          <a:xfrm>
            <a:off x="1910701" y="1639888"/>
            <a:ext cx="7995311" cy="521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Freeform 6"/>
          <p:cNvSpPr>
            <a:spLocks/>
          </p:cNvSpPr>
          <p:nvPr userDrawn="1"/>
        </p:nvSpPr>
        <p:spPr bwMode="auto">
          <a:xfrm>
            <a:off x="7334927" y="3109913"/>
            <a:ext cx="797983" cy="1746250"/>
          </a:xfrm>
          <a:custGeom>
            <a:avLst/>
            <a:gdLst>
              <a:gd name="T0" fmla="*/ 1858 w 1858"/>
              <a:gd name="T1" fmla="*/ 4402 h 4402"/>
              <a:gd name="T2" fmla="*/ 382 w 1858"/>
              <a:gd name="T3" fmla="*/ 3832 h 4402"/>
              <a:gd name="T4" fmla="*/ 353 w 1858"/>
              <a:gd name="T5" fmla="*/ 3820 h 4402"/>
              <a:gd name="T6" fmla="*/ 327 w 1858"/>
              <a:gd name="T7" fmla="*/ 3807 h 4402"/>
              <a:gd name="T8" fmla="*/ 300 w 1858"/>
              <a:gd name="T9" fmla="*/ 3794 h 4402"/>
              <a:gd name="T10" fmla="*/ 276 w 1858"/>
              <a:gd name="T11" fmla="*/ 3782 h 4402"/>
              <a:gd name="T12" fmla="*/ 251 w 1858"/>
              <a:gd name="T13" fmla="*/ 3768 h 4402"/>
              <a:gd name="T14" fmla="*/ 229 w 1858"/>
              <a:gd name="T15" fmla="*/ 3753 h 4402"/>
              <a:gd name="T16" fmla="*/ 207 w 1858"/>
              <a:gd name="T17" fmla="*/ 3737 h 4402"/>
              <a:gd name="T18" fmla="*/ 187 w 1858"/>
              <a:gd name="T19" fmla="*/ 3721 h 4402"/>
              <a:gd name="T20" fmla="*/ 167 w 1858"/>
              <a:gd name="T21" fmla="*/ 3705 h 4402"/>
              <a:gd name="T22" fmla="*/ 150 w 1858"/>
              <a:gd name="T23" fmla="*/ 3689 h 4402"/>
              <a:gd name="T24" fmla="*/ 133 w 1858"/>
              <a:gd name="T25" fmla="*/ 3671 h 4402"/>
              <a:gd name="T26" fmla="*/ 116 w 1858"/>
              <a:gd name="T27" fmla="*/ 3653 h 4402"/>
              <a:gd name="T28" fmla="*/ 101 w 1858"/>
              <a:gd name="T29" fmla="*/ 3635 h 4402"/>
              <a:gd name="T30" fmla="*/ 87 w 1858"/>
              <a:gd name="T31" fmla="*/ 3615 h 4402"/>
              <a:gd name="T32" fmla="*/ 74 w 1858"/>
              <a:gd name="T33" fmla="*/ 3597 h 4402"/>
              <a:gd name="T34" fmla="*/ 63 w 1858"/>
              <a:gd name="T35" fmla="*/ 3577 h 4402"/>
              <a:gd name="T36" fmla="*/ 52 w 1858"/>
              <a:gd name="T37" fmla="*/ 3557 h 4402"/>
              <a:gd name="T38" fmla="*/ 43 w 1858"/>
              <a:gd name="T39" fmla="*/ 3536 h 4402"/>
              <a:gd name="T40" fmla="*/ 34 w 1858"/>
              <a:gd name="T41" fmla="*/ 3515 h 4402"/>
              <a:gd name="T42" fmla="*/ 27 w 1858"/>
              <a:gd name="T43" fmla="*/ 3495 h 4402"/>
              <a:gd name="T44" fmla="*/ 20 w 1858"/>
              <a:gd name="T45" fmla="*/ 3472 h 4402"/>
              <a:gd name="T46" fmla="*/ 14 w 1858"/>
              <a:gd name="T47" fmla="*/ 3452 h 4402"/>
              <a:gd name="T48" fmla="*/ 9 w 1858"/>
              <a:gd name="T49" fmla="*/ 3429 h 4402"/>
              <a:gd name="T50" fmla="*/ 6 w 1858"/>
              <a:gd name="T51" fmla="*/ 3406 h 4402"/>
              <a:gd name="T52" fmla="*/ 4 w 1858"/>
              <a:gd name="T53" fmla="*/ 3384 h 4402"/>
              <a:gd name="T54" fmla="*/ 1 w 1858"/>
              <a:gd name="T55" fmla="*/ 3361 h 4402"/>
              <a:gd name="T56" fmla="*/ 0 w 1858"/>
              <a:gd name="T57" fmla="*/ 3338 h 4402"/>
              <a:gd name="T58" fmla="*/ 0 w 1858"/>
              <a:gd name="T59" fmla="*/ 3314 h 4402"/>
              <a:gd name="T60" fmla="*/ 1 w 1858"/>
              <a:gd name="T61" fmla="*/ 3291 h 4402"/>
              <a:gd name="T62" fmla="*/ 4 w 1858"/>
              <a:gd name="T63" fmla="*/ 3267 h 4402"/>
              <a:gd name="T64" fmla="*/ 6 w 1858"/>
              <a:gd name="T65" fmla="*/ 3243 h 4402"/>
              <a:gd name="T66" fmla="*/ 9 w 1858"/>
              <a:gd name="T67" fmla="*/ 3219 h 4402"/>
              <a:gd name="T68" fmla="*/ 546 w 1858"/>
              <a:gd name="T69" fmla="*/ 0 h 4402"/>
              <a:gd name="T70" fmla="*/ 518 w 1858"/>
              <a:gd name="T71" fmla="*/ 3019 h 4402"/>
              <a:gd name="T72" fmla="*/ 520 w 1858"/>
              <a:gd name="T73" fmla="*/ 3047 h 4402"/>
              <a:gd name="T74" fmla="*/ 521 w 1858"/>
              <a:gd name="T75" fmla="*/ 3076 h 4402"/>
              <a:gd name="T76" fmla="*/ 524 w 1858"/>
              <a:gd name="T77" fmla="*/ 3104 h 4402"/>
              <a:gd name="T78" fmla="*/ 529 w 1858"/>
              <a:gd name="T79" fmla="*/ 3132 h 4402"/>
              <a:gd name="T80" fmla="*/ 535 w 1858"/>
              <a:gd name="T81" fmla="*/ 3161 h 4402"/>
              <a:gd name="T82" fmla="*/ 542 w 1858"/>
              <a:gd name="T83" fmla="*/ 3189 h 4402"/>
              <a:gd name="T84" fmla="*/ 550 w 1858"/>
              <a:gd name="T85" fmla="*/ 3217 h 4402"/>
              <a:gd name="T86" fmla="*/ 560 w 1858"/>
              <a:gd name="T87" fmla="*/ 3245 h 4402"/>
              <a:gd name="T88" fmla="*/ 571 w 1858"/>
              <a:gd name="T89" fmla="*/ 3270 h 4402"/>
              <a:gd name="T90" fmla="*/ 584 w 1858"/>
              <a:gd name="T91" fmla="*/ 3297 h 4402"/>
              <a:gd name="T92" fmla="*/ 597 w 1858"/>
              <a:gd name="T93" fmla="*/ 3321 h 4402"/>
              <a:gd name="T94" fmla="*/ 613 w 1858"/>
              <a:gd name="T95" fmla="*/ 3346 h 4402"/>
              <a:gd name="T96" fmla="*/ 629 w 1858"/>
              <a:gd name="T97" fmla="*/ 3369 h 4402"/>
              <a:gd name="T98" fmla="*/ 647 w 1858"/>
              <a:gd name="T99" fmla="*/ 3390 h 4402"/>
              <a:gd name="T100" fmla="*/ 666 w 1858"/>
              <a:gd name="T101" fmla="*/ 3410 h 4402"/>
              <a:gd name="T102" fmla="*/ 687 w 1858"/>
              <a:gd name="T103" fmla="*/ 3428 h 4402"/>
              <a:gd name="T104" fmla="*/ 1858 w 1858"/>
              <a:gd name="T105" fmla="*/ 4402 h 44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858" h="4402">
                <a:moveTo>
                  <a:pt x="1858" y="4402"/>
                </a:moveTo>
                <a:lnTo>
                  <a:pt x="382" y="3832"/>
                </a:lnTo>
                <a:lnTo>
                  <a:pt x="353" y="3820"/>
                </a:lnTo>
                <a:lnTo>
                  <a:pt x="327" y="3807"/>
                </a:lnTo>
                <a:lnTo>
                  <a:pt x="300" y="3794"/>
                </a:lnTo>
                <a:lnTo>
                  <a:pt x="276" y="3782"/>
                </a:lnTo>
                <a:lnTo>
                  <a:pt x="251" y="3768"/>
                </a:lnTo>
                <a:lnTo>
                  <a:pt x="229" y="3753"/>
                </a:lnTo>
                <a:lnTo>
                  <a:pt x="207" y="3737"/>
                </a:lnTo>
                <a:lnTo>
                  <a:pt x="187" y="3721"/>
                </a:lnTo>
                <a:lnTo>
                  <a:pt x="167" y="3705"/>
                </a:lnTo>
                <a:lnTo>
                  <a:pt x="150" y="3689"/>
                </a:lnTo>
                <a:lnTo>
                  <a:pt x="133" y="3671"/>
                </a:lnTo>
                <a:lnTo>
                  <a:pt x="116" y="3653"/>
                </a:lnTo>
                <a:lnTo>
                  <a:pt x="101" y="3635"/>
                </a:lnTo>
                <a:lnTo>
                  <a:pt x="87" y="3615"/>
                </a:lnTo>
                <a:lnTo>
                  <a:pt x="74" y="3597"/>
                </a:lnTo>
                <a:lnTo>
                  <a:pt x="63" y="3577"/>
                </a:lnTo>
                <a:lnTo>
                  <a:pt x="52" y="3557"/>
                </a:lnTo>
                <a:lnTo>
                  <a:pt x="43" y="3536"/>
                </a:lnTo>
                <a:lnTo>
                  <a:pt x="34" y="3515"/>
                </a:lnTo>
                <a:lnTo>
                  <a:pt x="27" y="3495"/>
                </a:lnTo>
                <a:lnTo>
                  <a:pt x="20" y="3472"/>
                </a:lnTo>
                <a:lnTo>
                  <a:pt x="14" y="3452"/>
                </a:lnTo>
                <a:lnTo>
                  <a:pt x="9" y="3429"/>
                </a:lnTo>
                <a:lnTo>
                  <a:pt x="6" y="3406"/>
                </a:lnTo>
                <a:lnTo>
                  <a:pt x="4" y="3384"/>
                </a:lnTo>
                <a:lnTo>
                  <a:pt x="1" y="3361"/>
                </a:lnTo>
                <a:lnTo>
                  <a:pt x="0" y="3338"/>
                </a:lnTo>
                <a:lnTo>
                  <a:pt x="0" y="3314"/>
                </a:lnTo>
                <a:lnTo>
                  <a:pt x="1" y="3291"/>
                </a:lnTo>
                <a:lnTo>
                  <a:pt x="4" y="3267"/>
                </a:lnTo>
                <a:lnTo>
                  <a:pt x="6" y="3243"/>
                </a:lnTo>
                <a:lnTo>
                  <a:pt x="9" y="3219"/>
                </a:lnTo>
                <a:lnTo>
                  <a:pt x="546" y="0"/>
                </a:lnTo>
                <a:lnTo>
                  <a:pt x="518" y="3019"/>
                </a:lnTo>
                <a:lnTo>
                  <a:pt x="520" y="3047"/>
                </a:lnTo>
                <a:lnTo>
                  <a:pt x="521" y="3076"/>
                </a:lnTo>
                <a:lnTo>
                  <a:pt x="524" y="3104"/>
                </a:lnTo>
                <a:lnTo>
                  <a:pt x="529" y="3132"/>
                </a:lnTo>
                <a:lnTo>
                  <a:pt x="535" y="3161"/>
                </a:lnTo>
                <a:lnTo>
                  <a:pt x="542" y="3189"/>
                </a:lnTo>
                <a:lnTo>
                  <a:pt x="550" y="3217"/>
                </a:lnTo>
                <a:lnTo>
                  <a:pt x="560" y="3245"/>
                </a:lnTo>
                <a:lnTo>
                  <a:pt x="571" y="3270"/>
                </a:lnTo>
                <a:lnTo>
                  <a:pt x="584" y="3297"/>
                </a:lnTo>
                <a:lnTo>
                  <a:pt x="597" y="3321"/>
                </a:lnTo>
                <a:lnTo>
                  <a:pt x="613" y="3346"/>
                </a:lnTo>
                <a:lnTo>
                  <a:pt x="629" y="3369"/>
                </a:lnTo>
                <a:lnTo>
                  <a:pt x="647" y="3390"/>
                </a:lnTo>
                <a:lnTo>
                  <a:pt x="666" y="3410"/>
                </a:lnTo>
                <a:lnTo>
                  <a:pt x="687" y="3428"/>
                </a:lnTo>
                <a:lnTo>
                  <a:pt x="1858" y="4402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Freeform 8"/>
          <p:cNvSpPr>
            <a:spLocks/>
          </p:cNvSpPr>
          <p:nvPr userDrawn="1"/>
        </p:nvSpPr>
        <p:spPr bwMode="auto">
          <a:xfrm>
            <a:off x="9257735" y="4125913"/>
            <a:ext cx="648361" cy="900112"/>
          </a:xfrm>
          <a:custGeom>
            <a:avLst/>
            <a:gdLst>
              <a:gd name="T0" fmla="*/ 0 w 1507"/>
              <a:gd name="T1" fmla="*/ 2267 h 2267"/>
              <a:gd name="T2" fmla="*/ 87 w 1507"/>
              <a:gd name="T3" fmla="*/ 687 h 2267"/>
              <a:gd name="T4" fmla="*/ 88 w 1507"/>
              <a:gd name="T5" fmla="*/ 656 h 2267"/>
              <a:gd name="T6" fmla="*/ 91 w 1507"/>
              <a:gd name="T7" fmla="*/ 626 h 2267"/>
              <a:gd name="T8" fmla="*/ 96 w 1507"/>
              <a:gd name="T9" fmla="*/ 598 h 2267"/>
              <a:gd name="T10" fmla="*/ 101 w 1507"/>
              <a:gd name="T11" fmla="*/ 570 h 2267"/>
              <a:gd name="T12" fmla="*/ 106 w 1507"/>
              <a:gd name="T13" fmla="*/ 542 h 2267"/>
              <a:gd name="T14" fmla="*/ 113 w 1507"/>
              <a:gd name="T15" fmla="*/ 516 h 2267"/>
              <a:gd name="T16" fmla="*/ 122 w 1507"/>
              <a:gd name="T17" fmla="*/ 491 h 2267"/>
              <a:gd name="T18" fmla="*/ 131 w 1507"/>
              <a:gd name="T19" fmla="*/ 466 h 2267"/>
              <a:gd name="T20" fmla="*/ 140 w 1507"/>
              <a:gd name="T21" fmla="*/ 443 h 2267"/>
              <a:gd name="T22" fmla="*/ 151 w 1507"/>
              <a:gd name="T23" fmla="*/ 421 h 2267"/>
              <a:gd name="T24" fmla="*/ 162 w 1507"/>
              <a:gd name="T25" fmla="*/ 399 h 2267"/>
              <a:gd name="T26" fmla="*/ 174 w 1507"/>
              <a:gd name="T27" fmla="*/ 378 h 2267"/>
              <a:gd name="T28" fmla="*/ 187 w 1507"/>
              <a:gd name="T29" fmla="*/ 358 h 2267"/>
              <a:gd name="T30" fmla="*/ 201 w 1507"/>
              <a:gd name="T31" fmla="*/ 340 h 2267"/>
              <a:gd name="T32" fmla="*/ 215 w 1507"/>
              <a:gd name="T33" fmla="*/ 322 h 2267"/>
              <a:gd name="T34" fmla="*/ 230 w 1507"/>
              <a:gd name="T35" fmla="*/ 305 h 2267"/>
              <a:gd name="T36" fmla="*/ 246 w 1507"/>
              <a:gd name="T37" fmla="*/ 289 h 2267"/>
              <a:gd name="T38" fmla="*/ 262 w 1507"/>
              <a:gd name="T39" fmla="*/ 272 h 2267"/>
              <a:gd name="T40" fmla="*/ 279 w 1507"/>
              <a:gd name="T41" fmla="*/ 258 h 2267"/>
              <a:gd name="T42" fmla="*/ 297 w 1507"/>
              <a:gd name="T43" fmla="*/ 244 h 2267"/>
              <a:gd name="T44" fmla="*/ 316 w 1507"/>
              <a:gd name="T45" fmla="*/ 232 h 2267"/>
              <a:gd name="T46" fmla="*/ 334 w 1507"/>
              <a:gd name="T47" fmla="*/ 219 h 2267"/>
              <a:gd name="T48" fmla="*/ 354 w 1507"/>
              <a:gd name="T49" fmla="*/ 208 h 2267"/>
              <a:gd name="T50" fmla="*/ 374 w 1507"/>
              <a:gd name="T51" fmla="*/ 198 h 2267"/>
              <a:gd name="T52" fmla="*/ 395 w 1507"/>
              <a:gd name="T53" fmla="*/ 188 h 2267"/>
              <a:gd name="T54" fmla="*/ 416 w 1507"/>
              <a:gd name="T55" fmla="*/ 179 h 2267"/>
              <a:gd name="T56" fmla="*/ 438 w 1507"/>
              <a:gd name="T57" fmla="*/ 171 h 2267"/>
              <a:gd name="T58" fmla="*/ 460 w 1507"/>
              <a:gd name="T59" fmla="*/ 164 h 2267"/>
              <a:gd name="T60" fmla="*/ 483 w 1507"/>
              <a:gd name="T61" fmla="*/ 157 h 2267"/>
              <a:gd name="T62" fmla="*/ 506 w 1507"/>
              <a:gd name="T63" fmla="*/ 152 h 2267"/>
              <a:gd name="T64" fmla="*/ 530 w 1507"/>
              <a:gd name="T65" fmla="*/ 147 h 2267"/>
              <a:gd name="T66" fmla="*/ 554 w 1507"/>
              <a:gd name="T67" fmla="*/ 143 h 2267"/>
              <a:gd name="T68" fmla="*/ 1507 w 1507"/>
              <a:gd name="T69" fmla="*/ 0 h 2267"/>
              <a:gd name="T70" fmla="*/ 1507 w 1507"/>
              <a:gd name="T71" fmla="*/ 375 h 2267"/>
              <a:gd name="T72" fmla="*/ 900 w 1507"/>
              <a:gd name="T73" fmla="*/ 565 h 2267"/>
              <a:gd name="T74" fmla="*/ 875 w 1507"/>
              <a:gd name="T75" fmla="*/ 575 h 2267"/>
              <a:gd name="T76" fmla="*/ 848 w 1507"/>
              <a:gd name="T77" fmla="*/ 585 h 2267"/>
              <a:gd name="T78" fmla="*/ 822 w 1507"/>
              <a:gd name="T79" fmla="*/ 597 h 2267"/>
              <a:gd name="T80" fmla="*/ 796 w 1507"/>
              <a:gd name="T81" fmla="*/ 609 h 2267"/>
              <a:gd name="T82" fmla="*/ 771 w 1507"/>
              <a:gd name="T83" fmla="*/ 625 h 2267"/>
              <a:gd name="T84" fmla="*/ 747 w 1507"/>
              <a:gd name="T85" fmla="*/ 640 h 2267"/>
              <a:gd name="T86" fmla="*/ 722 w 1507"/>
              <a:gd name="T87" fmla="*/ 656 h 2267"/>
              <a:gd name="T88" fmla="*/ 699 w 1507"/>
              <a:gd name="T89" fmla="*/ 675 h 2267"/>
              <a:gd name="T90" fmla="*/ 678 w 1507"/>
              <a:gd name="T91" fmla="*/ 693 h 2267"/>
              <a:gd name="T92" fmla="*/ 657 w 1507"/>
              <a:gd name="T93" fmla="*/ 713 h 2267"/>
              <a:gd name="T94" fmla="*/ 638 w 1507"/>
              <a:gd name="T95" fmla="*/ 734 h 2267"/>
              <a:gd name="T96" fmla="*/ 619 w 1507"/>
              <a:gd name="T97" fmla="*/ 756 h 2267"/>
              <a:gd name="T98" fmla="*/ 603 w 1507"/>
              <a:gd name="T99" fmla="*/ 779 h 2267"/>
              <a:gd name="T100" fmla="*/ 588 w 1507"/>
              <a:gd name="T101" fmla="*/ 802 h 2267"/>
              <a:gd name="T102" fmla="*/ 575 w 1507"/>
              <a:gd name="T103" fmla="*/ 827 h 2267"/>
              <a:gd name="T104" fmla="*/ 563 w 1507"/>
              <a:gd name="T105" fmla="*/ 852 h 2267"/>
              <a:gd name="T106" fmla="*/ 0 w 1507"/>
              <a:gd name="T107" fmla="*/ 2267 h 22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507" h="2267">
                <a:moveTo>
                  <a:pt x="0" y="2267"/>
                </a:moveTo>
                <a:lnTo>
                  <a:pt x="87" y="687"/>
                </a:lnTo>
                <a:lnTo>
                  <a:pt x="88" y="656"/>
                </a:lnTo>
                <a:lnTo>
                  <a:pt x="91" y="626"/>
                </a:lnTo>
                <a:lnTo>
                  <a:pt x="96" y="598"/>
                </a:lnTo>
                <a:lnTo>
                  <a:pt x="101" y="570"/>
                </a:lnTo>
                <a:lnTo>
                  <a:pt x="106" y="542"/>
                </a:lnTo>
                <a:lnTo>
                  <a:pt x="113" y="516"/>
                </a:lnTo>
                <a:lnTo>
                  <a:pt x="122" y="491"/>
                </a:lnTo>
                <a:lnTo>
                  <a:pt x="131" y="466"/>
                </a:lnTo>
                <a:lnTo>
                  <a:pt x="140" y="443"/>
                </a:lnTo>
                <a:lnTo>
                  <a:pt x="151" y="421"/>
                </a:lnTo>
                <a:lnTo>
                  <a:pt x="162" y="399"/>
                </a:lnTo>
                <a:lnTo>
                  <a:pt x="174" y="378"/>
                </a:lnTo>
                <a:lnTo>
                  <a:pt x="187" y="358"/>
                </a:lnTo>
                <a:lnTo>
                  <a:pt x="201" y="340"/>
                </a:lnTo>
                <a:lnTo>
                  <a:pt x="215" y="322"/>
                </a:lnTo>
                <a:lnTo>
                  <a:pt x="230" y="305"/>
                </a:lnTo>
                <a:lnTo>
                  <a:pt x="246" y="289"/>
                </a:lnTo>
                <a:lnTo>
                  <a:pt x="262" y="272"/>
                </a:lnTo>
                <a:lnTo>
                  <a:pt x="279" y="258"/>
                </a:lnTo>
                <a:lnTo>
                  <a:pt x="297" y="244"/>
                </a:lnTo>
                <a:lnTo>
                  <a:pt x="316" y="232"/>
                </a:lnTo>
                <a:lnTo>
                  <a:pt x="334" y="219"/>
                </a:lnTo>
                <a:lnTo>
                  <a:pt x="354" y="208"/>
                </a:lnTo>
                <a:lnTo>
                  <a:pt x="374" y="198"/>
                </a:lnTo>
                <a:lnTo>
                  <a:pt x="395" y="188"/>
                </a:lnTo>
                <a:lnTo>
                  <a:pt x="416" y="179"/>
                </a:lnTo>
                <a:lnTo>
                  <a:pt x="438" y="171"/>
                </a:lnTo>
                <a:lnTo>
                  <a:pt x="460" y="164"/>
                </a:lnTo>
                <a:lnTo>
                  <a:pt x="483" y="157"/>
                </a:lnTo>
                <a:lnTo>
                  <a:pt x="506" y="152"/>
                </a:lnTo>
                <a:lnTo>
                  <a:pt x="530" y="147"/>
                </a:lnTo>
                <a:lnTo>
                  <a:pt x="554" y="143"/>
                </a:lnTo>
                <a:lnTo>
                  <a:pt x="1507" y="0"/>
                </a:lnTo>
                <a:lnTo>
                  <a:pt x="1507" y="375"/>
                </a:lnTo>
                <a:lnTo>
                  <a:pt x="900" y="565"/>
                </a:lnTo>
                <a:lnTo>
                  <a:pt x="875" y="575"/>
                </a:lnTo>
                <a:lnTo>
                  <a:pt x="848" y="585"/>
                </a:lnTo>
                <a:lnTo>
                  <a:pt x="822" y="597"/>
                </a:lnTo>
                <a:lnTo>
                  <a:pt x="796" y="609"/>
                </a:lnTo>
                <a:lnTo>
                  <a:pt x="771" y="625"/>
                </a:lnTo>
                <a:lnTo>
                  <a:pt x="747" y="640"/>
                </a:lnTo>
                <a:lnTo>
                  <a:pt x="722" y="656"/>
                </a:lnTo>
                <a:lnTo>
                  <a:pt x="699" y="675"/>
                </a:lnTo>
                <a:lnTo>
                  <a:pt x="678" y="693"/>
                </a:lnTo>
                <a:lnTo>
                  <a:pt x="657" y="713"/>
                </a:lnTo>
                <a:lnTo>
                  <a:pt x="638" y="734"/>
                </a:lnTo>
                <a:lnTo>
                  <a:pt x="619" y="756"/>
                </a:lnTo>
                <a:lnTo>
                  <a:pt x="603" y="779"/>
                </a:lnTo>
                <a:lnTo>
                  <a:pt x="588" y="802"/>
                </a:lnTo>
                <a:lnTo>
                  <a:pt x="575" y="827"/>
                </a:lnTo>
                <a:lnTo>
                  <a:pt x="563" y="852"/>
                </a:lnTo>
                <a:lnTo>
                  <a:pt x="0" y="2267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1" name="Freeform 10"/>
          <p:cNvSpPr>
            <a:spLocks/>
          </p:cNvSpPr>
          <p:nvPr userDrawn="1"/>
        </p:nvSpPr>
        <p:spPr bwMode="auto">
          <a:xfrm>
            <a:off x="9433058" y="5940425"/>
            <a:ext cx="472942" cy="144462"/>
          </a:xfrm>
          <a:custGeom>
            <a:avLst/>
            <a:gdLst>
              <a:gd name="T0" fmla="*/ 0 w 1098"/>
              <a:gd name="T1" fmla="*/ 298 h 363"/>
              <a:gd name="T2" fmla="*/ 1098 w 1098"/>
              <a:gd name="T3" fmla="*/ 0 h 363"/>
              <a:gd name="T4" fmla="*/ 1098 w 1098"/>
              <a:gd name="T5" fmla="*/ 363 h 363"/>
              <a:gd name="T6" fmla="*/ 0 w 1098"/>
              <a:gd name="T7" fmla="*/ 298 h 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98" h="363">
                <a:moveTo>
                  <a:pt x="0" y="298"/>
                </a:moveTo>
                <a:lnTo>
                  <a:pt x="1098" y="0"/>
                </a:lnTo>
                <a:lnTo>
                  <a:pt x="1098" y="363"/>
                </a:lnTo>
                <a:lnTo>
                  <a:pt x="0" y="298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3" name="Freeform 12"/>
          <p:cNvSpPr>
            <a:spLocks/>
          </p:cNvSpPr>
          <p:nvPr userDrawn="1"/>
        </p:nvSpPr>
        <p:spPr bwMode="auto">
          <a:xfrm>
            <a:off x="8415037" y="6537504"/>
            <a:ext cx="223573" cy="320675"/>
          </a:xfrm>
          <a:custGeom>
            <a:avLst/>
            <a:gdLst>
              <a:gd name="T0" fmla="*/ 0 w 520"/>
              <a:gd name="T1" fmla="*/ 0 h 807"/>
              <a:gd name="T2" fmla="*/ 520 w 520"/>
              <a:gd name="T3" fmla="*/ 807 h 807"/>
              <a:gd name="T4" fmla="*/ 205 w 520"/>
              <a:gd name="T5" fmla="*/ 807 h 807"/>
              <a:gd name="T6" fmla="*/ 0 w 520"/>
              <a:gd name="T7" fmla="*/ 0 h 8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20" h="807">
                <a:moveTo>
                  <a:pt x="0" y="0"/>
                </a:moveTo>
                <a:lnTo>
                  <a:pt x="520" y="807"/>
                </a:lnTo>
                <a:lnTo>
                  <a:pt x="205" y="807"/>
                </a:lnTo>
                <a:lnTo>
                  <a:pt x="0" y="0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5" name="Freeform 14"/>
          <p:cNvSpPr>
            <a:spLocks/>
          </p:cNvSpPr>
          <p:nvPr userDrawn="1"/>
        </p:nvSpPr>
        <p:spPr bwMode="auto">
          <a:xfrm>
            <a:off x="5637492" y="5753100"/>
            <a:ext cx="1974321" cy="620712"/>
          </a:xfrm>
          <a:custGeom>
            <a:avLst/>
            <a:gdLst>
              <a:gd name="T0" fmla="*/ 4593 w 4593"/>
              <a:gd name="T1" fmla="*/ 102 h 1567"/>
              <a:gd name="T2" fmla="*/ 3597 w 4593"/>
              <a:gd name="T3" fmla="*/ 1332 h 1567"/>
              <a:gd name="T4" fmla="*/ 3577 w 4593"/>
              <a:gd name="T5" fmla="*/ 1355 h 1567"/>
              <a:gd name="T6" fmla="*/ 3558 w 4593"/>
              <a:gd name="T7" fmla="*/ 1379 h 1567"/>
              <a:gd name="T8" fmla="*/ 3538 w 4593"/>
              <a:gd name="T9" fmla="*/ 1399 h 1567"/>
              <a:gd name="T10" fmla="*/ 3517 w 4593"/>
              <a:gd name="T11" fmla="*/ 1418 h 1567"/>
              <a:gd name="T12" fmla="*/ 3496 w 4593"/>
              <a:gd name="T13" fmla="*/ 1437 h 1567"/>
              <a:gd name="T14" fmla="*/ 3475 w 4593"/>
              <a:gd name="T15" fmla="*/ 1454 h 1567"/>
              <a:gd name="T16" fmla="*/ 3454 w 4593"/>
              <a:gd name="T17" fmla="*/ 1470 h 1567"/>
              <a:gd name="T18" fmla="*/ 3433 w 4593"/>
              <a:gd name="T19" fmla="*/ 1484 h 1567"/>
              <a:gd name="T20" fmla="*/ 3411 w 4593"/>
              <a:gd name="T21" fmla="*/ 1498 h 1567"/>
              <a:gd name="T22" fmla="*/ 3390 w 4593"/>
              <a:gd name="T23" fmla="*/ 1510 h 1567"/>
              <a:gd name="T24" fmla="*/ 3368 w 4593"/>
              <a:gd name="T25" fmla="*/ 1520 h 1567"/>
              <a:gd name="T26" fmla="*/ 3346 w 4593"/>
              <a:gd name="T27" fmla="*/ 1531 h 1567"/>
              <a:gd name="T28" fmla="*/ 3324 w 4593"/>
              <a:gd name="T29" fmla="*/ 1539 h 1567"/>
              <a:gd name="T30" fmla="*/ 3302 w 4593"/>
              <a:gd name="T31" fmla="*/ 1546 h 1567"/>
              <a:gd name="T32" fmla="*/ 3280 w 4593"/>
              <a:gd name="T33" fmla="*/ 1553 h 1567"/>
              <a:gd name="T34" fmla="*/ 3258 w 4593"/>
              <a:gd name="T35" fmla="*/ 1558 h 1567"/>
              <a:gd name="T36" fmla="*/ 3236 w 4593"/>
              <a:gd name="T37" fmla="*/ 1562 h 1567"/>
              <a:gd name="T38" fmla="*/ 3212 w 4593"/>
              <a:gd name="T39" fmla="*/ 1565 h 1567"/>
              <a:gd name="T40" fmla="*/ 3190 w 4593"/>
              <a:gd name="T41" fmla="*/ 1567 h 1567"/>
              <a:gd name="T42" fmla="*/ 3168 w 4593"/>
              <a:gd name="T43" fmla="*/ 1567 h 1567"/>
              <a:gd name="T44" fmla="*/ 3145 w 4593"/>
              <a:gd name="T45" fmla="*/ 1567 h 1567"/>
              <a:gd name="T46" fmla="*/ 3123 w 4593"/>
              <a:gd name="T47" fmla="*/ 1566 h 1567"/>
              <a:gd name="T48" fmla="*/ 3101 w 4593"/>
              <a:gd name="T49" fmla="*/ 1563 h 1567"/>
              <a:gd name="T50" fmla="*/ 3078 w 4593"/>
              <a:gd name="T51" fmla="*/ 1560 h 1567"/>
              <a:gd name="T52" fmla="*/ 3055 w 4593"/>
              <a:gd name="T53" fmla="*/ 1555 h 1567"/>
              <a:gd name="T54" fmla="*/ 3033 w 4593"/>
              <a:gd name="T55" fmla="*/ 1551 h 1567"/>
              <a:gd name="T56" fmla="*/ 3010 w 4593"/>
              <a:gd name="T57" fmla="*/ 1544 h 1567"/>
              <a:gd name="T58" fmla="*/ 2988 w 4593"/>
              <a:gd name="T59" fmla="*/ 1537 h 1567"/>
              <a:gd name="T60" fmla="*/ 2966 w 4593"/>
              <a:gd name="T61" fmla="*/ 1528 h 1567"/>
              <a:gd name="T62" fmla="*/ 2944 w 4593"/>
              <a:gd name="T63" fmla="*/ 1519 h 1567"/>
              <a:gd name="T64" fmla="*/ 2922 w 4593"/>
              <a:gd name="T65" fmla="*/ 1510 h 1567"/>
              <a:gd name="T66" fmla="*/ 2900 w 4593"/>
              <a:gd name="T67" fmla="*/ 1499 h 1567"/>
              <a:gd name="T68" fmla="*/ 0 w 4593"/>
              <a:gd name="T69" fmla="*/ 0 h 1567"/>
              <a:gd name="T70" fmla="*/ 2867 w 4593"/>
              <a:gd name="T71" fmla="*/ 953 h 1567"/>
              <a:gd name="T72" fmla="*/ 2893 w 4593"/>
              <a:gd name="T73" fmla="*/ 961 h 1567"/>
              <a:gd name="T74" fmla="*/ 2921 w 4593"/>
              <a:gd name="T75" fmla="*/ 968 h 1567"/>
              <a:gd name="T76" fmla="*/ 2949 w 4593"/>
              <a:gd name="T77" fmla="*/ 974 h 1567"/>
              <a:gd name="T78" fmla="*/ 2978 w 4593"/>
              <a:gd name="T79" fmla="*/ 979 h 1567"/>
              <a:gd name="T80" fmla="*/ 3005 w 4593"/>
              <a:gd name="T81" fmla="*/ 981 h 1567"/>
              <a:gd name="T82" fmla="*/ 3035 w 4593"/>
              <a:gd name="T83" fmla="*/ 983 h 1567"/>
              <a:gd name="T84" fmla="*/ 3064 w 4593"/>
              <a:gd name="T85" fmla="*/ 983 h 1567"/>
              <a:gd name="T86" fmla="*/ 3093 w 4593"/>
              <a:gd name="T87" fmla="*/ 983 h 1567"/>
              <a:gd name="T88" fmla="*/ 3122 w 4593"/>
              <a:gd name="T89" fmla="*/ 980 h 1567"/>
              <a:gd name="T90" fmla="*/ 3151 w 4593"/>
              <a:gd name="T91" fmla="*/ 976 h 1567"/>
              <a:gd name="T92" fmla="*/ 3179 w 4593"/>
              <a:gd name="T93" fmla="*/ 971 h 1567"/>
              <a:gd name="T94" fmla="*/ 3207 w 4593"/>
              <a:gd name="T95" fmla="*/ 964 h 1567"/>
              <a:gd name="T96" fmla="*/ 3233 w 4593"/>
              <a:gd name="T97" fmla="*/ 956 h 1567"/>
              <a:gd name="T98" fmla="*/ 3259 w 4593"/>
              <a:gd name="T99" fmla="*/ 945 h 1567"/>
              <a:gd name="T100" fmla="*/ 3283 w 4593"/>
              <a:gd name="T101" fmla="*/ 932 h 1567"/>
              <a:gd name="T102" fmla="*/ 3308 w 4593"/>
              <a:gd name="T103" fmla="*/ 918 h 1567"/>
              <a:gd name="T104" fmla="*/ 4593 w 4593"/>
              <a:gd name="T105" fmla="*/ 102 h 15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593" h="1567">
                <a:moveTo>
                  <a:pt x="4593" y="102"/>
                </a:moveTo>
                <a:lnTo>
                  <a:pt x="3597" y="1332"/>
                </a:lnTo>
                <a:lnTo>
                  <a:pt x="3577" y="1355"/>
                </a:lnTo>
                <a:lnTo>
                  <a:pt x="3558" y="1379"/>
                </a:lnTo>
                <a:lnTo>
                  <a:pt x="3538" y="1399"/>
                </a:lnTo>
                <a:lnTo>
                  <a:pt x="3517" y="1418"/>
                </a:lnTo>
                <a:lnTo>
                  <a:pt x="3496" y="1437"/>
                </a:lnTo>
                <a:lnTo>
                  <a:pt x="3475" y="1454"/>
                </a:lnTo>
                <a:lnTo>
                  <a:pt x="3454" y="1470"/>
                </a:lnTo>
                <a:lnTo>
                  <a:pt x="3433" y="1484"/>
                </a:lnTo>
                <a:lnTo>
                  <a:pt x="3411" y="1498"/>
                </a:lnTo>
                <a:lnTo>
                  <a:pt x="3390" y="1510"/>
                </a:lnTo>
                <a:lnTo>
                  <a:pt x="3368" y="1520"/>
                </a:lnTo>
                <a:lnTo>
                  <a:pt x="3346" y="1531"/>
                </a:lnTo>
                <a:lnTo>
                  <a:pt x="3324" y="1539"/>
                </a:lnTo>
                <a:lnTo>
                  <a:pt x="3302" y="1546"/>
                </a:lnTo>
                <a:lnTo>
                  <a:pt x="3280" y="1553"/>
                </a:lnTo>
                <a:lnTo>
                  <a:pt x="3258" y="1558"/>
                </a:lnTo>
                <a:lnTo>
                  <a:pt x="3236" y="1562"/>
                </a:lnTo>
                <a:lnTo>
                  <a:pt x="3212" y="1565"/>
                </a:lnTo>
                <a:lnTo>
                  <a:pt x="3190" y="1567"/>
                </a:lnTo>
                <a:lnTo>
                  <a:pt x="3168" y="1567"/>
                </a:lnTo>
                <a:lnTo>
                  <a:pt x="3145" y="1567"/>
                </a:lnTo>
                <a:lnTo>
                  <a:pt x="3123" y="1566"/>
                </a:lnTo>
                <a:lnTo>
                  <a:pt x="3101" y="1563"/>
                </a:lnTo>
                <a:lnTo>
                  <a:pt x="3078" y="1560"/>
                </a:lnTo>
                <a:lnTo>
                  <a:pt x="3055" y="1555"/>
                </a:lnTo>
                <a:lnTo>
                  <a:pt x="3033" y="1551"/>
                </a:lnTo>
                <a:lnTo>
                  <a:pt x="3010" y="1544"/>
                </a:lnTo>
                <a:lnTo>
                  <a:pt x="2988" y="1537"/>
                </a:lnTo>
                <a:lnTo>
                  <a:pt x="2966" y="1528"/>
                </a:lnTo>
                <a:lnTo>
                  <a:pt x="2944" y="1519"/>
                </a:lnTo>
                <a:lnTo>
                  <a:pt x="2922" y="1510"/>
                </a:lnTo>
                <a:lnTo>
                  <a:pt x="2900" y="1499"/>
                </a:lnTo>
                <a:lnTo>
                  <a:pt x="0" y="0"/>
                </a:lnTo>
                <a:lnTo>
                  <a:pt x="2867" y="953"/>
                </a:lnTo>
                <a:lnTo>
                  <a:pt x="2893" y="961"/>
                </a:lnTo>
                <a:lnTo>
                  <a:pt x="2921" y="968"/>
                </a:lnTo>
                <a:lnTo>
                  <a:pt x="2949" y="974"/>
                </a:lnTo>
                <a:lnTo>
                  <a:pt x="2978" y="979"/>
                </a:lnTo>
                <a:lnTo>
                  <a:pt x="3005" y="981"/>
                </a:lnTo>
                <a:lnTo>
                  <a:pt x="3035" y="983"/>
                </a:lnTo>
                <a:lnTo>
                  <a:pt x="3064" y="983"/>
                </a:lnTo>
                <a:lnTo>
                  <a:pt x="3093" y="983"/>
                </a:lnTo>
                <a:lnTo>
                  <a:pt x="3122" y="980"/>
                </a:lnTo>
                <a:lnTo>
                  <a:pt x="3151" y="976"/>
                </a:lnTo>
                <a:lnTo>
                  <a:pt x="3179" y="971"/>
                </a:lnTo>
                <a:lnTo>
                  <a:pt x="3207" y="964"/>
                </a:lnTo>
                <a:lnTo>
                  <a:pt x="3233" y="956"/>
                </a:lnTo>
                <a:lnTo>
                  <a:pt x="3259" y="945"/>
                </a:lnTo>
                <a:lnTo>
                  <a:pt x="3283" y="932"/>
                </a:lnTo>
                <a:lnTo>
                  <a:pt x="3308" y="918"/>
                </a:lnTo>
                <a:lnTo>
                  <a:pt x="4593" y="102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Freeform 5"/>
          <p:cNvSpPr>
            <a:spLocks/>
          </p:cNvSpPr>
          <p:nvPr userDrawn="1"/>
        </p:nvSpPr>
        <p:spPr bwMode="auto">
          <a:xfrm>
            <a:off x="7334912" y="2886077"/>
            <a:ext cx="1719792" cy="2135187"/>
          </a:xfrm>
          <a:custGeom>
            <a:avLst/>
            <a:gdLst>
              <a:gd name="T0" fmla="*/ 3159 w 4000"/>
              <a:gd name="T1" fmla="*/ 5238 h 5382"/>
              <a:gd name="T2" fmla="*/ 3155 w 4000"/>
              <a:gd name="T3" fmla="*/ 5259 h 5382"/>
              <a:gd name="T4" fmla="*/ 3146 w 4000"/>
              <a:gd name="T5" fmla="*/ 5280 h 5382"/>
              <a:gd name="T6" fmla="*/ 3137 w 4000"/>
              <a:gd name="T7" fmla="*/ 5299 h 5382"/>
              <a:gd name="T8" fmla="*/ 3126 w 4000"/>
              <a:gd name="T9" fmla="*/ 5315 h 5382"/>
              <a:gd name="T10" fmla="*/ 3113 w 4000"/>
              <a:gd name="T11" fmla="*/ 5330 h 5382"/>
              <a:gd name="T12" fmla="*/ 3098 w 4000"/>
              <a:gd name="T13" fmla="*/ 5343 h 5382"/>
              <a:gd name="T14" fmla="*/ 3064 w 4000"/>
              <a:gd name="T15" fmla="*/ 5364 h 5382"/>
              <a:gd name="T16" fmla="*/ 3024 w 4000"/>
              <a:gd name="T17" fmla="*/ 5378 h 5382"/>
              <a:gd name="T18" fmla="*/ 2984 w 4000"/>
              <a:gd name="T19" fmla="*/ 5382 h 5382"/>
              <a:gd name="T20" fmla="*/ 2941 w 4000"/>
              <a:gd name="T21" fmla="*/ 5380 h 5382"/>
              <a:gd name="T22" fmla="*/ 2898 w 4000"/>
              <a:gd name="T23" fmla="*/ 5368 h 5382"/>
              <a:gd name="T24" fmla="*/ 354 w 4000"/>
              <a:gd name="T25" fmla="*/ 4384 h 5382"/>
              <a:gd name="T26" fmla="*/ 300 w 4000"/>
              <a:gd name="T27" fmla="*/ 4358 h 5382"/>
              <a:gd name="T28" fmla="*/ 250 w 4000"/>
              <a:gd name="T29" fmla="*/ 4332 h 5382"/>
              <a:gd name="T30" fmla="*/ 206 w 4000"/>
              <a:gd name="T31" fmla="*/ 4301 h 5382"/>
              <a:gd name="T32" fmla="*/ 166 w 4000"/>
              <a:gd name="T33" fmla="*/ 4269 h 5382"/>
              <a:gd name="T34" fmla="*/ 132 w 4000"/>
              <a:gd name="T35" fmla="*/ 4235 h 5382"/>
              <a:gd name="T36" fmla="*/ 100 w 4000"/>
              <a:gd name="T37" fmla="*/ 4198 h 5382"/>
              <a:gd name="T38" fmla="*/ 75 w 4000"/>
              <a:gd name="T39" fmla="*/ 4161 h 5382"/>
              <a:gd name="T40" fmla="*/ 51 w 4000"/>
              <a:gd name="T41" fmla="*/ 4121 h 5382"/>
              <a:gd name="T42" fmla="*/ 34 w 4000"/>
              <a:gd name="T43" fmla="*/ 4079 h 5382"/>
              <a:gd name="T44" fmla="*/ 19 w 4000"/>
              <a:gd name="T45" fmla="*/ 4036 h 5382"/>
              <a:gd name="T46" fmla="*/ 8 w 4000"/>
              <a:gd name="T47" fmla="*/ 3993 h 5382"/>
              <a:gd name="T48" fmla="*/ 3 w 4000"/>
              <a:gd name="T49" fmla="*/ 3948 h 5382"/>
              <a:gd name="T50" fmla="*/ 0 w 4000"/>
              <a:gd name="T51" fmla="*/ 3902 h 5382"/>
              <a:gd name="T52" fmla="*/ 0 w 4000"/>
              <a:gd name="T53" fmla="*/ 3855 h 5382"/>
              <a:gd name="T54" fmla="*/ 5 w 4000"/>
              <a:gd name="T55" fmla="*/ 3807 h 5382"/>
              <a:gd name="T56" fmla="*/ 545 w 4000"/>
              <a:gd name="T57" fmla="*/ 564 h 5382"/>
              <a:gd name="T58" fmla="*/ 555 w 4000"/>
              <a:gd name="T59" fmla="*/ 516 h 5382"/>
              <a:gd name="T60" fmla="*/ 567 w 4000"/>
              <a:gd name="T61" fmla="*/ 471 h 5382"/>
              <a:gd name="T62" fmla="*/ 583 w 4000"/>
              <a:gd name="T63" fmla="*/ 427 h 5382"/>
              <a:gd name="T64" fmla="*/ 602 w 4000"/>
              <a:gd name="T65" fmla="*/ 385 h 5382"/>
              <a:gd name="T66" fmla="*/ 624 w 4000"/>
              <a:gd name="T67" fmla="*/ 345 h 5382"/>
              <a:gd name="T68" fmla="*/ 650 w 4000"/>
              <a:gd name="T69" fmla="*/ 308 h 5382"/>
              <a:gd name="T70" fmla="*/ 679 w 4000"/>
              <a:gd name="T71" fmla="*/ 274 h 5382"/>
              <a:gd name="T72" fmla="*/ 712 w 4000"/>
              <a:gd name="T73" fmla="*/ 242 h 5382"/>
              <a:gd name="T74" fmla="*/ 746 w 4000"/>
              <a:gd name="T75" fmla="*/ 214 h 5382"/>
              <a:gd name="T76" fmla="*/ 786 w 4000"/>
              <a:gd name="T77" fmla="*/ 187 h 5382"/>
              <a:gd name="T78" fmla="*/ 829 w 4000"/>
              <a:gd name="T79" fmla="*/ 165 h 5382"/>
              <a:gd name="T80" fmla="*/ 875 w 4000"/>
              <a:gd name="T81" fmla="*/ 145 h 5382"/>
              <a:gd name="T82" fmla="*/ 924 w 4000"/>
              <a:gd name="T83" fmla="*/ 130 h 5382"/>
              <a:gd name="T84" fmla="*/ 978 w 4000"/>
              <a:gd name="T85" fmla="*/ 117 h 5382"/>
              <a:gd name="T86" fmla="*/ 1035 w 4000"/>
              <a:gd name="T87" fmla="*/ 109 h 5382"/>
              <a:gd name="T88" fmla="*/ 1096 w 4000"/>
              <a:gd name="T89" fmla="*/ 105 h 5382"/>
              <a:gd name="T90" fmla="*/ 3814 w 4000"/>
              <a:gd name="T91" fmla="*/ 0 h 5382"/>
              <a:gd name="T92" fmla="*/ 3857 w 4000"/>
              <a:gd name="T93" fmla="*/ 7 h 5382"/>
              <a:gd name="T94" fmla="*/ 3897 w 4000"/>
              <a:gd name="T95" fmla="*/ 22 h 5382"/>
              <a:gd name="T96" fmla="*/ 3932 w 4000"/>
              <a:gd name="T97" fmla="*/ 44 h 5382"/>
              <a:gd name="T98" fmla="*/ 3960 w 4000"/>
              <a:gd name="T99" fmla="*/ 72 h 5382"/>
              <a:gd name="T100" fmla="*/ 3977 w 4000"/>
              <a:gd name="T101" fmla="*/ 97 h 5382"/>
              <a:gd name="T102" fmla="*/ 3987 w 4000"/>
              <a:gd name="T103" fmla="*/ 115 h 5382"/>
              <a:gd name="T104" fmla="*/ 3993 w 4000"/>
              <a:gd name="T105" fmla="*/ 134 h 5382"/>
              <a:gd name="T106" fmla="*/ 3997 w 4000"/>
              <a:gd name="T107" fmla="*/ 154 h 5382"/>
              <a:gd name="T108" fmla="*/ 4000 w 4000"/>
              <a:gd name="T109" fmla="*/ 174 h 5382"/>
              <a:gd name="T110" fmla="*/ 3998 w 4000"/>
              <a:gd name="T111" fmla="*/ 197 h 5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000" h="5382">
                <a:moveTo>
                  <a:pt x="3997" y="207"/>
                </a:moveTo>
                <a:lnTo>
                  <a:pt x="3159" y="5238"/>
                </a:lnTo>
                <a:lnTo>
                  <a:pt x="3157" y="5249"/>
                </a:lnTo>
                <a:lnTo>
                  <a:pt x="3155" y="5259"/>
                </a:lnTo>
                <a:lnTo>
                  <a:pt x="3151" y="5270"/>
                </a:lnTo>
                <a:lnTo>
                  <a:pt x="3146" y="5280"/>
                </a:lnTo>
                <a:lnTo>
                  <a:pt x="3143" y="5289"/>
                </a:lnTo>
                <a:lnTo>
                  <a:pt x="3137" y="5299"/>
                </a:lnTo>
                <a:lnTo>
                  <a:pt x="3132" y="5307"/>
                </a:lnTo>
                <a:lnTo>
                  <a:pt x="3126" y="5315"/>
                </a:lnTo>
                <a:lnTo>
                  <a:pt x="3120" y="5323"/>
                </a:lnTo>
                <a:lnTo>
                  <a:pt x="3113" y="5330"/>
                </a:lnTo>
                <a:lnTo>
                  <a:pt x="3106" y="5337"/>
                </a:lnTo>
                <a:lnTo>
                  <a:pt x="3098" y="5343"/>
                </a:lnTo>
                <a:lnTo>
                  <a:pt x="3081" y="5354"/>
                </a:lnTo>
                <a:lnTo>
                  <a:pt x="3064" y="5364"/>
                </a:lnTo>
                <a:lnTo>
                  <a:pt x="3044" y="5372"/>
                </a:lnTo>
                <a:lnTo>
                  <a:pt x="3024" y="5378"/>
                </a:lnTo>
                <a:lnTo>
                  <a:pt x="3005" y="5381"/>
                </a:lnTo>
                <a:lnTo>
                  <a:pt x="2984" y="5382"/>
                </a:lnTo>
                <a:lnTo>
                  <a:pt x="2962" y="5382"/>
                </a:lnTo>
                <a:lnTo>
                  <a:pt x="2941" y="5380"/>
                </a:lnTo>
                <a:lnTo>
                  <a:pt x="2920" y="5375"/>
                </a:lnTo>
                <a:lnTo>
                  <a:pt x="2898" y="5368"/>
                </a:lnTo>
                <a:lnTo>
                  <a:pt x="381" y="4396"/>
                </a:lnTo>
                <a:lnTo>
                  <a:pt x="354" y="4384"/>
                </a:lnTo>
                <a:lnTo>
                  <a:pt x="326" y="4371"/>
                </a:lnTo>
                <a:lnTo>
                  <a:pt x="300" y="4358"/>
                </a:lnTo>
                <a:lnTo>
                  <a:pt x="275" y="4346"/>
                </a:lnTo>
                <a:lnTo>
                  <a:pt x="250" y="4332"/>
                </a:lnTo>
                <a:lnTo>
                  <a:pt x="228" y="4317"/>
                </a:lnTo>
                <a:lnTo>
                  <a:pt x="206" y="4301"/>
                </a:lnTo>
                <a:lnTo>
                  <a:pt x="186" y="4285"/>
                </a:lnTo>
                <a:lnTo>
                  <a:pt x="166" y="4269"/>
                </a:lnTo>
                <a:lnTo>
                  <a:pt x="149" y="4253"/>
                </a:lnTo>
                <a:lnTo>
                  <a:pt x="132" y="4235"/>
                </a:lnTo>
                <a:lnTo>
                  <a:pt x="115" y="4217"/>
                </a:lnTo>
                <a:lnTo>
                  <a:pt x="100" y="4198"/>
                </a:lnTo>
                <a:lnTo>
                  <a:pt x="87" y="4179"/>
                </a:lnTo>
                <a:lnTo>
                  <a:pt x="75" y="4161"/>
                </a:lnTo>
                <a:lnTo>
                  <a:pt x="62" y="4141"/>
                </a:lnTo>
                <a:lnTo>
                  <a:pt x="51" y="4121"/>
                </a:lnTo>
                <a:lnTo>
                  <a:pt x="42" y="4100"/>
                </a:lnTo>
                <a:lnTo>
                  <a:pt x="34" y="4079"/>
                </a:lnTo>
                <a:lnTo>
                  <a:pt x="26" y="4059"/>
                </a:lnTo>
                <a:lnTo>
                  <a:pt x="19" y="4036"/>
                </a:lnTo>
                <a:lnTo>
                  <a:pt x="13" y="4016"/>
                </a:lnTo>
                <a:lnTo>
                  <a:pt x="8" y="3993"/>
                </a:lnTo>
                <a:lnTo>
                  <a:pt x="5" y="3970"/>
                </a:lnTo>
                <a:lnTo>
                  <a:pt x="3" y="3948"/>
                </a:lnTo>
                <a:lnTo>
                  <a:pt x="0" y="3925"/>
                </a:lnTo>
                <a:lnTo>
                  <a:pt x="0" y="3902"/>
                </a:lnTo>
                <a:lnTo>
                  <a:pt x="0" y="3878"/>
                </a:lnTo>
                <a:lnTo>
                  <a:pt x="0" y="3855"/>
                </a:lnTo>
                <a:lnTo>
                  <a:pt x="3" y="3831"/>
                </a:lnTo>
                <a:lnTo>
                  <a:pt x="5" y="3807"/>
                </a:lnTo>
                <a:lnTo>
                  <a:pt x="8" y="3783"/>
                </a:lnTo>
                <a:lnTo>
                  <a:pt x="545" y="564"/>
                </a:lnTo>
                <a:lnTo>
                  <a:pt x="549" y="539"/>
                </a:lnTo>
                <a:lnTo>
                  <a:pt x="555" y="516"/>
                </a:lnTo>
                <a:lnTo>
                  <a:pt x="560" y="493"/>
                </a:lnTo>
                <a:lnTo>
                  <a:pt x="567" y="471"/>
                </a:lnTo>
                <a:lnTo>
                  <a:pt x="574" y="449"/>
                </a:lnTo>
                <a:lnTo>
                  <a:pt x="583" y="427"/>
                </a:lnTo>
                <a:lnTo>
                  <a:pt x="592" y="406"/>
                </a:lnTo>
                <a:lnTo>
                  <a:pt x="602" y="385"/>
                </a:lnTo>
                <a:lnTo>
                  <a:pt x="613" y="365"/>
                </a:lnTo>
                <a:lnTo>
                  <a:pt x="624" y="345"/>
                </a:lnTo>
                <a:lnTo>
                  <a:pt x="637" y="327"/>
                </a:lnTo>
                <a:lnTo>
                  <a:pt x="650" y="308"/>
                </a:lnTo>
                <a:lnTo>
                  <a:pt x="664" y="291"/>
                </a:lnTo>
                <a:lnTo>
                  <a:pt x="679" y="274"/>
                </a:lnTo>
                <a:lnTo>
                  <a:pt x="695" y="258"/>
                </a:lnTo>
                <a:lnTo>
                  <a:pt x="712" y="242"/>
                </a:lnTo>
                <a:lnTo>
                  <a:pt x="729" y="228"/>
                </a:lnTo>
                <a:lnTo>
                  <a:pt x="746" y="214"/>
                </a:lnTo>
                <a:lnTo>
                  <a:pt x="766" y="200"/>
                </a:lnTo>
                <a:lnTo>
                  <a:pt x="786" y="187"/>
                </a:lnTo>
                <a:lnTo>
                  <a:pt x="807" y="176"/>
                </a:lnTo>
                <a:lnTo>
                  <a:pt x="829" y="165"/>
                </a:lnTo>
                <a:lnTo>
                  <a:pt x="851" y="155"/>
                </a:lnTo>
                <a:lnTo>
                  <a:pt x="875" y="145"/>
                </a:lnTo>
                <a:lnTo>
                  <a:pt x="900" y="137"/>
                </a:lnTo>
                <a:lnTo>
                  <a:pt x="924" y="130"/>
                </a:lnTo>
                <a:lnTo>
                  <a:pt x="951" y="123"/>
                </a:lnTo>
                <a:lnTo>
                  <a:pt x="978" y="117"/>
                </a:lnTo>
                <a:lnTo>
                  <a:pt x="1007" y="113"/>
                </a:lnTo>
                <a:lnTo>
                  <a:pt x="1035" y="109"/>
                </a:lnTo>
                <a:lnTo>
                  <a:pt x="1065" y="107"/>
                </a:lnTo>
                <a:lnTo>
                  <a:pt x="1096" y="105"/>
                </a:lnTo>
                <a:lnTo>
                  <a:pt x="3791" y="0"/>
                </a:lnTo>
                <a:lnTo>
                  <a:pt x="3814" y="0"/>
                </a:lnTo>
                <a:lnTo>
                  <a:pt x="3836" y="2"/>
                </a:lnTo>
                <a:lnTo>
                  <a:pt x="3857" y="7"/>
                </a:lnTo>
                <a:lnTo>
                  <a:pt x="3877" y="14"/>
                </a:lnTo>
                <a:lnTo>
                  <a:pt x="3897" y="22"/>
                </a:lnTo>
                <a:lnTo>
                  <a:pt x="3915" y="33"/>
                </a:lnTo>
                <a:lnTo>
                  <a:pt x="3932" y="44"/>
                </a:lnTo>
                <a:lnTo>
                  <a:pt x="3947" y="57"/>
                </a:lnTo>
                <a:lnTo>
                  <a:pt x="3960" y="72"/>
                </a:lnTo>
                <a:lnTo>
                  <a:pt x="3973" y="88"/>
                </a:lnTo>
                <a:lnTo>
                  <a:pt x="3977" y="97"/>
                </a:lnTo>
                <a:lnTo>
                  <a:pt x="3982" y="106"/>
                </a:lnTo>
                <a:lnTo>
                  <a:pt x="3987" y="115"/>
                </a:lnTo>
                <a:lnTo>
                  <a:pt x="3990" y="124"/>
                </a:lnTo>
                <a:lnTo>
                  <a:pt x="3993" y="134"/>
                </a:lnTo>
                <a:lnTo>
                  <a:pt x="3996" y="143"/>
                </a:lnTo>
                <a:lnTo>
                  <a:pt x="3997" y="154"/>
                </a:lnTo>
                <a:lnTo>
                  <a:pt x="3998" y="164"/>
                </a:lnTo>
                <a:lnTo>
                  <a:pt x="4000" y="174"/>
                </a:lnTo>
                <a:lnTo>
                  <a:pt x="4000" y="185"/>
                </a:lnTo>
                <a:lnTo>
                  <a:pt x="3998" y="197"/>
                </a:lnTo>
                <a:lnTo>
                  <a:pt x="3997" y="207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Freeform 7"/>
          <p:cNvSpPr>
            <a:spLocks/>
          </p:cNvSpPr>
          <p:nvPr userDrawn="1"/>
        </p:nvSpPr>
        <p:spPr bwMode="auto">
          <a:xfrm>
            <a:off x="9231842" y="4125920"/>
            <a:ext cx="674158" cy="1425575"/>
          </a:xfrm>
          <a:custGeom>
            <a:avLst/>
            <a:gdLst>
              <a:gd name="T0" fmla="*/ 1569 w 1569"/>
              <a:gd name="T1" fmla="*/ 3384 h 3590"/>
              <a:gd name="T2" fmla="*/ 205 w 1569"/>
              <a:gd name="T3" fmla="*/ 3589 h 3590"/>
              <a:gd name="T4" fmla="*/ 194 w 1569"/>
              <a:gd name="T5" fmla="*/ 3590 h 3590"/>
              <a:gd name="T6" fmla="*/ 182 w 1569"/>
              <a:gd name="T7" fmla="*/ 3590 h 3590"/>
              <a:gd name="T8" fmla="*/ 172 w 1569"/>
              <a:gd name="T9" fmla="*/ 3590 h 3590"/>
              <a:gd name="T10" fmla="*/ 162 w 1569"/>
              <a:gd name="T11" fmla="*/ 3590 h 3590"/>
              <a:gd name="T12" fmla="*/ 151 w 1569"/>
              <a:gd name="T13" fmla="*/ 3588 h 3590"/>
              <a:gd name="T14" fmla="*/ 141 w 1569"/>
              <a:gd name="T15" fmla="*/ 3587 h 3590"/>
              <a:gd name="T16" fmla="*/ 131 w 1569"/>
              <a:gd name="T17" fmla="*/ 3584 h 3590"/>
              <a:gd name="T18" fmla="*/ 121 w 1569"/>
              <a:gd name="T19" fmla="*/ 3581 h 3590"/>
              <a:gd name="T20" fmla="*/ 112 w 1569"/>
              <a:gd name="T21" fmla="*/ 3577 h 3590"/>
              <a:gd name="T22" fmla="*/ 103 w 1569"/>
              <a:gd name="T23" fmla="*/ 3573 h 3590"/>
              <a:gd name="T24" fmla="*/ 94 w 1569"/>
              <a:gd name="T25" fmla="*/ 3568 h 3590"/>
              <a:gd name="T26" fmla="*/ 86 w 1569"/>
              <a:gd name="T27" fmla="*/ 3563 h 3590"/>
              <a:gd name="T28" fmla="*/ 70 w 1569"/>
              <a:gd name="T29" fmla="*/ 3551 h 3590"/>
              <a:gd name="T30" fmla="*/ 56 w 1569"/>
              <a:gd name="T31" fmla="*/ 3537 h 3590"/>
              <a:gd name="T32" fmla="*/ 42 w 1569"/>
              <a:gd name="T33" fmla="*/ 3521 h 3590"/>
              <a:gd name="T34" fmla="*/ 30 w 1569"/>
              <a:gd name="T35" fmla="*/ 3504 h 3590"/>
              <a:gd name="T36" fmla="*/ 21 w 1569"/>
              <a:gd name="T37" fmla="*/ 3486 h 3590"/>
              <a:gd name="T38" fmla="*/ 13 w 1569"/>
              <a:gd name="T39" fmla="*/ 3466 h 3590"/>
              <a:gd name="T40" fmla="*/ 7 w 1569"/>
              <a:gd name="T41" fmla="*/ 3446 h 3590"/>
              <a:gd name="T42" fmla="*/ 2 w 1569"/>
              <a:gd name="T43" fmla="*/ 3424 h 3590"/>
              <a:gd name="T44" fmla="*/ 0 w 1569"/>
              <a:gd name="T45" fmla="*/ 3403 h 3590"/>
              <a:gd name="T46" fmla="*/ 0 w 1569"/>
              <a:gd name="T47" fmla="*/ 3380 h 3590"/>
              <a:gd name="T48" fmla="*/ 149 w 1569"/>
              <a:gd name="T49" fmla="*/ 687 h 3590"/>
              <a:gd name="T50" fmla="*/ 150 w 1569"/>
              <a:gd name="T51" fmla="*/ 656 h 3590"/>
              <a:gd name="T52" fmla="*/ 153 w 1569"/>
              <a:gd name="T53" fmla="*/ 627 h 3590"/>
              <a:gd name="T54" fmla="*/ 158 w 1569"/>
              <a:gd name="T55" fmla="*/ 598 h 3590"/>
              <a:gd name="T56" fmla="*/ 163 w 1569"/>
              <a:gd name="T57" fmla="*/ 570 h 3590"/>
              <a:gd name="T58" fmla="*/ 168 w 1569"/>
              <a:gd name="T59" fmla="*/ 542 h 3590"/>
              <a:gd name="T60" fmla="*/ 175 w 1569"/>
              <a:gd name="T61" fmla="*/ 516 h 3590"/>
              <a:gd name="T62" fmla="*/ 184 w 1569"/>
              <a:gd name="T63" fmla="*/ 491 h 3590"/>
              <a:gd name="T64" fmla="*/ 193 w 1569"/>
              <a:gd name="T65" fmla="*/ 466 h 3590"/>
              <a:gd name="T66" fmla="*/ 202 w 1569"/>
              <a:gd name="T67" fmla="*/ 443 h 3590"/>
              <a:gd name="T68" fmla="*/ 213 w 1569"/>
              <a:gd name="T69" fmla="*/ 421 h 3590"/>
              <a:gd name="T70" fmla="*/ 224 w 1569"/>
              <a:gd name="T71" fmla="*/ 399 h 3590"/>
              <a:gd name="T72" fmla="*/ 236 w 1569"/>
              <a:gd name="T73" fmla="*/ 378 h 3590"/>
              <a:gd name="T74" fmla="*/ 249 w 1569"/>
              <a:gd name="T75" fmla="*/ 358 h 3590"/>
              <a:gd name="T76" fmla="*/ 263 w 1569"/>
              <a:gd name="T77" fmla="*/ 340 h 3590"/>
              <a:gd name="T78" fmla="*/ 277 w 1569"/>
              <a:gd name="T79" fmla="*/ 322 h 3590"/>
              <a:gd name="T80" fmla="*/ 292 w 1569"/>
              <a:gd name="T81" fmla="*/ 305 h 3590"/>
              <a:gd name="T82" fmla="*/ 308 w 1569"/>
              <a:gd name="T83" fmla="*/ 289 h 3590"/>
              <a:gd name="T84" fmla="*/ 324 w 1569"/>
              <a:gd name="T85" fmla="*/ 272 h 3590"/>
              <a:gd name="T86" fmla="*/ 342 w 1569"/>
              <a:gd name="T87" fmla="*/ 258 h 3590"/>
              <a:gd name="T88" fmla="*/ 359 w 1569"/>
              <a:gd name="T89" fmla="*/ 244 h 3590"/>
              <a:gd name="T90" fmla="*/ 378 w 1569"/>
              <a:gd name="T91" fmla="*/ 232 h 3590"/>
              <a:gd name="T92" fmla="*/ 396 w 1569"/>
              <a:gd name="T93" fmla="*/ 219 h 3590"/>
              <a:gd name="T94" fmla="*/ 416 w 1569"/>
              <a:gd name="T95" fmla="*/ 208 h 3590"/>
              <a:gd name="T96" fmla="*/ 436 w 1569"/>
              <a:gd name="T97" fmla="*/ 198 h 3590"/>
              <a:gd name="T98" fmla="*/ 457 w 1569"/>
              <a:gd name="T99" fmla="*/ 188 h 3590"/>
              <a:gd name="T100" fmla="*/ 478 w 1569"/>
              <a:gd name="T101" fmla="*/ 179 h 3590"/>
              <a:gd name="T102" fmla="*/ 500 w 1569"/>
              <a:gd name="T103" fmla="*/ 171 h 3590"/>
              <a:gd name="T104" fmla="*/ 522 w 1569"/>
              <a:gd name="T105" fmla="*/ 164 h 3590"/>
              <a:gd name="T106" fmla="*/ 545 w 1569"/>
              <a:gd name="T107" fmla="*/ 157 h 3590"/>
              <a:gd name="T108" fmla="*/ 568 w 1569"/>
              <a:gd name="T109" fmla="*/ 152 h 3590"/>
              <a:gd name="T110" fmla="*/ 592 w 1569"/>
              <a:gd name="T111" fmla="*/ 147 h 3590"/>
              <a:gd name="T112" fmla="*/ 616 w 1569"/>
              <a:gd name="T113" fmla="*/ 143 h 3590"/>
              <a:gd name="T114" fmla="*/ 1569 w 1569"/>
              <a:gd name="T115" fmla="*/ 0 h 3590"/>
              <a:gd name="T116" fmla="*/ 1569 w 1569"/>
              <a:gd name="T117" fmla="*/ 3384 h 35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569" h="3590">
                <a:moveTo>
                  <a:pt x="1569" y="3384"/>
                </a:moveTo>
                <a:lnTo>
                  <a:pt x="205" y="3589"/>
                </a:lnTo>
                <a:lnTo>
                  <a:pt x="194" y="3590"/>
                </a:lnTo>
                <a:lnTo>
                  <a:pt x="182" y="3590"/>
                </a:lnTo>
                <a:lnTo>
                  <a:pt x="172" y="3590"/>
                </a:lnTo>
                <a:lnTo>
                  <a:pt x="162" y="3590"/>
                </a:lnTo>
                <a:lnTo>
                  <a:pt x="151" y="3588"/>
                </a:lnTo>
                <a:lnTo>
                  <a:pt x="141" y="3587"/>
                </a:lnTo>
                <a:lnTo>
                  <a:pt x="131" y="3584"/>
                </a:lnTo>
                <a:lnTo>
                  <a:pt x="121" y="3581"/>
                </a:lnTo>
                <a:lnTo>
                  <a:pt x="112" y="3577"/>
                </a:lnTo>
                <a:lnTo>
                  <a:pt x="103" y="3573"/>
                </a:lnTo>
                <a:lnTo>
                  <a:pt x="94" y="3568"/>
                </a:lnTo>
                <a:lnTo>
                  <a:pt x="86" y="3563"/>
                </a:lnTo>
                <a:lnTo>
                  <a:pt x="70" y="3551"/>
                </a:lnTo>
                <a:lnTo>
                  <a:pt x="56" y="3537"/>
                </a:lnTo>
                <a:lnTo>
                  <a:pt x="42" y="3521"/>
                </a:lnTo>
                <a:lnTo>
                  <a:pt x="30" y="3504"/>
                </a:lnTo>
                <a:lnTo>
                  <a:pt x="21" y="3486"/>
                </a:lnTo>
                <a:lnTo>
                  <a:pt x="13" y="3466"/>
                </a:lnTo>
                <a:lnTo>
                  <a:pt x="7" y="3446"/>
                </a:lnTo>
                <a:lnTo>
                  <a:pt x="2" y="3424"/>
                </a:lnTo>
                <a:lnTo>
                  <a:pt x="0" y="3403"/>
                </a:lnTo>
                <a:lnTo>
                  <a:pt x="0" y="3380"/>
                </a:lnTo>
                <a:lnTo>
                  <a:pt x="149" y="687"/>
                </a:lnTo>
                <a:lnTo>
                  <a:pt x="150" y="656"/>
                </a:lnTo>
                <a:lnTo>
                  <a:pt x="153" y="627"/>
                </a:lnTo>
                <a:lnTo>
                  <a:pt x="158" y="598"/>
                </a:lnTo>
                <a:lnTo>
                  <a:pt x="163" y="570"/>
                </a:lnTo>
                <a:lnTo>
                  <a:pt x="168" y="542"/>
                </a:lnTo>
                <a:lnTo>
                  <a:pt x="175" y="516"/>
                </a:lnTo>
                <a:lnTo>
                  <a:pt x="184" y="491"/>
                </a:lnTo>
                <a:lnTo>
                  <a:pt x="193" y="466"/>
                </a:lnTo>
                <a:lnTo>
                  <a:pt x="202" y="443"/>
                </a:lnTo>
                <a:lnTo>
                  <a:pt x="213" y="421"/>
                </a:lnTo>
                <a:lnTo>
                  <a:pt x="224" y="399"/>
                </a:lnTo>
                <a:lnTo>
                  <a:pt x="236" y="378"/>
                </a:lnTo>
                <a:lnTo>
                  <a:pt x="249" y="358"/>
                </a:lnTo>
                <a:lnTo>
                  <a:pt x="263" y="340"/>
                </a:lnTo>
                <a:lnTo>
                  <a:pt x="277" y="322"/>
                </a:lnTo>
                <a:lnTo>
                  <a:pt x="292" y="305"/>
                </a:lnTo>
                <a:lnTo>
                  <a:pt x="308" y="289"/>
                </a:lnTo>
                <a:lnTo>
                  <a:pt x="324" y="272"/>
                </a:lnTo>
                <a:lnTo>
                  <a:pt x="342" y="258"/>
                </a:lnTo>
                <a:lnTo>
                  <a:pt x="359" y="244"/>
                </a:lnTo>
                <a:lnTo>
                  <a:pt x="378" y="232"/>
                </a:lnTo>
                <a:lnTo>
                  <a:pt x="396" y="219"/>
                </a:lnTo>
                <a:lnTo>
                  <a:pt x="416" y="208"/>
                </a:lnTo>
                <a:lnTo>
                  <a:pt x="436" y="198"/>
                </a:lnTo>
                <a:lnTo>
                  <a:pt x="457" y="188"/>
                </a:lnTo>
                <a:lnTo>
                  <a:pt x="478" y="179"/>
                </a:lnTo>
                <a:lnTo>
                  <a:pt x="500" y="171"/>
                </a:lnTo>
                <a:lnTo>
                  <a:pt x="522" y="164"/>
                </a:lnTo>
                <a:lnTo>
                  <a:pt x="545" y="157"/>
                </a:lnTo>
                <a:lnTo>
                  <a:pt x="568" y="152"/>
                </a:lnTo>
                <a:lnTo>
                  <a:pt x="592" y="147"/>
                </a:lnTo>
                <a:lnTo>
                  <a:pt x="616" y="143"/>
                </a:lnTo>
                <a:lnTo>
                  <a:pt x="1569" y="0"/>
                </a:lnTo>
                <a:lnTo>
                  <a:pt x="1569" y="3384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0" name="Freeform 9"/>
          <p:cNvSpPr>
            <a:spLocks/>
          </p:cNvSpPr>
          <p:nvPr userDrawn="1"/>
        </p:nvSpPr>
        <p:spPr bwMode="auto">
          <a:xfrm>
            <a:off x="8905177" y="5940604"/>
            <a:ext cx="1000919" cy="917575"/>
          </a:xfrm>
          <a:custGeom>
            <a:avLst/>
            <a:gdLst>
              <a:gd name="T0" fmla="*/ 759 w 2327"/>
              <a:gd name="T1" fmla="*/ 2310 h 2310"/>
              <a:gd name="T2" fmla="*/ 19 w 2327"/>
              <a:gd name="T3" fmla="*/ 851 h 2310"/>
              <a:gd name="T4" fmla="*/ 14 w 2327"/>
              <a:gd name="T5" fmla="*/ 841 h 2310"/>
              <a:gd name="T6" fmla="*/ 9 w 2327"/>
              <a:gd name="T7" fmla="*/ 832 h 2310"/>
              <a:gd name="T8" fmla="*/ 6 w 2327"/>
              <a:gd name="T9" fmla="*/ 821 h 2310"/>
              <a:gd name="T10" fmla="*/ 4 w 2327"/>
              <a:gd name="T11" fmla="*/ 811 h 2310"/>
              <a:gd name="T12" fmla="*/ 1 w 2327"/>
              <a:gd name="T13" fmla="*/ 800 h 2310"/>
              <a:gd name="T14" fmla="*/ 0 w 2327"/>
              <a:gd name="T15" fmla="*/ 790 h 2310"/>
              <a:gd name="T16" fmla="*/ 0 w 2327"/>
              <a:gd name="T17" fmla="*/ 781 h 2310"/>
              <a:gd name="T18" fmla="*/ 0 w 2327"/>
              <a:gd name="T19" fmla="*/ 770 h 2310"/>
              <a:gd name="T20" fmla="*/ 0 w 2327"/>
              <a:gd name="T21" fmla="*/ 760 h 2310"/>
              <a:gd name="T22" fmla="*/ 1 w 2327"/>
              <a:gd name="T23" fmla="*/ 750 h 2310"/>
              <a:gd name="T24" fmla="*/ 4 w 2327"/>
              <a:gd name="T25" fmla="*/ 740 h 2310"/>
              <a:gd name="T26" fmla="*/ 6 w 2327"/>
              <a:gd name="T27" fmla="*/ 731 h 2310"/>
              <a:gd name="T28" fmla="*/ 13 w 2327"/>
              <a:gd name="T29" fmla="*/ 712 h 2310"/>
              <a:gd name="T30" fmla="*/ 21 w 2327"/>
              <a:gd name="T31" fmla="*/ 693 h 2310"/>
              <a:gd name="T32" fmla="*/ 32 w 2327"/>
              <a:gd name="T33" fmla="*/ 676 h 2310"/>
              <a:gd name="T34" fmla="*/ 44 w 2327"/>
              <a:gd name="T35" fmla="*/ 660 h 2310"/>
              <a:gd name="T36" fmla="*/ 58 w 2327"/>
              <a:gd name="T37" fmla="*/ 645 h 2310"/>
              <a:gd name="T38" fmla="*/ 75 w 2327"/>
              <a:gd name="T39" fmla="*/ 631 h 2310"/>
              <a:gd name="T40" fmla="*/ 92 w 2327"/>
              <a:gd name="T41" fmla="*/ 619 h 2310"/>
              <a:gd name="T42" fmla="*/ 111 w 2327"/>
              <a:gd name="T43" fmla="*/ 607 h 2310"/>
              <a:gd name="T44" fmla="*/ 130 w 2327"/>
              <a:gd name="T45" fmla="*/ 599 h 2310"/>
              <a:gd name="T46" fmla="*/ 152 w 2327"/>
              <a:gd name="T47" fmla="*/ 592 h 2310"/>
              <a:gd name="T48" fmla="*/ 2327 w 2327"/>
              <a:gd name="T49" fmla="*/ 0 h 2310"/>
              <a:gd name="T50" fmla="*/ 2327 w 2327"/>
              <a:gd name="T51" fmla="*/ 2310 h 2310"/>
              <a:gd name="T52" fmla="*/ 759 w 2327"/>
              <a:gd name="T53" fmla="*/ 2310 h 2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2327" h="2310">
                <a:moveTo>
                  <a:pt x="759" y="2310"/>
                </a:moveTo>
                <a:lnTo>
                  <a:pt x="19" y="851"/>
                </a:lnTo>
                <a:lnTo>
                  <a:pt x="14" y="841"/>
                </a:lnTo>
                <a:lnTo>
                  <a:pt x="9" y="832"/>
                </a:lnTo>
                <a:lnTo>
                  <a:pt x="6" y="821"/>
                </a:lnTo>
                <a:lnTo>
                  <a:pt x="4" y="811"/>
                </a:lnTo>
                <a:lnTo>
                  <a:pt x="1" y="800"/>
                </a:lnTo>
                <a:lnTo>
                  <a:pt x="0" y="790"/>
                </a:lnTo>
                <a:lnTo>
                  <a:pt x="0" y="781"/>
                </a:lnTo>
                <a:lnTo>
                  <a:pt x="0" y="770"/>
                </a:lnTo>
                <a:lnTo>
                  <a:pt x="0" y="760"/>
                </a:lnTo>
                <a:lnTo>
                  <a:pt x="1" y="750"/>
                </a:lnTo>
                <a:lnTo>
                  <a:pt x="4" y="740"/>
                </a:lnTo>
                <a:lnTo>
                  <a:pt x="6" y="731"/>
                </a:lnTo>
                <a:lnTo>
                  <a:pt x="13" y="712"/>
                </a:lnTo>
                <a:lnTo>
                  <a:pt x="21" y="693"/>
                </a:lnTo>
                <a:lnTo>
                  <a:pt x="32" y="676"/>
                </a:lnTo>
                <a:lnTo>
                  <a:pt x="44" y="660"/>
                </a:lnTo>
                <a:lnTo>
                  <a:pt x="58" y="645"/>
                </a:lnTo>
                <a:lnTo>
                  <a:pt x="75" y="631"/>
                </a:lnTo>
                <a:lnTo>
                  <a:pt x="92" y="619"/>
                </a:lnTo>
                <a:lnTo>
                  <a:pt x="111" y="607"/>
                </a:lnTo>
                <a:lnTo>
                  <a:pt x="130" y="599"/>
                </a:lnTo>
                <a:lnTo>
                  <a:pt x="152" y="592"/>
                </a:lnTo>
                <a:lnTo>
                  <a:pt x="2327" y="0"/>
                </a:lnTo>
                <a:lnTo>
                  <a:pt x="2327" y="2310"/>
                </a:lnTo>
                <a:lnTo>
                  <a:pt x="759" y="2310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2" name="Freeform 11"/>
          <p:cNvSpPr>
            <a:spLocks/>
          </p:cNvSpPr>
          <p:nvPr userDrawn="1"/>
        </p:nvSpPr>
        <p:spPr bwMode="auto">
          <a:xfrm>
            <a:off x="7248937" y="6127750"/>
            <a:ext cx="1389592" cy="730250"/>
          </a:xfrm>
          <a:custGeom>
            <a:avLst/>
            <a:gdLst>
              <a:gd name="T0" fmla="*/ 0 w 3232"/>
              <a:gd name="T1" fmla="*/ 1840 h 1840"/>
              <a:gd name="T2" fmla="*/ 1817 w 3232"/>
              <a:gd name="T3" fmla="*/ 49 h 1840"/>
              <a:gd name="T4" fmla="*/ 1825 w 3232"/>
              <a:gd name="T5" fmla="*/ 42 h 1840"/>
              <a:gd name="T6" fmla="*/ 1834 w 3232"/>
              <a:gd name="T7" fmla="*/ 35 h 1840"/>
              <a:gd name="T8" fmla="*/ 1842 w 3232"/>
              <a:gd name="T9" fmla="*/ 28 h 1840"/>
              <a:gd name="T10" fmla="*/ 1852 w 3232"/>
              <a:gd name="T11" fmla="*/ 22 h 1840"/>
              <a:gd name="T12" fmla="*/ 1861 w 3232"/>
              <a:gd name="T13" fmla="*/ 18 h 1840"/>
              <a:gd name="T14" fmla="*/ 1870 w 3232"/>
              <a:gd name="T15" fmla="*/ 13 h 1840"/>
              <a:gd name="T16" fmla="*/ 1880 w 3232"/>
              <a:gd name="T17" fmla="*/ 10 h 1840"/>
              <a:gd name="T18" fmla="*/ 1889 w 3232"/>
              <a:gd name="T19" fmla="*/ 7 h 1840"/>
              <a:gd name="T20" fmla="*/ 1899 w 3232"/>
              <a:gd name="T21" fmla="*/ 4 h 1840"/>
              <a:gd name="T22" fmla="*/ 1909 w 3232"/>
              <a:gd name="T23" fmla="*/ 3 h 1840"/>
              <a:gd name="T24" fmla="*/ 1919 w 3232"/>
              <a:gd name="T25" fmla="*/ 1 h 1840"/>
              <a:gd name="T26" fmla="*/ 1928 w 3232"/>
              <a:gd name="T27" fmla="*/ 0 h 1840"/>
              <a:gd name="T28" fmla="*/ 1949 w 3232"/>
              <a:gd name="T29" fmla="*/ 0 h 1840"/>
              <a:gd name="T30" fmla="*/ 1969 w 3232"/>
              <a:gd name="T31" fmla="*/ 4 h 1840"/>
              <a:gd name="T32" fmla="*/ 1989 w 3232"/>
              <a:gd name="T33" fmla="*/ 8 h 1840"/>
              <a:gd name="T34" fmla="*/ 2007 w 3232"/>
              <a:gd name="T35" fmla="*/ 15 h 1840"/>
              <a:gd name="T36" fmla="*/ 2026 w 3232"/>
              <a:gd name="T37" fmla="*/ 25 h 1840"/>
              <a:gd name="T38" fmla="*/ 2045 w 3232"/>
              <a:gd name="T39" fmla="*/ 35 h 1840"/>
              <a:gd name="T40" fmla="*/ 2061 w 3232"/>
              <a:gd name="T41" fmla="*/ 48 h 1840"/>
              <a:gd name="T42" fmla="*/ 2077 w 3232"/>
              <a:gd name="T43" fmla="*/ 63 h 1840"/>
              <a:gd name="T44" fmla="*/ 2092 w 3232"/>
              <a:gd name="T45" fmla="*/ 79 h 1840"/>
              <a:gd name="T46" fmla="*/ 2105 w 3232"/>
              <a:gd name="T47" fmla="*/ 98 h 1840"/>
              <a:gd name="T48" fmla="*/ 3232 w 3232"/>
              <a:gd name="T49" fmla="*/ 1840 h 1840"/>
              <a:gd name="T50" fmla="*/ 0 w 3232"/>
              <a:gd name="T51" fmla="*/ 1840 h 18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232" h="1840">
                <a:moveTo>
                  <a:pt x="0" y="1840"/>
                </a:moveTo>
                <a:lnTo>
                  <a:pt x="1817" y="49"/>
                </a:lnTo>
                <a:lnTo>
                  <a:pt x="1825" y="42"/>
                </a:lnTo>
                <a:lnTo>
                  <a:pt x="1834" y="35"/>
                </a:lnTo>
                <a:lnTo>
                  <a:pt x="1842" y="28"/>
                </a:lnTo>
                <a:lnTo>
                  <a:pt x="1852" y="22"/>
                </a:lnTo>
                <a:lnTo>
                  <a:pt x="1861" y="18"/>
                </a:lnTo>
                <a:lnTo>
                  <a:pt x="1870" y="13"/>
                </a:lnTo>
                <a:lnTo>
                  <a:pt x="1880" y="10"/>
                </a:lnTo>
                <a:lnTo>
                  <a:pt x="1889" y="7"/>
                </a:lnTo>
                <a:lnTo>
                  <a:pt x="1899" y="4"/>
                </a:lnTo>
                <a:lnTo>
                  <a:pt x="1909" y="3"/>
                </a:lnTo>
                <a:lnTo>
                  <a:pt x="1919" y="1"/>
                </a:lnTo>
                <a:lnTo>
                  <a:pt x="1928" y="0"/>
                </a:lnTo>
                <a:lnTo>
                  <a:pt x="1949" y="0"/>
                </a:lnTo>
                <a:lnTo>
                  <a:pt x="1969" y="4"/>
                </a:lnTo>
                <a:lnTo>
                  <a:pt x="1989" y="8"/>
                </a:lnTo>
                <a:lnTo>
                  <a:pt x="2007" y="15"/>
                </a:lnTo>
                <a:lnTo>
                  <a:pt x="2026" y="25"/>
                </a:lnTo>
                <a:lnTo>
                  <a:pt x="2045" y="35"/>
                </a:lnTo>
                <a:lnTo>
                  <a:pt x="2061" y="48"/>
                </a:lnTo>
                <a:lnTo>
                  <a:pt x="2077" y="63"/>
                </a:lnTo>
                <a:lnTo>
                  <a:pt x="2092" y="79"/>
                </a:lnTo>
                <a:lnTo>
                  <a:pt x="2105" y="98"/>
                </a:lnTo>
                <a:lnTo>
                  <a:pt x="3232" y="1840"/>
                </a:lnTo>
                <a:lnTo>
                  <a:pt x="0" y="1840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4" name="Freeform 13"/>
          <p:cNvSpPr>
            <a:spLocks/>
          </p:cNvSpPr>
          <p:nvPr userDrawn="1"/>
        </p:nvSpPr>
        <p:spPr bwMode="auto">
          <a:xfrm>
            <a:off x="5510213" y="4397554"/>
            <a:ext cx="2424906" cy="1976437"/>
          </a:xfrm>
          <a:custGeom>
            <a:avLst/>
            <a:gdLst>
              <a:gd name="T0" fmla="*/ 5548 w 5640"/>
              <a:gd name="T1" fmla="*/ 2360 h 4980"/>
              <a:gd name="T2" fmla="*/ 5567 w 5640"/>
              <a:gd name="T3" fmla="*/ 2372 h 4980"/>
              <a:gd name="T4" fmla="*/ 5584 w 5640"/>
              <a:gd name="T5" fmla="*/ 2385 h 4980"/>
              <a:gd name="T6" fmla="*/ 5598 w 5640"/>
              <a:gd name="T7" fmla="*/ 2400 h 4980"/>
              <a:gd name="T8" fmla="*/ 5611 w 5640"/>
              <a:gd name="T9" fmla="*/ 2415 h 4980"/>
              <a:gd name="T10" fmla="*/ 5621 w 5640"/>
              <a:gd name="T11" fmla="*/ 2432 h 4980"/>
              <a:gd name="T12" fmla="*/ 5629 w 5640"/>
              <a:gd name="T13" fmla="*/ 2451 h 4980"/>
              <a:gd name="T14" fmla="*/ 5639 w 5640"/>
              <a:gd name="T15" fmla="*/ 2490 h 4980"/>
              <a:gd name="T16" fmla="*/ 5640 w 5640"/>
              <a:gd name="T17" fmla="*/ 2531 h 4980"/>
              <a:gd name="T18" fmla="*/ 5632 w 5640"/>
              <a:gd name="T19" fmla="*/ 2572 h 4980"/>
              <a:gd name="T20" fmla="*/ 5616 w 5640"/>
              <a:gd name="T21" fmla="*/ 2611 h 4980"/>
              <a:gd name="T22" fmla="*/ 5591 w 5640"/>
              <a:gd name="T23" fmla="*/ 2648 h 4980"/>
              <a:gd name="T24" fmla="*/ 3873 w 5640"/>
              <a:gd name="T25" fmla="*/ 4768 h 4980"/>
              <a:gd name="T26" fmla="*/ 3834 w 5640"/>
              <a:gd name="T27" fmla="*/ 4811 h 4980"/>
              <a:gd name="T28" fmla="*/ 3792 w 5640"/>
              <a:gd name="T29" fmla="*/ 4850 h 4980"/>
              <a:gd name="T30" fmla="*/ 3750 w 5640"/>
              <a:gd name="T31" fmla="*/ 4882 h 4980"/>
              <a:gd name="T32" fmla="*/ 3707 w 5640"/>
              <a:gd name="T33" fmla="*/ 4910 h 4980"/>
              <a:gd name="T34" fmla="*/ 3664 w 5640"/>
              <a:gd name="T35" fmla="*/ 4933 h 4980"/>
              <a:gd name="T36" fmla="*/ 3620 w 5640"/>
              <a:gd name="T37" fmla="*/ 4952 h 4980"/>
              <a:gd name="T38" fmla="*/ 3576 w 5640"/>
              <a:gd name="T39" fmla="*/ 4966 h 4980"/>
              <a:gd name="T40" fmla="*/ 3530 w 5640"/>
              <a:gd name="T41" fmla="*/ 4975 h 4980"/>
              <a:gd name="T42" fmla="*/ 3486 w 5640"/>
              <a:gd name="T43" fmla="*/ 4980 h 4980"/>
              <a:gd name="T44" fmla="*/ 3441 w 5640"/>
              <a:gd name="T45" fmla="*/ 4980 h 4980"/>
              <a:gd name="T46" fmla="*/ 3397 w 5640"/>
              <a:gd name="T47" fmla="*/ 4976 h 4980"/>
              <a:gd name="T48" fmla="*/ 3351 w 5640"/>
              <a:gd name="T49" fmla="*/ 4968 h 4980"/>
              <a:gd name="T50" fmla="*/ 3306 w 5640"/>
              <a:gd name="T51" fmla="*/ 4957 h 4980"/>
              <a:gd name="T52" fmla="*/ 3262 w 5640"/>
              <a:gd name="T53" fmla="*/ 4941 h 4980"/>
              <a:gd name="T54" fmla="*/ 3218 w 5640"/>
              <a:gd name="T55" fmla="*/ 4923 h 4980"/>
              <a:gd name="T56" fmla="*/ 297 w 5640"/>
              <a:gd name="T57" fmla="*/ 3413 h 4980"/>
              <a:gd name="T58" fmla="*/ 254 w 5640"/>
              <a:gd name="T59" fmla="*/ 3390 h 4980"/>
              <a:gd name="T60" fmla="*/ 215 w 5640"/>
              <a:gd name="T61" fmla="*/ 3363 h 4980"/>
              <a:gd name="T62" fmla="*/ 179 w 5640"/>
              <a:gd name="T63" fmla="*/ 3335 h 4980"/>
              <a:gd name="T64" fmla="*/ 144 w 5640"/>
              <a:gd name="T65" fmla="*/ 3304 h 4980"/>
              <a:gd name="T66" fmla="*/ 113 w 5640"/>
              <a:gd name="T67" fmla="*/ 3270 h 4980"/>
              <a:gd name="T68" fmla="*/ 87 w 5640"/>
              <a:gd name="T69" fmla="*/ 3235 h 4980"/>
              <a:gd name="T70" fmla="*/ 62 w 5640"/>
              <a:gd name="T71" fmla="*/ 3197 h 4980"/>
              <a:gd name="T72" fmla="*/ 43 w 5640"/>
              <a:gd name="T73" fmla="*/ 3156 h 4980"/>
              <a:gd name="T74" fmla="*/ 25 w 5640"/>
              <a:gd name="T75" fmla="*/ 3113 h 4980"/>
              <a:gd name="T76" fmla="*/ 13 w 5640"/>
              <a:gd name="T77" fmla="*/ 3068 h 4980"/>
              <a:gd name="T78" fmla="*/ 4 w 5640"/>
              <a:gd name="T79" fmla="*/ 3020 h 4980"/>
              <a:gd name="T80" fmla="*/ 1 w 5640"/>
              <a:gd name="T81" fmla="*/ 2972 h 4980"/>
              <a:gd name="T82" fmla="*/ 1 w 5640"/>
              <a:gd name="T83" fmla="*/ 2919 h 4980"/>
              <a:gd name="T84" fmla="*/ 5 w 5640"/>
              <a:gd name="T85" fmla="*/ 2865 h 4980"/>
              <a:gd name="T86" fmla="*/ 15 w 5640"/>
              <a:gd name="T87" fmla="*/ 2808 h 4980"/>
              <a:gd name="T88" fmla="*/ 30 w 5640"/>
              <a:gd name="T89" fmla="*/ 2748 h 4980"/>
              <a:gd name="T90" fmla="*/ 764 w 5640"/>
              <a:gd name="T91" fmla="*/ 130 h 4980"/>
              <a:gd name="T92" fmla="*/ 784 w 5640"/>
              <a:gd name="T93" fmla="*/ 90 h 4980"/>
              <a:gd name="T94" fmla="*/ 810 w 5640"/>
              <a:gd name="T95" fmla="*/ 58 h 4980"/>
              <a:gd name="T96" fmla="*/ 841 w 5640"/>
              <a:gd name="T97" fmla="*/ 31 h 4980"/>
              <a:gd name="T98" fmla="*/ 877 w 5640"/>
              <a:gd name="T99" fmla="*/ 11 h 4980"/>
              <a:gd name="T100" fmla="*/ 906 w 5640"/>
              <a:gd name="T101" fmla="*/ 3 h 4980"/>
              <a:gd name="T102" fmla="*/ 926 w 5640"/>
              <a:gd name="T103" fmla="*/ 1 h 4980"/>
              <a:gd name="T104" fmla="*/ 946 w 5640"/>
              <a:gd name="T105" fmla="*/ 0 h 4980"/>
              <a:gd name="T106" fmla="*/ 967 w 5640"/>
              <a:gd name="T107" fmla="*/ 2 h 4980"/>
              <a:gd name="T108" fmla="*/ 986 w 5640"/>
              <a:gd name="T109" fmla="*/ 7 h 4980"/>
              <a:gd name="T110" fmla="*/ 1007 w 5640"/>
              <a:gd name="T111" fmla="*/ 14 h 49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640" h="4980">
                <a:moveTo>
                  <a:pt x="1018" y="20"/>
                </a:moveTo>
                <a:lnTo>
                  <a:pt x="5548" y="2360"/>
                </a:lnTo>
                <a:lnTo>
                  <a:pt x="5557" y="2366"/>
                </a:lnTo>
                <a:lnTo>
                  <a:pt x="5567" y="2372"/>
                </a:lnTo>
                <a:lnTo>
                  <a:pt x="5576" y="2378"/>
                </a:lnTo>
                <a:lnTo>
                  <a:pt x="5584" y="2385"/>
                </a:lnTo>
                <a:lnTo>
                  <a:pt x="5591" y="2392"/>
                </a:lnTo>
                <a:lnTo>
                  <a:pt x="5598" y="2400"/>
                </a:lnTo>
                <a:lnTo>
                  <a:pt x="5605" y="2407"/>
                </a:lnTo>
                <a:lnTo>
                  <a:pt x="5611" y="2415"/>
                </a:lnTo>
                <a:lnTo>
                  <a:pt x="5617" y="2424"/>
                </a:lnTo>
                <a:lnTo>
                  <a:pt x="5621" y="2432"/>
                </a:lnTo>
                <a:lnTo>
                  <a:pt x="5626" y="2442"/>
                </a:lnTo>
                <a:lnTo>
                  <a:pt x="5629" y="2451"/>
                </a:lnTo>
                <a:lnTo>
                  <a:pt x="5635" y="2471"/>
                </a:lnTo>
                <a:lnTo>
                  <a:pt x="5639" y="2490"/>
                </a:lnTo>
                <a:lnTo>
                  <a:pt x="5640" y="2510"/>
                </a:lnTo>
                <a:lnTo>
                  <a:pt x="5640" y="2531"/>
                </a:lnTo>
                <a:lnTo>
                  <a:pt x="5636" y="2551"/>
                </a:lnTo>
                <a:lnTo>
                  <a:pt x="5632" y="2572"/>
                </a:lnTo>
                <a:lnTo>
                  <a:pt x="5625" y="2592"/>
                </a:lnTo>
                <a:lnTo>
                  <a:pt x="5616" y="2611"/>
                </a:lnTo>
                <a:lnTo>
                  <a:pt x="5605" y="2631"/>
                </a:lnTo>
                <a:lnTo>
                  <a:pt x="5591" y="2648"/>
                </a:lnTo>
                <a:lnTo>
                  <a:pt x="3894" y="4745"/>
                </a:lnTo>
                <a:lnTo>
                  <a:pt x="3873" y="4768"/>
                </a:lnTo>
                <a:lnTo>
                  <a:pt x="3854" y="4790"/>
                </a:lnTo>
                <a:lnTo>
                  <a:pt x="3834" y="4811"/>
                </a:lnTo>
                <a:lnTo>
                  <a:pt x="3813" y="4831"/>
                </a:lnTo>
                <a:lnTo>
                  <a:pt x="3792" y="4850"/>
                </a:lnTo>
                <a:lnTo>
                  <a:pt x="3771" y="4867"/>
                </a:lnTo>
                <a:lnTo>
                  <a:pt x="3750" y="4882"/>
                </a:lnTo>
                <a:lnTo>
                  <a:pt x="3729" y="4897"/>
                </a:lnTo>
                <a:lnTo>
                  <a:pt x="3707" y="4910"/>
                </a:lnTo>
                <a:lnTo>
                  <a:pt x="3686" y="4923"/>
                </a:lnTo>
                <a:lnTo>
                  <a:pt x="3664" y="4933"/>
                </a:lnTo>
                <a:lnTo>
                  <a:pt x="3642" y="4944"/>
                </a:lnTo>
                <a:lnTo>
                  <a:pt x="3620" y="4952"/>
                </a:lnTo>
                <a:lnTo>
                  <a:pt x="3598" y="4959"/>
                </a:lnTo>
                <a:lnTo>
                  <a:pt x="3576" y="4966"/>
                </a:lnTo>
                <a:lnTo>
                  <a:pt x="3554" y="4971"/>
                </a:lnTo>
                <a:lnTo>
                  <a:pt x="3530" y="4975"/>
                </a:lnTo>
                <a:lnTo>
                  <a:pt x="3508" y="4978"/>
                </a:lnTo>
                <a:lnTo>
                  <a:pt x="3486" y="4980"/>
                </a:lnTo>
                <a:lnTo>
                  <a:pt x="3464" y="4980"/>
                </a:lnTo>
                <a:lnTo>
                  <a:pt x="3441" y="4980"/>
                </a:lnTo>
                <a:lnTo>
                  <a:pt x="3419" y="4979"/>
                </a:lnTo>
                <a:lnTo>
                  <a:pt x="3397" y="4976"/>
                </a:lnTo>
                <a:lnTo>
                  <a:pt x="3374" y="4973"/>
                </a:lnTo>
                <a:lnTo>
                  <a:pt x="3351" y="4968"/>
                </a:lnTo>
                <a:lnTo>
                  <a:pt x="3329" y="4964"/>
                </a:lnTo>
                <a:lnTo>
                  <a:pt x="3306" y="4957"/>
                </a:lnTo>
                <a:lnTo>
                  <a:pt x="3284" y="4950"/>
                </a:lnTo>
                <a:lnTo>
                  <a:pt x="3262" y="4941"/>
                </a:lnTo>
                <a:lnTo>
                  <a:pt x="3240" y="4932"/>
                </a:lnTo>
                <a:lnTo>
                  <a:pt x="3218" y="4923"/>
                </a:lnTo>
                <a:lnTo>
                  <a:pt x="3196" y="4911"/>
                </a:lnTo>
                <a:lnTo>
                  <a:pt x="297" y="3413"/>
                </a:lnTo>
                <a:lnTo>
                  <a:pt x="275" y="3402"/>
                </a:lnTo>
                <a:lnTo>
                  <a:pt x="254" y="3390"/>
                </a:lnTo>
                <a:lnTo>
                  <a:pt x="234" y="3377"/>
                </a:lnTo>
                <a:lnTo>
                  <a:pt x="215" y="3363"/>
                </a:lnTo>
                <a:lnTo>
                  <a:pt x="196" y="3349"/>
                </a:lnTo>
                <a:lnTo>
                  <a:pt x="179" y="3335"/>
                </a:lnTo>
                <a:lnTo>
                  <a:pt x="161" y="3320"/>
                </a:lnTo>
                <a:lnTo>
                  <a:pt x="144" y="3304"/>
                </a:lnTo>
                <a:lnTo>
                  <a:pt x="129" y="3288"/>
                </a:lnTo>
                <a:lnTo>
                  <a:pt x="113" y="3270"/>
                </a:lnTo>
                <a:lnTo>
                  <a:pt x="99" y="3253"/>
                </a:lnTo>
                <a:lnTo>
                  <a:pt x="87" y="3235"/>
                </a:lnTo>
                <a:lnTo>
                  <a:pt x="74" y="3217"/>
                </a:lnTo>
                <a:lnTo>
                  <a:pt x="62" y="3197"/>
                </a:lnTo>
                <a:lnTo>
                  <a:pt x="52" y="3177"/>
                </a:lnTo>
                <a:lnTo>
                  <a:pt x="43" y="3156"/>
                </a:lnTo>
                <a:lnTo>
                  <a:pt x="33" y="3135"/>
                </a:lnTo>
                <a:lnTo>
                  <a:pt x="25" y="3113"/>
                </a:lnTo>
                <a:lnTo>
                  <a:pt x="18" y="3091"/>
                </a:lnTo>
                <a:lnTo>
                  <a:pt x="13" y="3068"/>
                </a:lnTo>
                <a:lnTo>
                  <a:pt x="8" y="3045"/>
                </a:lnTo>
                <a:lnTo>
                  <a:pt x="4" y="3020"/>
                </a:lnTo>
                <a:lnTo>
                  <a:pt x="2" y="2996"/>
                </a:lnTo>
                <a:lnTo>
                  <a:pt x="1" y="2972"/>
                </a:lnTo>
                <a:lnTo>
                  <a:pt x="0" y="2945"/>
                </a:lnTo>
                <a:lnTo>
                  <a:pt x="1" y="2919"/>
                </a:lnTo>
                <a:lnTo>
                  <a:pt x="2" y="2891"/>
                </a:lnTo>
                <a:lnTo>
                  <a:pt x="5" y="2865"/>
                </a:lnTo>
                <a:lnTo>
                  <a:pt x="10" y="2836"/>
                </a:lnTo>
                <a:lnTo>
                  <a:pt x="15" y="2808"/>
                </a:lnTo>
                <a:lnTo>
                  <a:pt x="22" y="2779"/>
                </a:lnTo>
                <a:lnTo>
                  <a:pt x="30" y="2748"/>
                </a:lnTo>
                <a:lnTo>
                  <a:pt x="757" y="151"/>
                </a:lnTo>
                <a:lnTo>
                  <a:pt x="764" y="130"/>
                </a:lnTo>
                <a:lnTo>
                  <a:pt x="772" y="109"/>
                </a:lnTo>
                <a:lnTo>
                  <a:pt x="784" y="90"/>
                </a:lnTo>
                <a:lnTo>
                  <a:pt x="796" y="73"/>
                </a:lnTo>
                <a:lnTo>
                  <a:pt x="810" y="58"/>
                </a:lnTo>
                <a:lnTo>
                  <a:pt x="825" y="43"/>
                </a:lnTo>
                <a:lnTo>
                  <a:pt x="841" y="31"/>
                </a:lnTo>
                <a:lnTo>
                  <a:pt x="858" y="21"/>
                </a:lnTo>
                <a:lnTo>
                  <a:pt x="877" y="11"/>
                </a:lnTo>
                <a:lnTo>
                  <a:pt x="896" y="6"/>
                </a:lnTo>
                <a:lnTo>
                  <a:pt x="906" y="3"/>
                </a:lnTo>
                <a:lnTo>
                  <a:pt x="915" y="2"/>
                </a:lnTo>
                <a:lnTo>
                  <a:pt x="926" y="1"/>
                </a:lnTo>
                <a:lnTo>
                  <a:pt x="936" y="0"/>
                </a:lnTo>
                <a:lnTo>
                  <a:pt x="946" y="0"/>
                </a:lnTo>
                <a:lnTo>
                  <a:pt x="956" y="1"/>
                </a:lnTo>
                <a:lnTo>
                  <a:pt x="967" y="2"/>
                </a:lnTo>
                <a:lnTo>
                  <a:pt x="977" y="4"/>
                </a:lnTo>
                <a:lnTo>
                  <a:pt x="986" y="7"/>
                </a:lnTo>
                <a:lnTo>
                  <a:pt x="997" y="10"/>
                </a:lnTo>
                <a:lnTo>
                  <a:pt x="1007" y="14"/>
                </a:lnTo>
                <a:lnTo>
                  <a:pt x="1018" y="20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6" name="Группа 15"/>
          <p:cNvGrpSpPr/>
          <p:nvPr userDrawn="1"/>
        </p:nvGrpSpPr>
        <p:grpSpPr>
          <a:xfrm>
            <a:off x="531416" y="487363"/>
            <a:ext cx="2332038" cy="455612"/>
            <a:chOff x="490538" y="487363"/>
            <a:chExt cx="2152650" cy="455612"/>
          </a:xfrm>
        </p:grpSpPr>
        <p:sp>
          <p:nvSpPr>
            <p:cNvPr id="17" name="Freeform 5"/>
            <p:cNvSpPr>
              <a:spLocks noEditPoints="1"/>
            </p:cNvSpPr>
            <p:nvPr userDrawn="1"/>
          </p:nvSpPr>
          <p:spPr bwMode="auto">
            <a:xfrm>
              <a:off x="1144588" y="590550"/>
              <a:ext cx="1498600" cy="247650"/>
            </a:xfrm>
            <a:custGeom>
              <a:avLst/>
              <a:gdLst>
                <a:gd name="T0" fmla="*/ 2465 w 11327"/>
                <a:gd name="T1" fmla="*/ 803 h 1868"/>
                <a:gd name="T2" fmla="*/ 2667 w 11327"/>
                <a:gd name="T3" fmla="*/ 466 h 1868"/>
                <a:gd name="T4" fmla="*/ 3049 w 11327"/>
                <a:gd name="T5" fmla="*/ 345 h 1868"/>
                <a:gd name="T6" fmla="*/ 3430 w 11327"/>
                <a:gd name="T7" fmla="*/ 466 h 1868"/>
                <a:gd name="T8" fmla="*/ 3632 w 11327"/>
                <a:gd name="T9" fmla="*/ 803 h 1868"/>
                <a:gd name="T10" fmla="*/ 3574 w 11327"/>
                <a:gd name="T11" fmla="*/ 1233 h 1868"/>
                <a:gd name="T12" fmla="*/ 3284 w 11327"/>
                <a:gd name="T13" fmla="*/ 1483 h 1868"/>
                <a:gd name="T14" fmla="*/ 2870 w 11327"/>
                <a:gd name="T15" fmla="*/ 1500 h 1868"/>
                <a:gd name="T16" fmla="*/ 2553 w 11327"/>
                <a:gd name="T17" fmla="*/ 1281 h 1868"/>
                <a:gd name="T18" fmla="*/ 4046 w 11327"/>
                <a:gd name="T19" fmla="*/ 882 h 1868"/>
                <a:gd name="T20" fmla="*/ 3784 w 11327"/>
                <a:gd name="T21" fmla="*/ 289 h 1868"/>
                <a:gd name="T22" fmla="*/ 3199 w 11327"/>
                <a:gd name="T23" fmla="*/ 10 h 1868"/>
                <a:gd name="T24" fmla="*/ 2536 w 11327"/>
                <a:gd name="T25" fmla="*/ 125 h 1868"/>
                <a:gd name="T26" fmla="*/ 2113 w 11327"/>
                <a:gd name="T27" fmla="*/ 595 h 1868"/>
                <a:gd name="T28" fmla="*/ 2113 w 11327"/>
                <a:gd name="T29" fmla="*/ 1273 h 1868"/>
                <a:gd name="T30" fmla="*/ 2536 w 11327"/>
                <a:gd name="T31" fmla="*/ 1743 h 1868"/>
                <a:gd name="T32" fmla="*/ 3199 w 11327"/>
                <a:gd name="T33" fmla="*/ 1858 h 1868"/>
                <a:gd name="T34" fmla="*/ 3784 w 11327"/>
                <a:gd name="T35" fmla="*/ 1579 h 1868"/>
                <a:gd name="T36" fmla="*/ 4046 w 11327"/>
                <a:gd name="T37" fmla="*/ 985 h 1868"/>
                <a:gd name="T38" fmla="*/ 4444 w 11327"/>
                <a:gd name="T39" fmla="*/ 1443 h 1868"/>
                <a:gd name="T40" fmla="*/ 4540 w 11327"/>
                <a:gd name="T41" fmla="*/ 1808 h 1868"/>
                <a:gd name="T42" fmla="*/ 4811 w 11327"/>
                <a:gd name="T43" fmla="*/ 1650 h 1868"/>
                <a:gd name="T44" fmla="*/ 5796 w 11327"/>
                <a:gd name="T45" fmla="*/ 403 h 1868"/>
                <a:gd name="T46" fmla="*/ 7304 w 11327"/>
                <a:gd name="T47" fmla="*/ 1292 h 1868"/>
                <a:gd name="T48" fmla="*/ 7673 w 11327"/>
                <a:gd name="T49" fmla="*/ 1730 h 1868"/>
                <a:gd name="T50" fmla="*/ 8267 w 11327"/>
                <a:gd name="T51" fmla="*/ 1867 h 1868"/>
                <a:gd name="T52" fmla="*/ 8871 w 11327"/>
                <a:gd name="T53" fmla="*/ 1653 h 1868"/>
                <a:gd name="T54" fmla="*/ 9178 w 11327"/>
                <a:gd name="T55" fmla="*/ 1094 h 1868"/>
                <a:gd name="T56" fmla="*/ 9049 w 11327"/>
                <a:gd name="T57" fmla="*/ 414 h 1868"/>
                <a:gd name="T58" fmla="*/ 8552 w 11327"/>
                <a:gd name="T59" fmla="*/ 48 h 1868"/>
                <a:gd name="T60" fmla="*/ 7924 w 11327"/>
                <a:gd name="T61" fmla="*/ 36 h 1868"/>
                <a:gd name="T62" fmla="*/ 7459 w 11327"/>
                <a:gd name="T63" fmla="*/ 313 h 1868"/>
                <a:gd name="T64" fmla="*/ 6585 w 11327"/>
                <a:gd name="T65" fmla="*/ 42 h 1868"/>
                <a:gd name="T66" fmla="*/ 7740 w 11327"/>
                <a:gd name="T67" fmla="*/ 563 h 1868"/>
                <a:gd name="T68" fmla="*/ 8053 w 11327"/>
                <a:gd name="T69" fmla="*/ 361 h 1868"/>
                <a:gd name="T70" fmla="*/ 8492 w 11327"/>
                <a:gd name="T71" fmla="*/ 396 h 1868"/>
                <a:gd name="T72" fmla="*/ 8744 w 11327"/>
                <a:gd name="T73" fmla="*/ 660 h 1868"/>
                <a:gd name="T74" fmla="*/ 8775 w 11327"/>
                <a:gd name="T75" fmla="*/ 1095 h 1868"/>
                <a:gd name="T76" fmla="*/ 8585 w 11327"/>
                <a:gd name="T77" fmla="*/ 1418 h 1868"/>
                <a:gd name="T78" fmla="*/ 8182 w 11327"/>
                <a:gd name="T79" fmla="*/ 1522 h 1868"/>
                <a:gd name="T80" fmla="*/ 7807 w 11327"/>
                <a:gd name="T81" fmla="*/ 1385 h 1868"/>
                <a:gd name="T82" fmla="*/ 7649 w 11327"/>
                <a:gd name="T83" fmla="*/ 1033 h 1868"/>
                <a:gd name="T84" fmla="*/ 11121 w 11327"/>
                <a:gd name="T85" fmla="*/ 228 h 1868"/>
                <a:gd name="T86" fmla="*/ 10716 w 11327"/>
                <a:gd name="T87" fmla="*/ 30 h 1868"/>
                <a:gd name="T88" fmla="*/ 10126 w 11327"/>
                <a:gd name="T89" fmla="*/ 37 h 1868"/>
                <a:gd name="T90" fmla="*/ 9598 w 11327"/>
                <a:gd name="T91" fmla="*/ 385 h 1868"/>
                <a:gd name="T92" fmla="*/ 9435 w 11327"/>
                <a:gd name="T93" fmla="*/ 1039 h 1868"/>
                <a:gd name="T94" fmla="*/ 9714 w 11327"/>
                <a:gd name="T95" fmla="*/ 1617 h 1868"/>
                <a:gd name="T96" fmla="*/ 10320 w 11327"/>
                <a:gd name="T97" fmla="*/ 1863 h 1868"/>
                <a:gd name="T98" fmla="*/ 10845 w 11327"/>
                <a:gd name="T99" fmla="*/ 1799 h 1868"/>
                <a:gd name="T100" fmla="*/ 11211 w 11327"/>
                <a:gd name="T101" fmla="*/ 1551 h 1868"/>
                <a:gd name="T102" fmla="*/ 10919 w 11327"/>
                <a:gd name="T103" fmla="*/ 1325 h 1868"/>
                <a:gd name="T104" fmla="*/ 10676 w 11327"/>
                <a:gd name="T105" fmla="*/ 1473 h 1868"/>
                <a:gd name="T106" fmla="*/ 10324 w 11327"/>
                <a:gd name="T107" fmla="*/ 1504 h 1868"/>
                <a:gd name="T108" fmla="*/ 9975 w 11327"/>
                <a:gd name="T109" fmla="*/ 1332 h 1868"/>
                <a:gd name="T110" fmla="*/ 9831 w 11327"/>
                <a:gd name="T111" fmla="*/ 966 h 1868"/>
                <a:gd name="T112" fmla="*/ 9938 w 11327"/>
                <a:gd name="T113" fmla="*/ 575 h 1868"/>
                <a:gd name="T114" fmla="*/ 10261 w 11327"/>
                <a:gd name="T115" fmla="*/ 373 h 1868"/>
                <a:gd name="T116" fmla="*/ 10634 w 11327"/>
                <a:gd name="T117" fmla="*/ 382 h 1868"/>
                <a:gd name="T118" fmla="*/ 10890 w 11327"/>
                <a:gd name="T119" fmla="*/ 515 h 1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27" h="1868">
                  <a:moveTo>
                    <a:pt x="0" y="42"/>
                  </a:moveTo>
                  <a:lnTo>
                    <a:pt x="0" y="1822"/>
                  </a:lnTo>
                  <a:lnTo>
                    <a:pt x="399" y="1822"/>
                  </a:lnTo>
                  <a:lnTo>
                    <a:pt x="399" y="400"/>
                  </a:lnTo>
                  <a:lnTo>
                    <a:pt x="1352" y="400"/>
                  </a:lnTo>
                  <a:lnTo>
                    <a:pt x="1352" y="1822"/>
                  </a:lnTo>
                  <a:lnTo>
                    <a:pt x="1755" y="1822"/>
                  </a:lnTo>
                  <a:lnTo>
                    <a:pt x="1755" y="42"/>
                  </a:lnTo>
                  <a:lnTo>
                    <a:pt x="0" y="42"/>
                  </a:lnTo>
                  <a:close/>
                  <a:moveTo>
                    <a:pt x="2454" y="933"/>
                  </a:moveTo>
                  <a:lnTo>
                    <a:pt x="2454" y="900"/>
                  </a:lnTo>
                  <a:lnTo>
                    <a:pt x="2457" y="866"/>
                  </a:lnTo>
                  <a:lnTo>
                    <a:pt x="2460" y="835"/>
                  </a:lnTo>
                  <a:lnTo>
                    <a:pt x="2465" y="803"/>
                  </a:lnTo>
                  <a:lnTo>
                    <a:pt x="2472" y="773"/>
                  </a:lnTo>
                  <a:lnTo>
                    <a:pt x="2480" y="743"/>
                  </a:lnTo>
                  <a:lnTo>
                    <a:pt x="2489" y="715"/>
                  </a:lnTo>
                  <a:lnTo>
                    <a:pt x="2499" y="686"/>
                  </a:lnTo>
                  <a:lnTo>
                    <a:pt x="2511" y="660"/>
                  </a:lnTo>
                  <a:lnTo>
                    <a:pt x="2524" y="634"/>
                  </a:lnTo>
                  <a:lnTo>
                    <a:pt x="2538" y="610"/>
                  </a:lnTo>
                  <a:lnTo>
                    <a:pt x="2553" y="586"/>
                  </a:lnTo>
                  <a:lnTo>
                    <a:pt x="2570" y="563"/>
                  </a:lnTo>
                  <a:lnTo>
                    <a:pt x="2588" y="542"/>
                  </a:lnTo>
                  <a:lnTo>
                    <a:pt x="2606" y="521"/>
                  </a:lnTo>
                  <a:lnTo>
                    <a:pt x="2626" y="501"/>
                  </a:lnTo>
                  <a:lnTo>
                    <a:pt x="2646" y="483"/>
                  </a:lnTo>
                  <a:lnTo>
                    <a:pt x="2667" y="466"/>
                  </a:lnTo>
                  <a:lnTo>
                    <a:pt x="2691" y="449"/>
                  </a:lnTo>
                  <a:lnTo>
                    <a:pt x="2713" y="434"/>
                  </a:lnTo>
                  <a:lnTo>
                    <a:pt x="2737" y="420"/>
                  </a:lnTo>
                  <a:lnTo>
                    <a:pt x="2763" y="408"/>
                  </a:lnTo>
                  <a:lnTo>
                    <a:pt x="2788" y="396"/>
                  </a:lnTo>
                  <a:lnTo>
                    <a:pt x="2815" y="385"/>
                  </a:lnTo>
                  <a:lnTo>
                    <a:pt x="2842" y="375"/>
                  </a:lnTo>
                  <a:lnTo>
                    <a:pt x="2870" y="367"/>
                  </a:lnTo>
                  <a:lnTo>
                    <a:pt x="2898" y="361"/>
                  </a:lnTo>
                  <a:lnTo>
                    <a:pt x="2928" y="355"/>
                  </a:lnTo>
                  <a:lnTo>
                    <a:pt x="2957" y="351"/>
                  </a:lnTo>
                  <a:lnTo>
                    <a:pt x="2988" y="347"/>
                  </a:lnTo>
                  <a:lnTo>
                    <a:pt x="3018" y="345"/>
                  </a:lnTo>
                  <a:lnTo>
                    <a:pt x="3049" y="345"/>
                  </a:lnTo>
                  <a:lnTo>
                    <a:pt x="3080" y="345"/>
                  </a:lnTo>
                  <a:lnTo>
                    <a:pt x="3111" y="347"/>
                  </a:lnTo>
                  <a:lnTo>
                    <a:pt x="3141" y="351"/>
                  </a:lnTo>
                  <a:lnTo>
                    <a:pt x="3171" y="355"/>
                  </a:lnTo>
                  <a:lnTo>
                    <a:pt x="3200" y="361"/>
                  </a:lnTo>
                  <a:lnTo>
                    <a:pt x="3229" y="367"/>
                  </a:lnTo>
                  <a:lnTo>
                    <a:pt x="3256" y="375"/>
                  </a:lnTo>
                  <a:lnTo>
                    <a:pt x="3284" y="385"/>
                  </a:lnTo>
                  <a:lnTo>
                    <a:pt x="3310" y="396"/>
                  </a:lnTo>
                  <a:lnTo>
                    <a:pt x="3335" y="408"/>
                  </a:lnTo>
                  <a:lnTo>
                    <a:pt x="3361" y="420"/>
                  </a:lnTo>
                  <a:lnTo>
                    <a:pt x="3384" y="434"/>
                  </a:lnTo>
                  <a:lnTo>
                    <a:pt x="3408" y="449"/>
                  </a:lnTo>
                  <a:lnTo>
                    <a:pt x="3430" y="466"/>
                  </a:lnTo>
                  <a:lnTo>
                    <a:pt x="3452" y="483"/>
                  </a:lnTo>
                  <a:lnTo>
                    <a:pt x="3473" y="501"/>
                  </a:lnTo>
                  <a:lnTo>
                    <a:pt x="3492" y="521"/>
                  </a:lnTo>
                  <a:lnTo>
                    <a:pt x="3510" y="542"/>
                  </a:lnTo>
                  <a:lnTo>
                    <a:pt x="3528" y="563"/>
                  </a:lnTo>
                  <a:lnTo>
                    <a:pt x="3545" y="586"/>
                  </a:lnTo>
                  <a:lnTo>
                    <a:pt x="3560" y="610"/>
                  </a:lnTo>
                  <a:lnTo>
                    <a:pt x="3574" y="634"/>
                  </a:lnTo>
                  <a:lnTo>
                    <a:pt x="3587" y="660"/>
                  </a:lnTo>
                  <a:lnTo>
                    <a:pt x="3599" y="686"/>
                  </a:lnTo>
                  <a:lnTo>
                    <a:pt x="3609" y="715"/>
                  </a:lnTo>
                  <a:lnTo>
                    <a:pt x="3618" y="743"/>
                  </a:lnTo>
                  <a:lnTo>
                    <a:pt x="3626" y="773"/>
                  </a:lnTo>
                  <a:lnTo>
                    <a:pt x="3632" y="803"/>
                  </a:lnTo>
                  <a:lnTo>
                    <a:pt x="3637" y="835"/>
                  </a:lnTo>
                  <a:lnTo>
                    <a:pt x="3642" y="866"/>
                  </a:lnTo>
                  <a:lnTo>
                    <a:pt x="3644" y="900"/>
                  </a:lnTo>
                  <a:lnTo>
                    <a:pt x="3645" y="933"/>
                  </a:lnTo>
                  <a:lnTo>
                    <a:pt x="3644" y="968"/>
                  </a:lnTo>
                  <a:lnTo>
                    <a:pt x="3642" y="1001"/>
                  </a:lnTo>
                  <a:lnTo>
                    <a:pt x="3637" y="1033"/>
                  </a:lnTo>
                  <a:lnTo>
                    <a:pt x="3632" y="1065"/>
                  </a:lnTo>
                  <a:lnTo>
                    <a:pt x="3626" y="1095"/>
                  </a:lnTo>
                  <a:lnTo>
                    <a:pt x="3618" y="1125"/>
                  </a:lnTo>
                  <a:lnTo>
                    <a:pt x="3609" y="1153"/>
                  </a:lnTo>
                  <a:lnTo>
                    <a:pt x="3599" y="1181"/>
                  </a:lnTo>
                  <a:lnTo>
                    <a:pt x="3587" y="1207"/>
                  </a:lnTo>
                  <a:lnTo>
                    <a:pt x="3574" y="1233"/>
                  </a:lnTo>
                  <a:lnTo>
                    <a:pt x="3560" y="1258"/>
                  </a:lnTo>
                  <a:lnTo>
                    <a:pt x="3545" y="1281"/>
                  </a:lnTo>
                  <a:lnTo>
                    <a:pt x="3528" y="1305"/>
                  </a:lnTo>
                  <a:lnTo>
                    <a:pt x="3510" y="1326"/>
                  </a:lnTo>
                  <a:lnTo>
                    <a:pt x="3492" y="1346"/>
                  </a:lnTo>
                  <a:lnTo>
                    <a:pt x="3473" y="1366"/>
                  </a:lnTo>
                  <a:lnTo>
                    <a:pt x="3452" y="1385"/>
                  </a:lnTo>
                  <a:lnTo>
                    <a:pt x="3430" y="1402"/>
                  </a:lnTo>
                  <a:lnTo>
                    <a:pt x="3408" y="1418"/>
                  </a:lnTo>
                  <a:lnTo>
                    <a:pt x="3384" y="1434"/>
                  </a:lnTo>
                  <a:lnTo>
                    <a:pt x="3361" y="1447"/>
                  </a:lnTo>
                  <a:lnTo>
                    <a:pt x="3335" y="1460"/>
                  </a:lnTo>
                  <a:lnTo>
                    <a:pt x="3310" y="1472"/>
                  </a:lnTo>
                  <a:lnTo>
                    <a:pt x="3284" y="1483"/>
                  </a:lnTo>
                  <a:lnTo>
                    <a:pt x="3256" y="1492"/>
                  </a:lnTo>
                  <a:lnTo>
                    <a:pt x="3229" y="1500"/>
                  </a:lnTo>
                  <a:lnTo>
                    <a:pt x="3200" y="1507"/>
                  </a:lnTo>
                  <a:lnTo>
                    <a:pt x="3171" y="1513"/>
                  </a:lnTo>
                  <a:lnTo>
                    <a:pt x="3141" y="1517"/>
                  </a:lnTo>
                  <a:lnTo>
                    <a:pt x="3111" y="1520"/>
                  </a:lnTo>
                  <a:lnTo>
                    <a:pt x="3080" y="1522"/>
                  </a:lnTo>
                  <a:lnTo>
                    <a:pt x="3049" y="1523"/>
                  </a:lnTo>
                  <a:lnTo>
                    <a:pt x="3018" y="1522"/>
                  </a:lnTo>
                  <a:lnTo>
                    <a:pt x="2988" y="1520"/>
                  </a:lnTo>
                  <a:lnTo>
                    <a:pt x="2957" y="1517"/>
                  </a:lnTo>
                  <a:lnTo>
                    <a:pt x="2928" y="1513"/>
                  </a:lnTo>
                  <a:lnTo>
                    <a:pt x="2898" y="1507"/>
                  </a:lnTo>
                  <a:lnTo>
                    <a:pt x="2870" y="1500"/>
                  </a:lnTo>
                  <a:lnTo>
                    <a:pt x="2842" y="1492"/>
                  </a:lnTo>
                  <a:lnTo>
                    <a:pt x="2815" y="1483"/>
                  </a:lnTo>
                  <a:lnTo>
                    <a:pt x="2788" y="1472"/>
                  </a:lnTo>
                  <a:lnTo>
                    <a:pt x="2763" y="1460"/>
                  </a:lnTo>
                  <a:lnTo>
                    <a:pt x="2737" y="1447"/>
                  </a:lnTo>
                  <a:lnTo>
                    <a:pt x="2713" y="1434"/>
                  </a:lnTo>
                  <a:lnTo>
                    <a:pt x="2691" y="1418"/>
                  </a:lnTo>
                  <a:lnTo>
                    <a:pt x="2667" y="1402"/>
                  </a:lnTo>
                  <a:lnTo>
                    <a:pt x="2646" y="1385"/>
                  </a:lnTo>
                  <a:lnTo>
                    <a:pt x="2626" y="1366"/>
                  </a:lnTo>
                  <a:lnTo>
                    <a:pt x="2606" y="1346"/>
                  </a:lnTo>
                  <a:lnTo>
                    <a:pt x="2588" y="1326"/>
                  </a:lnTo>
                  <a:lnTo>
                    <a:pt x="2570" y="1305"/>
                  </a:lnTo>
                  <a:lnTo>
                    <a:pt x="2553" y="1281"/>
                  </a:lnTo>
                  <a:lnTo>
                    <a:pt x="2538" y="1258"/>
                  </a:lnTo>
                  <a:lnTo>
                    <a:pt x="2524" y="1233"/>
                  </a:lnTo>
                  <a:lnTo>
                    <a:pt x="2511" y="1207"/>
                  </a:lnTo>
                  <a:lnTo>
                    <a:pt x="2499" y="1181"/>
                  </a:lnTo>
                  <a:lnTo>
                    <a:pt x="2489" y="1153"/>
                  </a:lnTo>
                  <a:lnTo>
                    <a:pt x="2480" y="1125"/>
                  </a:lnTo>
                  <a:lnTo>
                    <a:pt x="2472" y="1095"/>
                  </a:lnTo>
                  <a:lnTo>
                    <a:pt x="2465" y="1065"/>
                  </a:lnTo>
                  <a:lnTo>
                    <a:pt x="2460" y="1033"/>
                  </a:lnTo>
                  <a:lnTo>
                    <a:pt x="2457" y="1001"/>
                  </a:lnTo>
                  <a:lnTo>
                    <a:pt x="2454" y="968"/>
                  </a:lnTo>
                  <a:lnTo>
                    <a:pt x="2454" y="933"/>
                  </a:lnTo>
                  <a:close/>
                  <a:moveTo>
                    <a:pt x="4047" y="933"/>
                  </a:moveTo>
                  <a:lnTo>
                    <a:pt x="4046" y="882"/>
                  </a:lnTo>
                  <a:lnTo>
                    <a:pt x="4042" y="831"/>
                  </a:lnTo>
                  <a:lnTo>
                    <a:pt x="4035" y="781"/>
                  </a:lnTo>
                  <a:lnTo>
                    <a:pt x="4026" y="733"/>
                  </a:lnTo>
                  <a:lnTo>
                    <a:pt x="4015" y="685"/>
                  </a:lnTo>
                  <a:lnTo>
                    <a:pt x="4002" y="640"/>
                  </a:lnTo>
                  <a:lnTo>
                    <a:pt x="3985" y="595"/>
                  </a:lnTo>
                  <a:lnTo>
                    <a:pt x="3967" y="551"/>
                  </a:lnTo>
                  <a:lnTo>
                    <a:pt x="3947" y="509"/>
                  </a:lnTo>
                  <a:lnTo>
                    <a:pt x="3924" y="469"/>
                  </a:lnTo>
                  <a:lnTo>
                    <a:pt x="3900" y="430"/>
                  </a:lnTo>
                  <a:lnTo>
                    <a:pt x="3874" y="392"/>
                  </a:lnTo>
                  <a:lnTo>
                    <a:pt x="3846" y="356"/>
                  </a:lnTo>
                  <a:lnTo>
                    <a:pt x="3815" y="321"/>
                  </a:lnTo>
                  <a:lnTo>
                    <a:pt x="3784" y="289"/>
                  </a:lnTo>
                  <a:lnTo>
                    <a:pt x="3751" y="257"/>
                  </a:lnTo>
                  <a:lnTo>
                    <a:pt x="3716" y="227"/>
                  </a:lnTo>
                  <a:lnTo>
                    <a:pt x="3679" y="199"/>
                  </a:lnTo>
                  <a:lnTo>
                    <a:pt x="3642" y="173"/>
                  </a:lnTo>
                  <a:lnTo>
                    <a:pt x="3603" y="147"/>
                  </a:lnTo>
                  <a:lnTo>
                    <a:pt x="3562" y="125"/>
                  </a:lnTo>
                  <a:lnTo>
                    <a:pt x="3521" y="104"/>
                  </a:lnTo>
                  <a:lnTo>
                    <a:pt x="3477" y="84"/>
                  </a:lnTo>
                  <a:lnTo>
                    <a:pt x="3433" y="67"/>
                  </a:lnTo>
                  <a:lnTo>
                    <a:pt x="3388" y="52"/>
                  </a:lnTo>
                  <a:lnTo>
                    <a:pt x="3342" y="39"/>
                  </a:lnTo>
                  <a:lnTo>
                    <a:pt x="3295" y="26"/>
                  </a:lnTo>
                  <a:lnTo>
                    <a:pt x="3247" y="17"/>
                  </a:lnTo>
                  <a:lnTo>
                    <a:pt x="3199" y="10"/>
                  </a:lnTo>
                  <a:lnTo>
                    <a:pt x="3149" y="4"/>
                  </a:lnTo>
                  <a:lnTo>
                    <a:pt x="3099" y="1"/>
                  </a:lnTo>
                  <a:lnTo>
                    <a:pt x="3049" y="0"/>
                  </a:lnTo>
                  <a:lnTo>
                    <a:pt x="2999" y="1"/>
                  </a:lnTo>
                  <a:lnTo>
                    <a:pt x="2949" y="4"/>
                  </a:lnTo>
                  <a:lnTo>
                    <a:pt x="2899" y="10"/>
                  </a:lnTo>
                  <a:lnTo>
                    <a:pt x="2851" y="17"/>
                  </a:lnTo>
                  <a:lnTo>
                    <a:pt x="2804" y="26"/>
                  </a:lnTo>
                  <a:lnTo>
                    <a:pt x="2756" y="39"/>
                  </a:lnTo>
                  <a:lnTo>
                    <a:pt x="2710" y="52"/>
                  </a:lnTo>
                  <a:lnTo>
                    <a:pt x="2665" y="67"/>
                  </a:lnTo>
                  <a:lnTo>
                    <a:pt x="2620" y="84"/>
                  </a:lnTo>
                  <a:lnTo>
                    <a:pt x="2578" y="104"/>
                  </a:lnTo>
                  <a:lnTo>
                    <a:pt x="2536" y="125"/>
                  </a:lnTo>
                  <a:lnTo>
                    <a:pt x="2495" y="147"/>
                  </a:lnTo>
                  <a:lnTo>
                    <a:pt x="2457" y="173"/>
                  </a:lnTo>
                  <a:lnTo>
                    <a:pt x="2418" y="199"/>
                  </a:lnTo>
                  <a:lnTo>
                    <a:pt x="2382" y="227"/>
                  </a:lnTo>
                  <a:lnTo>
                    <a:pt x="2347" y="257"/>
                  </a:lnTo>
                  <a:lnTo>
                    <a:pt x="2313" y="289"/>
                  </a:lnTo>
                  <a:lnTo>
                    <a:pt x="2282" y="321"/>
                  </a:lnTo>
                  <a:lnTo>
                    <a:pt x="2252" y="356"/>
                  </a:lnTo>
                  <a:lnTo>
                    <a:pt x="2224" y="392"/>
                  </a:lnTo>
                  <a:lnTo>
                    <a:pt x="2197" y="430"/>
                  </a:lnTo>
                  <a:lnTo>
                    <a:pt x="2173" y="469"/>
                  </a:lnTo>
                  <a:lnTo>
                    <a:pt x="2152" y="509"/>
                  </a:lnTo>
                  <a:lnTo>
                    <a:pt x="2131" y="551"/>
                  </a:lnTo>
                  <a:lnTo>
                    <a:pt x="2113" y="595"/>
                  </a:lnTo>
                  <a:lnTo>
                    <a:pt x="2097" y="640"/>
                  </a:lnTo>
                  <a:lnTo>
                    <a:pt x="2083" y="685"/>
                  </a:lnTo>
                  <a:lnTo>
                    <a:pt x="2071" y="733"/>
                  </a:lnTo>
                  <a:lnTo>
                    <a:pt x="2063" y="781"/>
                  </a:lnTo>
                  <a:lnTo>
                    <a:pt x="2056" y="831"/>
                  </a:lnTo>
                  <a:lnTo>
                    <a:pt x="2052" y="882"/>
                  </a:lnTo>
                  <a:lnTo>
                    <a:pt x="2051" y="933"/>
                  </a:lnTo>
                  <a:lnTo>
                    <a:pt x="2052" y="985"/>
                  </a:lnTo>
                  <a:lnTo>
                    <a:pt x="2056" y="1036"/>
                  </a:lnTo>
                  <a:lnTo>
                    <a:pt x="2063" y="1086"/>
                  </a:lnTo>
                  <a:lnTo>
                    <a:pt x="2071" y="1135"/>
                  </a:lnTo>
                  <a:lnTo>
                    <a:pt x="2083" y="1182"/>
                  </a:lnTo>
                  <a:lnTo>
                    <a:pt x="2097" y="1228"/>
                  </a:lnTo>
                  <a:lnTo>
                    <a:pt x="2113" y="1273"/>
                  </a:lnTo>
                  <a:lnTo>
                    <a:pt x="2131" y="1316"/>
                  </a:lnTo>
                  <a:lnTo>
                    <a:pt x="2152" y="1357"/>
                  </a:lnTo>
                  <a:lnTo>
                    <a:pt x="2173" y="1398"/>
                  </a:lnTo>
                  <a:lnTo>
                    <a:pt x="2197" y="1438"/>
                  </a:lnTo>
                  <a:lnTo>
                    <a:pt x="2224" y="1475"/>
                  </a:lnTo>
                  <a:lnTo>
                    <a:pt x="2252" y="1512"/>
                  </a:lnTo>
                  <a:lnTo>
                    <a:pt x="2282" y="1547"/>
                  </a:lnTo>
                  <a:lnTo>
                    <a:pt x="2313" y="1579"/>
                  </a:lnTo>
                  <a:lnTo>
                    <a:pt x="2347" y="1611"/>
                  </a:lnTo>
                  <a:lnTo>
                    <a:pt x="2382" y="1640"/>
                  </a:lnTo>
                  <a:lnTo>
                    <a:pt x="2418" y="1669"/>
                  </a:lnTo>
                  <a:lnTo>
                    <a:pt x="2457" y="1695"/>
                  </a:lnTo>
                  <a:lnTo>
                    <a:pt x="2495" y="1719"/>
                  </a:lnTo>
                  <a:lnTo>
                    <a:pt x="2536" y="1743"/>
                  </a:lnTo>
                  <a:lnTo>
                    <a:pt x="2578" y="1764"/>
                  </a:lnTo>
                  <a:lnTo>
                    <a:pt x="2620" y="1782"/>
                  </a:lnTo>
                  <a:lnTo>
                    <a:pt x="2665" y="1801"/>
                  </a:lnTo>
                  <a:lnTo>
                    <a:pt x="2710" y="1816"/>
                  </a:lnTo>
                  <a:lnTo>
                    <a:pt x="2756" y="1829"/>
                  </a:lnTo>
                  <a:lnTo>
                    <a:pt x="2804" y="1840"/>
                  </a:lnTo>
                  <a:lnTo>
                    <a:pt x="2851" y="1851"/>
                  </a:lnTo>
                  <a:lnTo>
                    <a:pt x="2899" y="1858"/>
                  </a:lnTo>
                  <a:lnTo>
                    <a:pt x="2949" y="1863"/>
                  </a:lnTo>
                  <a:lnTo>
                    <a:pt x="2999" y="1866"/>
                  </a:lnTo>
                  <a:lnTo>
                    <a:pt x="3049" y="1868"/>
                  </a:lnTo>
                  <a:lnTo>
                    <a:pt x="3099" y="1866"/>
                  </a:lnTo>
                  <a:lnTo>
                    <a:pt x="3149" y="1863"/>
                  </a:lnTo>
                  <a:lnTo>
                    <a:pt x="3199" y="1858"/>
                  </a:lnTo>
                  <a:lnTo>
                    <a:pt x="3247" y="1851"/>
                  </a:lnTo>
                  <a:lnTo>
                    <a:pt x="3295" y="1840"/>
                  </a:lnTo>
                  <a:lnTo>
                    <a:pt x="3342" y="1829"/>
                  </a:lnTo>
                  <a:lnTo>
                    <a:pt x="3388" y="1816"/>
                  </a:lnTo>
                  <a:lnTo>
                    <a:pt x="3433" y="1801"/>
                  </a:lnTo>
                  <a:lnTo>
                    <a:pt x="3477" y="1782"/>
                  </a:lnTo>
                  <a:lnTo>
                    <a:pt x="3521" y="1764"/>
                  </a:lnTo>
                  <a:lnTo>
                    <a:pt x="3562" y="1743"/>
                  </a:lnTo>
                  <a:lnTo>
                    <a:pt x="3603" y="1719"/>
                  </a:lnTo>
                  <a:lnTo>
                    <a:pt x="3642" y="1695"/>
                  </a:lnTo>
                  <a:lnTo>
                    <a:pt x="3679" y="1669"/>
                  </a:lnTo>
                  <a:lnTo>
                    <a:pt x="3716" y="1640"/>
                  </a:lnTo>
                  <a:lnTo>
                    <a:pt x="3751" y="1611"/>
                  </a:lnTo>
                  <a:lnTo>
                    <a:pt x="3784" y="1579"/>
                  </a:lnTo>
                  <a:lnTo>
                    <a:pt x="3815" y="1547"/>
                  </a:lnTo>
                  <a:lnTo>
                    <a:pt x="3846" y="1512"/>
                  </a:lnTo>
                  <a:lnTo>
                    <a:pt x="3874" y="1475"/>
                  </a:lnTo>
                  <a:lnTo>
                    <a:pt x="3900" y="1438"/>
                  </a:lnTo>
                  <a:lnTo>
                    <a:pt x="3924" y="1398"/>
                  </a:lnTo>
                  <a:lnTo>
                    <a:pt x="3947" y="1357"/>
                  </a:lnTo>
                  <a:lnTo>
                    <a:pt x="3967" y="1316"/>
                  </a:lnTo>
                  <a:lnTo>
                    <a:pt x="3985" y="1273"/>
                  </a:lnTo>
                  <a:lnTo>
                    <a:pt x="4002" y="1228"/>
                  </a:lnTo>
                  <a:lnTo>
                    <a:pt x="4015" y="1182"/>
                  </a:lnTo>
                  <a:lnTo>
                    <a:pt x="4026" y="1135"/>
                  </a:lnTo>
                  <a:lnTo>
                    <a:pt x="4035" y="1086"/>
                  </a:lnTo>
                  <a:lnTo>
                    <a:pt x="4042" y="1036"/>
                  </a:lnTo>
                  <a:lnTo>
                    <a:pt x="4046" y="985"/>
                  </a:lnTo>
                  <a:lnTo>
                    <a:pt x="4047" y="933"/>
                  </a:lnTo>
                  <a:close/>
                  <a:moveTo>
                    <a:pt x="4779" y="42"/>
                  </a:moveTo>
                  <a:lnTo>
                    <a:pt x="4540" y="1317"/>
                  </a:lnTo>
                  <a:lnTo>
                    <a:pt x="4535" y="1334"/>
                  </a:lnTo>
                  <a:lnTo>
                    <a:pt x="4530" y="1350"/>
                  </a:lnTo>
                  <a:lnTo>
                    <a:pt x="4524" y="1366"/>
                  </a:lnTo>
                  <a:lnTo>
                    <a:pt x="4517" y="1379"/>
                  </a:lnTo>
                  <a:lnTo>
                    <a:pt x="4510" y="1392"/>
                  </a:lnTo>
                  <a:lnTo>
                    <a:pt x="4501" y="1403"/>
                  </a:lnTo>
                  <a:lnTo>
                    <a:pt x="4491" y="1413"/>
                  </a:lnTo>
                  <a:lnTo>
                    <a:pt x="4481" y="1423"/>
                  </a:lnTo>
                  <a:lnTo>
                    <a:pt x="4469" y="1431"/>
                  </a:lnTo>
                  <a:lnTo>
                    <a:pt x="4457" y="1437"/>
                  </a:lnTo>
                  <a:lnTo>
                    <a:pt x="4444" y="1443"/>
                  </a:lnTo>
                  <a:lnTo>
                    <a:pt x="4430" y="1447"/>
                  </a:lnTo>
                  <a:lnTo>
                    <a:pt x="4415" y="1451"/>
                  </a:lnTo>
                  <a:lnTo>
                    <a:pt x="4399" y="1453"/>
                  </a:lnTo>
                  <a:lnTo>
                    <a:pt x="4383" y="1455"/>
                  </a:lnTo>
                  <a:lnTo>
                    <a:pt x="4366" y="1455"/>
                  </a:lnTo>
                  <a:lnTo>
                    <a:pt x="4172" y="1455"/>
                  </a:lnTo>
                  <a:lnTo>
                    <a:pt x="4172" y="1822"/>
                  </a:lnTo>
                  <a:lnTo>
                    <a:pt x="4385" y="1822"/>
                  </a:lnTo>
                  <a:lnTo>
                    <a:pt x="4412" y="1822"/>
                  </a:lnTo>
                  <a:lnTo>
                    <a:pt x="4439" y="1821"/>
                  </a:lnTo>
                  <a:lnTo>
                    <a:pt x="4465" y="1819"/>
                  </a:lnTo>
                  <a:lnTo>
                    <a:pt x="4491" y="1816"/>
                  </a:lnTo>
                  <a:lnTo>
                    <a:pt x="4515" y="1812"/>
                  </a:lnTo>
                  <a:lnTo>
                    <a:pt x="4540" y="1808"/>
                  </a:lnTo>
                  <a:lnTo>
                    <a:pt x="4563" y="1802"/>
                  </a:lnTo>
                  <a:lnTo>
                    <a:pt x="4586" y="1796"/>
                  </a:lnTo>
                  <a:lnTo>
                    <a:pt x="4609" y="1789"/>
                  </a:lnTo>
                  <a:lnTo>
                    <a:pt x="4630" y="1780"/>
                  </a:lnTo>
                  <a:lnTo>
                    <a:pt x="4651" y="1771"/>
                  </a:lnTo>
                  <a:lnTo>
                    <a:pt x="4672" y="1762"/>
                  </a:lnTo>
                  <a:lnTo>
                    <a:pt x="4692" y="1751"/>
                  </a:lnTo>
                  <a:lnTo>
                    <a:pt x="4710" y="1740"/>
                  </a:lnTo>
                  <a:lnTo>
                    <a:pt x="4730" y="1728"/>
                  </a:lnTo>
                  <a:lnTo>
                    <a:pt x="4747" y="1713"/>
                  </a:lnTo>
                  <a:lnTo>
                    <a:pt x="4764" y="1699"/>
                  </a:lnTo>
                  <a:lnTo>
                    <a:pt x="4781" y="1684"/>
                  </a:lnTo>
                  <a:lnTo>
                    <a:pt x="4796" y="1668"/>
                  </a:lnTo>
                  <a:lnTo>
                    <a:pt x="4811" y="1650"/>
                  </a:lnTo>
                  <a:lnTo>
                    <a:pt x="4825" y="1633"/>
                  </a:lnTo>
                  <a:lnTo>
                    <a:pt x="4839" y="1614"/>
                  </a:lnTo>
                  <a:lnTo>
                    <a:pt x="4852" y="1593"/>
                  </a:lnTo>
                  <a:lnTo>
                    <a:pt x="4864" y="1572"/>
                  </a:lnTo>
                  <a:lnTo>
                    <a:pt x="4875" y="1551"/>
                  </a:lnTo>
                  <a:lnTo>
                    <a:pt x="4885" y="1527"/>
                  </a:lnTo>
                  <a:lnTo>
                    <a:pt x="4895" y="1504"/>
                  </a:lnTo>
                  <a:lnTo>
                    <a:pt x="4905" y="1478"/>
                  </a:lnTo>
                  <a:lnTo>
                    <a:pt x="4913" y="1452"/>
                  </a:lnTo>
                  <a:lnTo>
                    <a:pt x="4920" y="1426"/>
                  </a:lnTo>
                  <a:lnTo>
                    <a:pt x="4927" y="1397"/>
                  </a:lnTo>
                  <a:lnTo>
                    <a:pt x="4932" y="1369"/>
                  </a:lnTo>
                  <a:lnTo>
                    <a:pt x="5113" y="403"/>
                  </a:lnTo>
                  <a:lnTo>
                    <a:pt x="5796" y="403"/>
                  </a:lnTo>
                  <a:lnTo>
                    <a:pt x="5796" y="1822"/>
                  </a:lnTo>
                  <a:lnTo>
                    <a:pt x="6198" y="1822"/>
                  </a:lnTo>
                  <a:lnTo>
                    <a:pt x="6198" y="42"/>
                  </a:lnTo>
                  <a:lnTo>
                    <a:pt x="4779" y="42"/>
                  </a:lnTo>
                  <a:close/>
                  <a:moveTo>
                    <a:pt x="6585" y="42"/>
                  </a:moveTo>
                  <a:lnTo>
                    <a:pt x="6585" y="1822"/>
                  </a:lnTo>
                  <a:lnTo>
                    <a:pt x="6980" y="1822"/>
                  </a:lnTo>
                  <a:lnTo>
                    <a:pt x="6980" y="1069"/>
                  </a:lnTo>
                  <a:lnTo>
                    <a:pt x="7251" y="1069"/>
                  </a:lnTo>
                  <a:lnTo>
                    <a:pt x="7258" y="1116"/>
                  </a:lnTo>
                  <a:lnTo>
                    <a:pt x="7266" y="1162"/>
                  </a:lnTo>
                  <a:lnTo>
                    <a:pt x="7277" y="1207"/>
                  </a:lnTo>
                  <a:lnTo>
                    <a:pt x="7290" y="1251"/>
                  </a:lnTo>
                  <a:lnTo>
                    <a:pt x="7304" y="1292"/>
                  </a:lnTo>
                  <a:lnTo>
                    <a:pt x="7320" y="1333"/>
                  </a:lnTo>
                  <a:lnTo>
                    <a:pt x="7338" y="1372"/>
                  </a:lnTo>
                  <a:lnTo>
                    <a:pt x="7358" y="1409"/>
                  </a:lnTo>
                  <a:lnTo>
                    <a:pt x="7379" y="1446"/>
                  </a:lnTo>
                  <a:lnTo>
                    <a:pt x="7402" y="1482"/>
                  </a:lnTo>
                  <a:lnTo>
                    <a:pt x="7427" y="1514"/>
                  </a:lnTo>
                  <a:lnTo>
                    <a:pt x="7452" y="1547"/>
                  </a:lnTo>
                  <a:lnTo>
                    <a:pt x="7480" y="1577"/>
                  </a:lnTo>
                  <a:lnTo>
                    <a:pt x="7509" y="1607"/>
                  </a:lnTo>
                  <a:lnTo>
                    <a:pt x="7540" y="1634"/>
                  </a:lnTo>
                  <a:lnTo>
                    <a:pt x="7571" y="1660"/>
                  </a:lnTo>
                  <a:lnTo>
                    <a:pt x="7604" y="1685"/>
                  </a:lnTo>
                  <a:lnTo>
                    <a:pt x="7637" y="1708"/>
                  </a:lnTo>
                  <a:lnTo>
                    <a:pt x="7673" y="1730"/>
                  </a:lnTo>
                  <a:lnTo>
                    <a:pt x="7710" y="1750"/>
                  </a:lnTo>
                  <a:lnTo>
                    <a:pt x="7747" y="1768"/>
                  </a:lnTo>
                  <a:lnTo>
                    <a:pt x="7786" y="1786"/>
                  </a:lnTo>
                  <a:lnTo>
                    <a:pt x="7824" y="1801"/>
                  </a:lnTo>
                  <a:lnTo>
                    <a:pt x="7865" y="1815"/>
                  </a:lnTo>
                  <a:lnTo>
                    <a:pt x="7907" y="1827"/>
                  </a:lnTo>
                  <a:lnTo>
                    <a:pt x="7949" y="1837"/>
                  </a:lnTo>
                  <a:lnTo>
                    <a:pt x="7991" y="1847"/>
                  </a:lnTo>
                  <a:lnTo>
                    <a:pt x="8035" y="1854"/>
                  </a:lnTo>
                  <a:lnTo>
                    <a:pt x="8080" y="1860"/>
                  </a:lnTo>
                  <a:lnTo>
                    <a:pt x="8124" y="1864"/>
                  </a:lnTo>
                  <a:lnTo>
                    <a:pt x="8170" y="1867"/>
                  </a:lnTo>
                  <a:lnTo>
                    <a:pt x="8217" y="1868"/>
                  </a:lnTo>
                  <a:lnTo>
                    <a:pt x="8267" y="1867"/>
                  </a:lnTo>
                  <a:lnTo>
                    <a:pt x="8317" y="1864"/>
                  </a:lnTo>
                  <a:lnTo>
                    <a:pt x="8364" y="1859"/>
                  </a:lnTo>
                  <a:lnTo>
                    <a:pt x="8413" y="1852"/>
                  </a:lnTo>
                  <a:lnTo>
                    <a:pt x="8460" y="1842"/>
                  </a:lnTo>
                  <a:lnTo>
                    <a:pt x="8506" y="1832"/>
                  </a:lnTo>
                  <a:lnTo>
                    <a:pt x="8552" y="1820"/>
                  </a:lnTo>
                  <a:lnTo>
                    <a:pt x="8595" y="1805"/>
                  </a:lnTo>
                  <a:lnTo>
                    <a:pt x="8639" y="1789"/>
                  </a:lnTo>
                  <a:lnTo>
                    <a:pt x="8681" y="1771"/>
                  </a:lnTo>
                  <a:lnTo>
                    <a:pt x="8721" y="1751"/>
                  </a:lnTo>
                  <a:lnTo>
                    <a:pt x="8761" y="1729"/>
                  </a:lnTo>
                  <a:lnTo>
                    <a:pt x="8799" y="1705"/>
                  </a:lnTo>
                  <a:lnTo>
                    <a:pt x="8835" y="1680"/>
                  </a:lnTo>
                  <a:lnTo>
                    <a:pt x="8871" y="1653"/>
                  </a:lnTo>
                  <a:lnTo>
                    <a:pt x="8905" y="1624"/>
                  </a:lnTo>
                  <a:lnTo>
                    <a:pt x="8937" y="1593"/>
                  </a:lnTo>
                  <a:lnTo>
                    <a:pt x="8968" y="1561"/>
                  </a:lnTo>
                  <a:lnTo>
                    <a:pt x="8996" y="1526"/>
                  </a:lnTo>
                  <a:lnTo>
                    <a:pt x="9023" y="1491"/>
                  </a:lnTo>
                  <a:lnTo>
                    <a:pt x="9049" y="1453"/>
                  </a:lnTo>
                  <a:lnTo>
                    <a:pt x="9072" y="1414"/>
                  </a:lnTo>
                  <a:lnTo>
                    <a:pt x="9094" y="1374"/>
                  </a:lnTo>
                  <a:lnTo>
                    <a:pt x="9113" y="1331"/>
                  </a:lnTo>
                  <a:lnTo>
                    <a:pt x="9130" y="1287"/>
                  </a:lnTo>
                  <a:lnTo>
                    <a:pt x="9146" y="1242"/>
                  </a:lnTo>
                  <a:lnTo>
                    <a:pt x="9159" y="1194"/>
                  </a:lnTo>
                  <a:lnTo>
                    <a:pt x="9169" y="1145"/>
                  </a:lnTo>
                  <a:lnTo>
                    <a:pt x="9178" y="1094"/>
                  </a:lnTo>
                  <a:lnTo>
                    <a:pt x="9184" y="1042"/>
                  </a:lnTo>
                  <a:lnTo>
                    <a:pt x="9188" y="988"/>
                  </a:lnTo>
                  <a:lnTo>
                    <a:pt x="9189" y="933"/>
                  </a:lnTo>
                  <a:lnTo>
                    <a:pt x="9188" y="879"/>
                  </a:lnTo>
                  <a:lnTo>
                    <a:pt x="9184" y="825"/>
                  </a:lnTo>
                  <a:lnTo>
                    <a:pt x="9178" y="773"/>
                  </a:lnTo>
                  <a:lnTo>
                    <a:pt x="9169" y="723"/>
                  </a:lnTo>
                  <a:lnTo>
                    <a:pt x="9159" y="674"/>
                  </a:lnTo>
                  <a:lnTo>
                    <a:pt x="9146" y="626"/>
                  </a:lnTo>
                  <a:lnTo>
                    <a:pt x="9130" y="581"/>
                  </a:lnTo>
                  <a:lnTo>
                    <a:pt x="9113" y="537"/>
                  </a:lnTo>
                  <a:lnTo>
                    <a:pt x="9094" y="494"/>
                  </a:lnTo>
                  <a:lnTo>
                    <a:pt x="9072" y="453"/>
                  </a:lnTo>
                  <a:lnTo>
                    <a:pt x="9049" y="414"/>
                  </a:lnTo>
                  <a:lnTo>
                    <a:pt x="9023" y="376"/>
                  </a:lnTo>
                  <a:lnTo>
                    <a:pt x="8996" y="341"/>
                  </a:lnTo>
                  <a:lnTo>
                    <a:pt x="8968" y="307"/>
                  </a:lnTo>
                  <a:lnTo>
                    <a:pt x="8937" y="275"/>
                  </a:lnTo>
                  <a:lnTo>
                    <a:pt x="8905" y="244"/>
                  </a:lnTo>
                  <a:lnTo>
                    <a:pt x="8871" y="215"/>
                  </a:lnTo>
                  <a:lnTo>
                    <a:pt x="8835" y="187"/>
                  </a:lnTo>
                  <a:lnTo>
                    <a:pt x="8799" y="162"/>
                  </a:lnTo>
                  <a:lnTo>
                    <a:pt x="8761" y="138"/>
                  </a:lnTo>
                  <a:lnTo>
                    <a:pt x="8721" y="117"/>
                  </a:lnTo>
                  <a:lnTo>
                    <a:pt x="8681" y="97"/>
                  </a:lnTo>
                  <a:lnTo>
                    <a:pt x="8639" y="78"/>
                  </a:lnTo>
                  <a:lnTo>
                    <a:pt x="8595" y="62"/>
                  </a:lnTo>
                  <a:lnTo>
                    <a:pt x="8552" y="48"/>
                  </a:lnTo>
                  <a:lnTo>
                    <a:pt x="8506" y="36"/>
                  </a:lnTo>
                  <a:lnTo>
                    <a:pt x="8460" y="24"/>
                  </a:lnTo>
                  <a:lnTo>
                    <a:pt x="8413" y="16"/>
                  </a:lnTo>
                  <a:lnTo>
                    <a:pt x="8364" y="9"/>
                  </a:lnTo>
                  <a:lnTo>
                    <a:pt x="8317" y="4"/>
                  </a:lnTo>
                  <a:lnTo>
                    <a:pt x="8267" y="1"/>
                  </a:lnTo>
                  <a:lnTo>
                    <a:pt x="8217" y="0"/>
                  </a:lnTo>
                  <a:lnTo>
                    <a:pt x="8173" y="1"/>
                  </a:lnTo>
                  <a:lnTo>
                    <a:pt x="8131" y="3"/>
                  </a:lnTo>
                  <a:lnTo>
                    <a:pt x="8088" y="7"/>
                  </a:lnTo>
                  <a:lnTo>
                    <a:pt x="8046" y="12"/>
                  </a:lnTo>
                  <a:lnTo>
                    <a:pt x="8004" y="18"/>
                  </a:lnTo>
                  <a:lnTo>
                    <a:pt x="7964" y="26"/>
                  </a:lnTo>
                  <a:lnTo>
                    <a:pt x="7924" y="36"/>
                  </a:lnTo>
                  <a:lnTo>
                    <a:pt x="7884" y="47"/>
                  </a:lnTo>
                  <a:lnTo>
                    <a:pt x="7846" y="59"/>
                  </a:lnTo>
                  <a:lnTo>
                    <a:pt x="7808" y="73"/>
                  </a:lnTo>
                  <a:lnTo>
                    <a:pt x="7772" y="88"/>
                  </a:lnTo>
                  <a:lnTo>
                    <a:pt x="7736" y="105"/>
                  </a:lnTo>
                  <a:lnTo>
                    <a:pt x="7700" y="122"/>
                  </a:lnTo>
                  <a:lnTo>
                    <a:pt x="7667" y="141"/>
                  </a:lnTo>
                  <a:lnTo>
                    <a:pt x="7633" y="162"/>
                  </a:lnTo>
                  <a:lnTo>
                    <a:pt x="7602" y="184"/>
                  </a:lnTo>
                  <a:lnTo>
                    <a:pt x="7571" y="207"/>
                  </a:lnTo>
                  <a:lnTo>
                    <a:pt x="7542" y="232"/>
                  </a:lnTo>
                  <a:lnTo>
                    <a:pt x="7512" y="257"/>
                  </a:lnTo>
                  <a:lnTo>
                    <a:pt x="7486" y="285"/>
                  </a:lnTo>
                  <a:lnTo>
                    <a:pt x="7459" y="313"/>
                  </a:lnTo>
                  <a:lnTo>
                    <a:pt x="7435" y="343"/>
                  </a:lnTo>
                  <a:lnTo>
                    <a:pt x="7412" y="374"/>
                  </a:lnTo>
                  <a:lnTo>
                    <a:pt x="7389" y="406"/>
                  </a:lnTo>
                  <a:lnTo>
                    <a:pt x="7369" y="439"/>
                  </a:lnTo>
                  <a:lnTo>
                    <a:pt x="7350" y="475"/>
                  </a:lnTo>
                  <a:lnTo>
                    <a:pt x="7331" y="510"/>
                  </a:lnTo>
                  <a:lnTo>
                    <a:pt x="7315" y="548"/>
                  </a:lnTo>
                  <a:lnTo>
                    <a:pt x="7301" y="586"/>
                  </a:lnTo>
                  <a:lnTo>
                    <a:pt x="7287" y="625"/>
                  </a:lnTo>
                  <a:lnTo>
                    <a:pt x="7276" y="666"/>
                  </a:lnTo>
                  <a:lnTo>
                    <a:pt x="7267" y="709"/>
                  </a:lnTo>
                  <a:lnTo>
                    <a:pt x="6980" y="709"/>
                  </a:lnTo>
                  <a:lnTo>
                    <a:pt x="6980" y="42"/>
                  </a:lnTo>
                  <a:lnTo>
                    <a:pt x="6585" y="42"/>
                  </a:lnTo>
                  <a:close/>
                  <a:moveTo>
                    <a:pt x="7643" y="933"/>
                  </a:moveTo>
                  <a:lnTo>
                    <a:pt x="7644" y="900"/>
                  </a:lnTo>
                  <a:lnTo>
                    <a:pt x="7645" y="866"/>
                  </a:lnTo>
                  <a:lnTo>
                    <a:pt x="7649" y="835"/>
                  </a:lnTo>
                  <a:lnTo>
                    <a:pt x="7653" y="803"/>
                  </a:lnTo>
                  <a:lnTo>
                    <a:pt x="7658" y="773"/>
                  </a:lnTo>
                  <a:lnTo>
                    <a:pt x="7664" y="743"/>
                  </a:lnTo>
                  <a:lnTo>
                    <a:pt x="7672" y="715"/>
                  </a:lnTo>
                  <a:lnTo>
                    <a:pt x="7680" y="686"/>
                  </a:lnTo>
                  <a:lnTo>
                    <a:pt x="7690" y="660"/>
                  </a:lnTo>
                  <a:lnTo>
                    <a:pt x="7700" y="634"/>
                  </a:lnTo>
                  <a:lnTo>
                    <a:pt x="7713" y="610"/>
                  </a:lnTo>
                  <a:lnTo>
                    <a:pt x="7726" y="586"/>
                  </a:lnTo>
                  <a:lnTo>
                    <a:pt x="7740" y="563"/>
                  </a:lnTo>
                  <a:lnTo>
                    <a:pt x="7755" y="542"/>
                  </a:lnTo>
                  <a:lnTo>
                    <a:pt x="7772" y="521"/>
                  </a:lnTo>
                  <a:lnTo>
                    <a:pt x="7789" y="501"/>
                  </a:lnTo>
                  <a:lnTo>
                    <a:pt x="7807" y="483"/>
                  </a:lnTo>
                  <a:lnTo>
                    <a:pt x="7828" y="466"/>
                  </a:lnTo>
                  <a:lnTo>
                    <a:pt x="7848" y="449"/>
                  </a:lnTo>
                  <a:lnTo>
                    <a:pt x="7870" y="434"/>
                  </a:lnTo>
                  <a:lnTo>
                    <a:pt x="7893" y="420"/>
                  </a:lnTo>
                  <a:lnTo>
                    <a:pt x="7917" y="408"/>
                  </a:lnTo>
                  <a:lnTo>
                    <a:pt x="7942" y="396"/>
                  </a:lnTo>
                  <a:lnTo>
                    <a:pt x="7968" y="385"/>
                  </a:lnTo>
                  <a:lnTo>
                    <a:pt x="7995" y="375"/>
                  </a:lnTo>
                  <a:lnTo>
                    <a:pt x="8024" y="367"/>
                  </a:lnTo>
                  <a:lnTo>
                    <a:pt x="8053" y="361"/>
                  </a:lnTo>
                  <a:lnTo>
                    <a:pt x="8084" y="355"/>
                  </a:lnTo>
                  <a:lnTo>
                    <a:pt x="8115" y="351"/>
                  </a:lnTo>
                  <a:lnTo>
                    <a:pt x="8148" y="347"/>
                  </a:lnTo>
                  <a:lnTo>
                    <a:pt x="8182" y="345"/>
                  </a:lnTo>
                  <a:lnTo>
                    <a:pt x="8217" y="345"/>
                  </a:lnTo>
                  <a:lnTo>
                    <a:pt x="8252" y="345"/>
                  </a:lnTo>
                  <a:lnTo>
                    <a:pt x="8285" y="347"/>
                  </a:lnTo>
                  <a:lnTo>
                    <a:pt x="8318" y="351"/>
                  </a:lnTo>
                  <a:lnTo>
                    <a:pt x="8349" y="355"/>
                  </a:lnTo>
                  <a:lnTo>
                    <a:pt x="8380" y="361"/>
                  </a:lnTo>
                  <a:lnTo>
                    <a:pt x="8409" y="367"/>
                  </a:lnTo>
                  <a:lnTo>
                    <a:pt x="8438" y="375"/>
                  </a:lnTo>
                  <a:lnTo>
                    <a:pt x="8465" y="385"/>
                  </a:lnTo>
                  <a:lnTo>
                    <a:pt x="8492" y="396"/>
                  </a:lnTo>
                  <a:lnTo>
                    <a:pt x="8517" y="408"/>
                  </a:lnTo>
                  <a:lnTo>
                    <a:pt x="8540" y="420"/>
                  </a:lnTo>
                  <a:lnTo>
                    <a:pt x="8564" y="434"/>
                  </a:lnTo>
                  <a:lnTo>
                    <a:pt x="8585" y="449"/>
                  </a:lnTo>
                  <a:lnTo>
                    <a:pt x="8607" y="466"/>
                  </a:lnTo>
                  <a:lnTo>
                    <a:pt x="8626" y="483"/>
                  </a:lnTo>
                  <a:lnTo>
                    <a:pt x="8644" y="501"/>
                  </a:lnTo>
                  <a:lnTo>
                    <a:pt x="8662" y="521"/>
                  </a:lnTo>
                  <a:lnTo>
                    <a:pt x="8679" y="542"/>
                  </a:lnTo>
                  <a:lnTo>
                    <a:pt x="8694" y="563"/>
                  </a:lnTo>
                  <a:lnTo>
                    <a:pt x="8708" y="586"/>
                  </a:lnTo>
                  <a:lnTo>
                    <a:pt x="8720" y="610"/>
                  </a:lnTo>
                  <a:lnTo>
                    <a:pt x="8733" y="634"/>
                  </a:lnTo>
                  <a:lnTo>
                    <a:pt x="8744" y="660"/>
                  </a:lnTo>
                  <a:lnTo>
                    <a:pt x="8753" y="686"/>
                  </a:lnTo>
                  <a:lnTo>
                    <a:pt x="8762" y="715"/>
                  </a:lnTo>
                  <a:lnTo>
                    <a:pt x="8769" y="743"/>
                  </a:lnTo>
                  <a:lnTo>
                    <a:pt x="8775" y="773"/>
                  </a:lnTo>
                  <a:lnTo>
                    <a:pt x="8780" y="803"/>
                  </a:lnTo>
                  <a:lnTo>
                    <a:pt x="8785" y="835"/>
                  </a:lnTo>
                  <a:lnTo>
                    <a:pt x="8788" y="866"/>
                  </a:lnTo>
                  <a:lnTo>
                    <a:pt x="8790" y="900"/>
                  </a:lnTo>
                  <a:lnTo>
                    <a:pt x="8790" y="933"/>
                  </a:lnTo>
                  <a:lnTo>
                    <a:pt x="8790" y="968"/>
                  </a:lnTo>
                  <a:lnTo>
                    <a:pt x="8788" y="1001"/>
                  </a:lnTo>
                  <a:lnTo>
                    <a:pt x="8785" y="1033"/>
                  </a:lnTo>
                  <a:lnTo>
                    <a:pt x="8780" y="1065"/>
                  </a:lnTo>
                  <a:lnTo>
                    <a:pt x="8775" y="1095"/>
                  </a:lnTo>
                  <a:lnTo>
                    <a:pt x="8769" y="1125"/>
                  </a:lnTo>
                  <a:lnTo>
                    <a:pt x="8762" y="1153"/>
                  </a:lnTo>
                  <a:lnTo>
                    <a:pt x="8753" y="1181"/>
                  </a:lnTo>
                  <a:lnTo>
                    <a:pt x="8744" y="1207"/>
                  </a:lnTo>
                  <a:lnTo>
                    <a:pt x="8733" y="1233"/>
                  </a:lnTo>
                  <a:lnTo>
                    <a:pt x="8720" y="1258"/>
                  </a:lnTo>
                  <a:lnTo>
                    <a:pt x="8708" y="1281"/>
                  </a:lnTo>
                  <a:lnTo>
                    <a:pt x="8694" y="1305"/>
                  </a:lnTo>
                  <a:lnTo>
                    <a:pt x="8679" y="1326"/>
                  </a:lnTo>
                  <a:lnTo>
                    <a:pt x="8662" y="1346"/>
                  </a:lnTo>
                  <a:lnTo>
                    <a:pt x="8644" y="1366"/>
                  </a:lnTo>
                  <a:lnTo>
                    <a:pt x="8626" y="1385"/>
                  </a:lnTo>
                  <a:lnTo>
                    <a:pt x="8607" y="1402"/>
                  </a:lnTo>
                  <a:lnTo>
                    <a:pt x="8585" y="1418"/>
                  </a:lnTo>
                  <a:lnTo>
                    <a:pt x="8564" y="1434"/>
                  </a:lnTo>
                  <a:lnTo>
                    <a:pt x="8540" y="1447"/>
                  </a:lnTo>
                  <a:lnTo>
                    <a:pt x="8517" y="1460"/>
                  </a:lnTo>
                  <a:lnTo>
                    <a:pt x="8492" y="1472"/>
                  </a:lnTo>
                  <a:lnTo>
                    <a:pt x="8465" y="1483"/>
                  </a:lnTo>
                  <a:lnTo>
                    <a:pt x="8438" y="1492"/>
                  </a:lnTo>
                  <a:lnTo>
                    <a:pt x="8409" y="1500"/>
                  </a:lnTo>
                  <a:lnTo>
                    <a:pt x="8380" y="1507"/>
                  </a:lnTo>
                  <a:lnTo>
                    <a:pt x="8349" y="1513"/>
                  </a:lnTo>
                  <a:lnTo>
                    <a:pt x="8318" y="1517"/>
                  </a:lnTo>
                  <a:lnTo>
                    <a:pt x="8285" y="1520"/>
                  </a:lnTo>
                  <a:lnTo>
                    <a:pt x="8252" y="1522"/>
                  </a:lnTo>
                  <a:lnTo>
                    <a:pt x="8217" y="1523"/>
                  </a:lnTo>
                  <a:lnTo>
                    <a:pt x="8182" y="1522"/>
                  </a:lnTo>
                  <a:lnTo>
                    <a:pt x="8148" y="1520"/>
                  </a:lnTo>
                  <a:lnTo>
                    <a:pt x="8115" y="1517"/>
                  </a:lnTo>
                  <a:lnTo>
                    <a:pt x="8084" y="1513"/>
                  </a:lnTo>
                  <a:lnTo>
                    <a:pt x="8053" y="1507"/>
                  </a:lnTo>
                  <a:lnTo>
                    <a:pt x="8024" y="1500"/>
                  </a:lnTo>
                  <a:lnTo>
                    <a:pt x="7995" y="1492"/>
                  </a:lnTo>
                  <a:lnTo>
                    <a:pt x="7968" y="1483"/>
                  </a:lnTo>
                  <a:lnTo>
                    <a:pt x="7942" y="1472"/>
                  </a:lnTo>
                  <a:lnTo>
                    <a:pt x="7917" y="1460"/>
                  </a:lnTo>
                  <a:lnTo>
                    <a:pt x="7893" y="1447"/>
                  </a:lnTo>
                  <a:lnTo>
                    <a:pt x="7870" y="1434"/>
                  </a:lnTo>
                  <a:lnTo>
                    <a:pt x="7848" y="1418"/>
                  </a:lnTo>
                  <a:lnTo>
                    <a:pt x="7828" y="1402"/>
                  </a:lnTo>
                  <a:lnTo>
                    <a:pt x="7807" y="1385"/>
                  </a:lnTo>
                  <a:lnTo>
                    <a:pt x="7789" y="1366"/>
                  </a:lnTo>
                  <a:lnTo>
                    <a:pt x="7772" y="1346"/>
                  </a:lnTo>
                  <a:lnTo>
                    <a:pt x="7755" y="1326"/>
                  </a:lnTo>
                  <a:lnTo>
                    <a:pt x="7740" y="1305"/>
                  </a:lnTo>
                  <a:lnTo>
                    <a:pt x="7726" y="1281"/>
                  </a:lnTo>
                  <a:lnTo>
                    <a:pt x="7713" y="1258"/>
                  </a:lnTo>
                  <a:lnTo>
                    <a:pt x="7700" y="1233"/>
                  </a:lnTo>
                  <a:lnTo>
                    <a:pt x="7690" y="1207"/>
                  </a:lnTo>
                  <a:lnTo>
                    <a:pt x="7680" y="1181"/>
                  </a:lnTo>
                  <a:lnTo>
                    <a:pt x="7672" y="1153"/>
                  </a:lnTo>
                  <a:lnTo>
                    <a:pt x="7664" y="1125"/>
                  </a:lnTo>
                  <a:lnTo>
                    <a:pt x="7658" y="1095"/>
                  </a:lnTo>
                  <a:lnTo>
                    <a:pt x="7653" y="1065"/>
                  </a:lnTo>
                  <a:lnTo>
                    <a:pt x="7649" y="1033"/>
                  </a:lnTo>
                  <a:lnTo>
                    <a:pt x="7645" y="1001"/>
                  </a:lnTo>
                  <a:lnTo>
                    <a:pt x="7644" y="968"/>
                  </a:lnTo>
                  <a:lnTo>
                    <a:pt x="7643" y="933"/>
                  </a:lnTo>
                  <a:close/>
                  <a:moveTo>
                    <a:pt x="11327" y="477"/>
                  </a:moveTo>
                  <a:lnTo>
                    <a:pt x="11310" y="447"/>
                  </a:lnTo>
                  <a:lnTo>
                    <a:pt x="11291" y="420"/>
                  </a:lnTo>
                  <a:lnTo>
                    <a:pt x="11272" y="392"/>
                  </a:lnTo>
                  <a:lnTo>
                    <a:pt x="11253" y="366"/>
                  </a:lnTo>
                  <a:lnTo>
                    <a:pt x="11232" y="341"/>
                  </a:lnTo>
                  <a:lnTo>
                    <a:pt x="11211" y="316"/>
                  </a:lnTo>
                  <a:lnTo>
                    <a:pt x="11190" y="293"/>
                  </a:lnTo>
                  <a:lnTo>
                    <a:pt x="11167" y="270"/>
                  </a:lnTo>
                  <a:lnTo>
                    <a:pt x="11144" y="248"/>
                  </a:lnTo>
                  <a:lnTo>
                    <a:pt x="11121" y="228"/>
                  </a:lnTo>
                  <a:lnTo>
                    <a:pt x="11096" y="207"/>
                  </a:lnTo>
                  <a:lnTo>
                    <a:pt x="11071" y="188"/>
                  </a:lnTo>
                  <a:lnTo>
                    <a:pt x="11045" y="171"/>
                  </a:lnTo>
                  <a:lnTo>
                    <a:pt x="11018" y="154"/>
                  </a:lnTo>
                  <a:lnTo>
                    <a:pt x="10991" y="136"/>
                  </a:lnTo>
                  <a:lnTo>
                    <a:pt x="10963" y="121"/>
                  </a:lnTo>
                  <a:lnTo>
                    <a:pt x="10934" y="107"/>
                  </a:lnTo>
                  <a:lnTo>
                    <a:pt x="10905" y="93"/>
                  </a:lnTo>
                  <a:lnTo>
                    <a:pt x="10875" y="80"/>
                  </a:lnTo>
                  <a:lnTo>
                    <a:pt x="10845" y="68"/>
                  </a:lnTo>
                  <a:lnTo>
                    <a:pt x="10813" y="58"/>
                  </a:lnTo>
                  <a:lnTo>
                    <a:pt x="10782" y="48"/>
                  </a:lnTo>
                  <a:lnTo>
                    <a:pt x="10749" y="39"/>
                  </a:lnTo>
                  <a:lnTo>
                    <a:pt x="10716" y="30"/>
                  </a:lnTo>
                  <a:lnTo>
                    <a:pt x="10682" y="23"/>
                  </a:lnTo>
                  <a:lnTo>
                    <a:pt x="10648" y="17"/>
                  </a:lnTo>
                  <a:lnTo>
                    <a:pt x="10612" y="12"/>
                  </a:lnTo>
                  <a:lnTo>
                    <a:pt x="10576" y="8"/>
                  </a:lnTo>
                  <a:lnTo>
                    <a:pt x="10540" y="4"/>
                  </a:lnTo>
                  <a:lnTo>
                    <a:pt x="10502" y="2"/>
                  </a:lnTo>
                  <a:lnTo>
                    <a:pt x="10465" y="1"/>
                  </a:lnTo>
                  <a:lnTo>
                    <a:pt x="10426" y="0"/>
                  </a:lnTo>
                  <a:lnTo>
                    <a:pt x="10373" y="1"/>
                  </a:lnTo>
                  <a:lnTo>
                    <a:pt x="10322" y="4"/>
                  </a:lnTo>
                  <a:lnTo>
                    <a:pt x="10271" y="9"/>
                  </a:lnTo>
                  <a:lnTo>
                    <a:pt x="10222" y="16"/>
                  </a:lnTo>
                  <a:lnTo>
                    <a:pt x="10174" y="25"/>
                  </a:lnTo>
                  <a:lnTo>
                    <a:pt x="10126" y="37"/>
                  </a:lnTo>
                  <a:lnTo>
                    <a:pt x="10079" y="50"/>
                  </a:lnTo>
                  <a:lnTo>
                    <a:pt x="10033" y="65"/>
                  </a:lnTo>
                  <a:lnTo>
                    <a:pt x="9990" y="81"/>
                  </a:lnTo>
                  <a:lnTo>
                    <a:pt x="9947" y="101"/>
                  </a:lnTo>
                  <a:lnTo>
                    <a:pt x="9905" y="121"/>
                  </a:lnTo>
                  <a:lnTo>
                    <a:pt x="9865" y="143"/>
                  </a:lnTo>
                  <a:lnTo>
                    <a:pt x="9826" y="168"/>
                  </a:lnTo>
                  <a:lnTo>
                    <a:pt x="9788" y="194"/>
                  </a:lnTo>
                  <a:lnTo>
                    <a:pt x="9753" y="222"/>
                  </a:lnTo>
                  <a:lnTo>
                    <a:pt x="9718" y="251"/>
                  </a:lnTo>
                  <a:lnTo>
                    <a:pt x="9686" y="282"/>
                  </a:lnTo>
                  <a:lnTo>
                    <a:pt x="9654" y="314"/>
                  </a:lnTo>
                  <a:lnTo>
                    <a:pt x="9626" y="349"/>
                  </a:lnTo>
                  <a:lnTo>
                    <a:pt x="9598" y="385"/>
                  </a:lnTo>
                  <a:lnTo>
                    <a:pt x="9572" y="423"/>
                  </a:lnTo>
                  <a:lnTo>
                    <a:pt x="9548" y="462"/>
                  </a:lnTo>
                  <a:lnTo>
                    <a:pt x="9527" y="502"/>
                  </a:lnTo>
                  <a:lnTo>
                    <a:pt x="9508" y="545"/>
                  </a:lnTo>
                  <a:lnTo>
                    <a:pt x="9489" y="589"/>
                  </a:lnTo>
                  <a:lnTo>
                    <a:pt x="9474" y="633"/>
                  </a:lnTo>
                  <a:lnTo>
                    <a:pt x="9461" y="680"/>
                  </a:lnTo>
                  <a:lnTo>
                    <a:pt x="9451" y="728"/>
                  </a:lnTo>
                  <a:lnTo>
                    <a:pt x="9441" y="778"/>
                  </a:lnTo>
                  <a:lnTo>
                    <a:pt x="9435" y="829"/>
                  </a:lnTo>
                  <a:lnTo>
                    <a:pt x="9432" y="881"/>
                  </a:lnTo>
                  <a:lnTo>
                    <a:pt x="9430" y="933"/>
                  </a:lnTo>
                  <a:lnTo>
                    <a:pt x="9431" y="987"/>
                  </a:lnTo>
                  <a:lnTo>
                    <a:pt x="9435" y="1039"/>
                  </a:lnTo>
                  <a:lnTo>
                    <a:pt x="9441" y="1090"/>
                  </a:lnTo>
                  <a:lnTo>
                    <a:pt x="9450" y="1139"/>
                  </a:lnTo>
                  <a:lnTo>
                    <a:pt x="9461" y="1188"/>
                  </a:lnTo>
                  <a:lnTo>
                    <a:pt x="9474" y="1234"/>
                  </a:lnTo>
                  <a:lnTo>
                    <a:pt x="9488" y="1279"/>
                  </a:lnTo>
                  <a:lnTo>
                    <a:pt x="9506" y="1323"/>
                  </a:lnTo>
                  <a:lnTo>
                    <a:pt x="9525" y="1365"/>
                  </a:lnTo>
                  <a:lnTo>
                    <a:pt x="9546" y="1405"/>
                  </a:lnTo>
                  <a:lnTo>
                    <a:pt x="9570" y="1445"/>
                  </a:lnTo>
                  <a:lnTo>
                    <a:pt x="9595" y="1483"/>
                  </a:lnTo>
                  <a:lnTo>
                    <a:pt x="9623" y="1518"/>
                  </a:lnTo>
                  <a:lnTo>
                    <a:pt x="9651" y="1553"/>
                  </a:lnTo>
                  <a:lnTo>
                    <a:pt x="9681" y="1585"/>
                  </a:lnTo>
                  <a:lnTo>
                    <a:pt x="9714" y="1617"/>
                  </a:lnTo>
                  <a:lnTo>
                    <a:pt x="9749" y="1646"/>
                  </a:lnTo>
                  <a:lnTo>
                    <a:pt x="9784" y="1674"/>
                  </a:lnTo>
                  <a:lnTo>
                    <a:pt x="9822" y="1700"/>
                  </a:lnTo>
                  <a:lnTo>
                    <a:pt x="9860" y="1724"/>
                  </a:lnTo>
                  <a:lnTo>
                    <a:pt x="9900" y="1746"/>
                  </a:lnTo>
                  <a:lnTo>
                    <a:pt x="9942" y="1767"/>
                  </a:lnTo>
                  <a:lnTo>
                    <a:pt x="9986" y="1786"/>
                  </a:lnTo>
                  <a:lnTo>
                    <a:pt x="10029" y="1803"/>
                  </a:lnTo>
                  <a:lnTo>
                    <a:pt x="10075" y="1818"/>
                  </a:lnTo>
                  <a:lnTo>
                    <a:pt x="10122" y="1830"/>
                  </a:lnTo>
                  <a:lnTo>
                    <a:pt x="10170" y="1841"/>
                  </a:lnTo>
                  <a:lnTo>
                    <a:pt x="10219" y="1851"/>
                  </a:lnTo>
                  <a:lnTo>
                    <a:pt x="10269" y="1858"/>
                  </a:lnTo>
                  <a:lnTo>
                    <a:pt x="10320" y="1863"/>
                  </a:lnTo>
                  <a:lnTo>
                    <a:pt x="10372" y="1867"/>
                  </a:lnTo>
                  <a:lnTo>
                    <a:pt x="10426" y="1868"/>
                  </a:lnTo>
                  <a:lnTo>
                    <a:pt x="10465" y="1867"/>
                  </a:lnTo>
                  <a:lnTo>
                    <a:pt x="10502" y="1866"/>
                  </a:lnTo>
                  <a:lnTo>
                    <a:pt x="10540" y="1863"/>
                  </a:lnTo>
                  <a:lnTo>
                    <a:pt x="10576" y="1860"/>
                  </a:lnTo>
                  <a:lnTo>
                    <a:pt x="10612" y="1856"/>
                  </a:lnTo>
                  <a:lnTo>
                    <a:pt x="10648" y="1851"/>
                  </a:lnTo>
                  <a:lnTo>
                    <a:pt x="10682" y="1845"/>
                  </a:lnTo>
                  <a:lnTo>
                    <a:pt x="10716" y="1837"/>
                  </a:lnTo>
                  <a:lnTo>
                    <a:pt x="10749" y="1829"/>
                  </a:lnTo>
                  <a:lnTo>
                    <a:pt x="10782" y="1820"/>
                  </a:lnTo>
                  <a:lnTo>
                    <a:pt x="10813" y="1810"/>
                  </a:lnTo>
                  <a:lnTo>
                    <a:pt x="10845" y="1799"/>
                  </a:lnTo>
                  <a:lnTo>
                    <a:pt x="10875" y="1788"/>
                  </a:lnTo>
                  <a:lnTo>
                    <a:pt x="10905" y="1774"/>
                  </a:lnTo>
                  <a:lnTo>
                    <a:pt x="10934" y="1761"/>
                  </a:lnTo>
                  <a:lnTo>
                    <a:pt x="10963" y="1746"/>
                  </a:lnTo>
                  <a:lnTo>
                    <a:pt x="10991" y="1731"/>
                  </a:lnTo>
                  <a:lnTo>
                    <a:pt x="11018" y="1714"/>
                  </a:lnTo>
                  <a:lnTo>
                    <a:pt x="11045" y="1697"/>
                  </a:lnTo>
                  <a:lnTo>
                    <a:pt x="11071" y="1679"/>
                  </a:lnTo>
                  <a:lnTo>
                    <a:pt x="11096" y="1659"/>
                  </a:lnTo>
                  <a:lnTo>
                    <a:pt x="11121" y="1640"/>
                  </a:lnTo>
                  <a:lnTo>
                    <a:pt x="11144" y="1619"/>
                  </a:lnTo>
                  <a:lnTo>
                    <a:pt x="11167" y="1597"/>
                  </a:lnTo>
                  <a:lnTo>
                    <a:pt x="11190" y="1574"/>
                  </a:lnTo>
                  <a:lnTo>
                    <a:pt x="11211" y="1551"/>
                  </a:lnTo>
                  <a:lnTo>
                    <a:pt x="11232" y="1526"/>
                  </a:lnTo>
                  <a:lnTo>
                    <a:pt x="11253" y="1501"/>
                  </a:lnTo>
                  <a:lnTo>
                    <a:pt x="11272" y="1474"/>
                  </a:lnTo>
                  <a:lnTo>
                    <a:pt x="11291" y="1448"/>
                  </a:lnTo>
                  <a:lnTo>
                    <a:pt x="11310" y="1419"/>
                  </a:lnTo>
                  <a:lnTo>
                    <a:pt x="11327" y="1391"/>
                  </a:lnTo>
                  <a:lnTo>
                    <a:pt x="11015" y="1211"/>
                  </a:lnTo>
                  <a:lnTo>
                    <a:pt x="11002" y="1228"/>
                  </a:lnTo>
                  <a:lnTo>
                    <a:pt x="10988" y="1246"/>
                  </a:lnTo>
                  <a:lnTo>
                    <a:pt x="10975" y="1263"/>
                  </a:lnTo>
                  <a:lnTo>
                    <a:pt x="10962" y="1279"/>
                  </a:lnTo>
                  <a:lnTo>
                    <a:pt x="10948" y="1294"/>
                  </a:lnTo>
                  <a:lnTo>
                    <a:pt x="10933" y="1310"/>
                  </a:lnTo>
                  <a:lnTo>
                    <a:pt x="10919" y="1325"/>
                  </a:lnTo>
                  <a:lnTo>
                    <a:pt x="10904" y="1339"/>
                  </a:lnTo>
                  <a:lnTo>
                    <a:pt x="10890" y="1352"/>
                  </a:lnTo>
                  <a:lnTo>
                    <a:pt x="10873" y="1366"/>
                  </a:lnTo>
                  <a:lnTo>
                    <a:pt x="10858" y="1378"/>
                  </a:lnTo>
                  <a:lnTo>
                    <a:pt x="10842" y="1390"/>
                  </a:lnTo>
                  <a:lnTo>
                    <a:pt x="10825" y="1402"/>
                  </a:lnTo>
                  <a:lnTo>
                    <a:pt x="10807" y="1412"/>
                  </a:lnTo>
                  <a:lnTo>
                    <a:pt x="10790" y="1423"/>
                  </a:lnTo>
                  <a:lnTo>
                    <a:pt x="10773" y="1433"/>
                  </a:lnTo>
                  <a:lnTo>
                    <a:pt x="10754" y="1442"/>
                  </a:lnTo>
                  <a:lnTo>
                    <a:pt x="10735" y="1451"/>
                  </a:lnTo>
                  <a:lnTo>
                    <a:pt x="10716" y="1459"/>
                  </a:lnTo>
                  <a:lnTo>
                    <a:pt x="10696" y="1466"/>
                  </a:lnTo>
                  <a:lnTo>
                    <a:pt x="10676" y="1473"/>
                  </a:lnTo>
                  <a:lnTo>
                    <a:pt x="10656" y="1479"/>
                  </a:lnTo>
                  <a:lnTo>
                    <a:pt x="10634" y="1486"/>
                  </a:lnTo>
                  <a:lnTo>
                    <a:pt x="10613" y="1491"/>
                  </a:lnTo>
                  <a:lnTo>
                    <a:pt x="10591" y="1495"/>
                  </a:lnTo>
                  <a:lnTo>
                    <a:pt x="10567" y="1499"/>
                  </a:lnTo>
                  <a:lnTo>
                    <a:pt x="10544" y="1502"/>
                  </a:lnTo>
                  <a:lnTo>
                    <a:pt x="10521" y="1505"/>
                  </a:lnTo>
                  <a:lnTo>
                    <a:pt x="10496" y="1507"/>
                  </a:lnTo>
                  <a:lnTo>
                    <a:pt x="10471" y="1509"/>
                  </a:lnTo>
                  <a:lnTo>
                    <a:pt x="10445" y="1510"/>
                  </a:lnTo>
                  <a:lnTo>
                    <a:pt x="10419" y="1510"/>
                  </a:lnTo>
                  <a:lnTo>
                    <a:pt x="10386" y="1509"/>
                  </a:lnTo>
                  <a:lnTo>
                    <a:pt x="10355" y="1507"/>
                  </a:lnTo>
                  <a:lnTo>
                    <a:pt x="10324" y="1504"/>
                  </a:lnTo>
                  <a:lnTo>
                    <a:pt x="10294" y="1500"/>
                  </a:lnTo>
                  <a:lnTo>
                    <a:pt x="10264" y="1494"/>
                  </a:lnTo>
                  <a:lnTo>
                    <a:pt x="10236" y="1487"/>
                  </a:lnTo>
                  <a:lnTo>
                    <a:pt x="10207" y="1478"/>
                  </a:lnTo>
                  <a:lnTo>
                    <a:pt x="10180" y="1468"/>
                  </a:lnTo>
                  <a:lnTo>
                    <a:pt x="10153" y="1458"/>
                  </a:lnTo>
                  <a:lnTo>
                    <a:pt x="10128" y="1446"/>
                  </a:lnTo>
                  <a:lnTo>
                    <a:pt x="10104" y="1433"/>
                  </a:lnTo>
                  <a:lnTo>
                    <a:pt x="10080" y="1418"/>
                  </a:lnTo>
                  <a:lnTo>
                    <a:pt x="10057" y="1403"/>
                  </a:lnTo>
                  <a:lnTo>
                    <a:pt x="10035" y="1387"/>
                  </a:lnTo>
                  <a:lnTo>
                    <a:pt x="10014" y="1370"/>
                  </a:lnTo>
                  <a:lnTo>
                    <a:pt x="9994" y="1351"/>
                  </a:lnTo>
                  <a:lnTo>
                    <a:pt x="9975" y="1332"/>
                  </a:lnTo>
                  <a:lnTo>
                    <a:pt x="9957" y="1312"/>
                  </a:lnTo>
                  <a:lnTo>
                    <a:pt x="9941" y="1289"/>
                  </a:lnTo>
                  <a:lnTo>
                    <a:pt x="9925" y="1268"/>
                  </a:lnTo>
                  <a:lnTo>
                    <a:pt x="9910" y="1245"/>
                  </a:lnTo>
                  <a:lnTo>
                    <a:pt x="9896" y="1220"/>
                  </a:lnTo>
                  <a:lnTo>
                    <a:pt x="9884" y="1195"/>
                  </a:lnTo>
                  <a:lnTo>
                    <a:pt x="9873" y="1169"/>
                  </a:lnTo>
                  <a:lnTo>
                    <a:pt x="9864" y="1143"/>
                  </a:lnTo>
                  <a:lnTo>
                    <a:pt x="9854" y="1114"/>
                  </a:lnTo>
                  <a:lnTo>
                    <a:pt x="9847" y="1087"/>
                  </a:lnTo>
                  <a:lnTo>
                    <a:pt x="9841" y="1057"/>
                  </a:lnTo>
                  <a:lnTo>
                    <a:pt x="9836" y="1028"/>
                  </a:lnTo>
                  <a:lnTo>
                    <a:pt x="9833" y="998"/>
                  </a:lnTo>
                  <a:lnTo>
                    <a:pt x="9831" y="966"/>
                  </a:lnTo>
                  <a:lnTo>
                    <a:pt x="9830" y="933"/>
                  </a:lnTo>
                  <a:lnTo>
                    <a:pt x="9831" y="901"/>
                  </a:lnTo>
                  <a:lnTo>
                    <a:pt x="9833" y="869"/>
                  </a:lnTo>
                  <a:lnTo>
                    <a:pt x="9836" y="839"/>
                  </a:lnTo>
                  <a:lnTo>
                    <a:pt x="9840" y="808"/>
                  </a:lnTo>
                  <a:lnTo>
                    <a:pt x="9846" y="779"/>
                  </a:lnTo>
                  <a:lnTo>
                    <a:pt x="9853" y="750"/>
                  </a:lnTo>
                  <a:lnTo>
                    <a:pt x="9863" y="723"/>
                  </a:lnTo>
                  <a:lnTo>
                    <a:pt x="9872" y="696"/>
                  </a:lnTo>
                  <a:lnTo>
                    <a:pt x="9883" y="670"/>
                  </a:lnTo>
                  <a:lnTo>
                    <a:pt x="9894" y="645"/>
                  </a:lnTo>
                  <a:lnTo>
                    <a:pt x="9907" y="620"/>
                  </a:lnTo>
                  <a:lnTo>
                    <a:pt x="9923" y="597"/>
                  </a:lnTo>
                  <a:lnTo>
                    <a:pt x="9938" y="575"/>
                  </a:lnTo>
                  <a:lnTo>
                    <a:pt x="9954" y="553"/>
                  </a:lnTo>
                  <a:lnTo>
                    <a:pt x="9971" y="533"/>
                  </a:lnTo>
                  <a:lnTo>
                    <a:pt x="9991" y="513"/>
                  </a:lnTo>
                  <a:lnTo>
                    <a:pt x="10010" y="496"/>
                  </a:lnTo>
                  <a:lnTo>
                    <a:pt x="10031" y="479"/>
                  </a:lnTo>
                  <a:lnTo>
                    <a:pt x="10053" y="463"/>
                  </a:lnTo>
                  <a:lnTo>
                    <a:pt x="10075" y="447"/>
                  </a:lnTo>
                  <a:lnTo>
                    <a:pt x="10099" y="433"/>
                  </a:lnTo>
                  <a:lnTo>
                    <a:pt x="10124" y="420"/>
                  </a:lnTo>
                  <a:lnTo>
                    <a:pt x="10149" y="409"/>
                  </a:lnTo>
                  <a:lnTo>
                    <a:pt x="10176" y="399"/>
                  </a:lnTo>
                  <a:lnTo>
                    <a:pt x="10203" y="388"/>
                  </a:lnTo>
                  <a:lnTo>
                    <a:pt x="10232" y="380"/>
                  </a:lnTo>
                  <a:lnTo>
                    <a:pt x="10261" y="373"/>
                  </a:lnTo>
                  <a:lnTo>
                    <a:pt x="10291" y="368"/>
                  </a:lnTo>
                  <a:lnTo>
                    <a:pt x="10322" y="363"/>
                  </a:lnTo>
                  <a:lnTo>
                    <a:pt x="10354" y="360"/>
                  </a:lnTo>
                  <a:lnTo>
                    <a:pt x="10386" y="358"/>
                  </a:lnTo>
                  <a:lnTo>
                    <a:pt x="10419" y="358"/>
                  </a:lnTo>
                  <a:lnTo>
                    <a:pt x="10445" y="358"/>
                  </a:lnTo>
                  <a:lnTo>
                    <a:pt x="10471" y="359"/>
                  </a:lnTo>
                  <a:lnTo>
                    <a:pt x="10496" y="360"/>
                  </a:lnTo>
                  <a:lnTo>
                    <a:pt x="10521" y="362"/>
                  </a:lnTo>
                  <a:lnTo>
                    <a:pt x="10544" y="365"/>
                  </a:lnTo>
                  <a:lnTo>
                    <a:pt x="10567" y="368"/>
                  </a:lnTo>
                  <a:lnTo>
                    <a:pt x="10591" y="372"/>
                  </a:lnTo>
                  <a:lnTo>
                    <a:pt x="10613" y="377"/>
                  </a:lnTo>
                  <a:lnTo>
                    <a:pt x="10634" y="382"/>
                  </a:lnTo>
                  <a:lnTo>
                    <a:pt x="10656" y="388"/>
                  </a:lnTo>
                  <a:lnTo>
                    <a:pt x="10676" y="395"/>
                  </a:lnTo>
                  <a:lnTo>
                    <a:pt x="10696" y="402"/>
                  </a:lnTo>
                  <a:lnTo>
                    <a:pt x="10716" y="409"/>
                  </a:lnTo>
                  <a:lnTo>
                    <a:pt x="10735" y="417"/>
                  </a:lnTo>
                  <a:lnTo>
                    <a:pt x="10754" y="425"/>
                  </a:lnTo>
                  <a:lnTo>
                    <a:pt x="10773" y="435"/>
                  </a:lnTo>
                  <a:lnTo>
                    <a:pt x="10790" y="444"/>
                  </a:lnTo>
                  <a:lnTo>
                    <a:pt x="10807" y="455"/>
                  </a:lnTo>
                  <a:lnTo>
                    <a:pt x="10825" y="466"/>
                  </a:lnTo>
                  <a:lnTo>
                    <a:pt x="10842" y="477"/>
                  </a:lnTo>
                  <a:lnTo>
                    <a:pt x="10858" y="489"/>
                  </a:lnTo>
                  <a:lnTo>
                    <a:pt x="10873" y="502"/>
                  </a:lnTo>
                  <a:lnTo>
                    <a:pt x="10890" y="515"/>
                  </a:lnTo>
                  <a:lnTo>
                    <a:pt x="10904" y="529"/>
                  </a:lnTo>
                  <a:lnTo>
                    <a:pt x="10919" y="543"/>
                  </a:lnTo>
                  <a:lnTo>
                    <a:pt x="10933" y="557"/>
                  </a:lnTo>
                  <a:lnTo>
                    <a:pt x="10948" y="572"/>
                  </a:lnTo>
                  <a:lnTo>
                    <a:pt x="10962" y="589"/>
                  </a:lnTo>
                  <a:lnTo>
                    <a:pt x="10975" y="605"/>
                  </a:lnTo>
                  <a:lnTo>
                    <a:pt x="10988" y="621"/>
                  </a:lnTo>
                  <a:lnTo>
                    <a:pt x="11002" y="639"/>
                  </a:lnTo>
                  <a:lnTo>
                    <a:pt x="11015" y="657"/>
                  </a:lnTo>
                  <a:lnTo>
                    <a:pt x="11327" y="4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490538" y="487363"/>
              <a:ext cx="466725" cy="455612"/>
            </a:xfrm>
            <a:custGeom>
              <a:avLst/>
              <a:gdLst>
                <a:gd name="T0" fmla="*/ 1853 w 3532"/>
                <a:gd name="T1" fmla="*/ 1336 h 3444"/>
                <a:gd name="T2" fmla="*/ 1828 w 3532"/>
                <a:gd name="T3" fmla="*/ 1351 h 3444"/>
                <a:gd name="T4" fmla="*/ 1795 w 3532"/>
                <a:gd name="T5" fmla="*/ 1349 h 3444"/>
                <a:gd name="T6" fmla="*/ 1104 w 3532"/>
                <a:gd name="T7" fmla="*/ 1069 h 3444"/>
                <a:gd name="T8" fmla="*/ 1071 w 3532"/>
                <a:gd name="T9" fmla="*/ 1010 h 3444"/>
                <a:gd name="T10" fmla="*/ 1204 w 3532"/>
                <a:gd name="T11" fmla="*/ 141 h 3444"/>
                <a:gd name="T12" fmla="*/ 1231 w 3532"/>
                <a:gd name="T13" fmla="*/ 77 h 3444"/>
                <a:gd name="T14" fmla="*/ 1287 w 3532"/>
                <a:gd name="T15" fmla="*/ 37 h 3444"/>
                <a:gd name="T16" fmla="*/ 2026 w 3532"/>
                <a:gd name="T17" fmla="*/ 0 h 3444"/>
                <a:gd name="T18" fmla="*/ 2055 w 3532"/>
                <a:gd name="T19" fmla="*/ 11 h 3444"/>
                <a:gd name="T20" fmla="*/ 2072 w 3532"/>
                <a:gd name="T21" fmla="*/ 37 h 3444"/>
                <a:gd name="T22" fmla="*/ 1399 w 3532"/>
                <a:gd name="T23" fmla="*/ 1554 h 3444"/>
                <a:gd name="T24" fmla="*/ 1417 w 3532"/>
                <a:gd name="T25" fmla="*/ 1578 h 3444"/>
                <a:gd name="T26" fmla="*/ 1414 w 3532"/>
                <a:gd name="T27" fmla="*/ 1610 h 3444"/>
                <a:gd name="T28" fmla="*/ 958 w 3532"/>
                <a:gd name="T29" fmla="*/ 2172 h 3444"/>
                <a:gd name="T30" fmla="*/ 893 w 3532"/>
                <a:gd name="T31" fmla="*/ 2208 h 3444"/>
                <a:gd name="T32" fmla="*/ 826 w 3532"/>
                <a:gd name="T33" fmla="*/ 2201 h 3444"/>
                <a:gd name="T34" fmla="*/ 45 w 3532"/>
                <a:gd name="T35" fmla="*/ 1796 h 3444"/>
                <a:gd name="T36" fmla="*/ 6 w 3532"/>
                <a:gd name="T37" fmla="*/ 1741 h 3444"/>
                <a:gd name="T38" fmla="*/ 4 w 3532"/>
                <a:gd name="T39" fmla="*/ 1664 h 3444"/>
                <a:gd name="T40" fmla="*/ 200 w 3532"/>
                <a:gd name="T41" fmla="*/ 976 h 3444"/>
                <a:gd name="T42" fmla="*/ 226 w 3532"/>
                <a:gd name="T43" fmla="*/ 959 h 3444"/>
                <a:gd name="T44" fmla="*/ 255 w 3532"/>
                <a:gd name="T45" fmla="*/ 963 h 3444"/>
                <a:gd name="T46" fmla="*/ 1491 w 3532"/>
                <a:gd name="T47" fmla="*/ 2055 h 3444"/>
                <a:gd name="T48" fmla="*/ 1521 w 3532"/>
                <a:gd name="T49" fmla="*/ 2057 h 3444"/>
                <a:gd name="T50" fmla="*/ 1546 w 3532"/>
                <a:gd name="T51" fmla="*/ 2077 h 3444"/>
                <a:gd name="T52" fmla="*/ 1940 w 3532"/>
                <a:gd name="T53" fmla="*/ 2711 h 3444"/>
                <a:gd name="T54" fmla="*/ 1933 w 3532"/>
                <a:gd name="T55" fmla="*/ 2779 h 3444"/>
                <a:gd name="T56" fmla="*/ 1315 w 3532"/>
                <a:gd name="T57" fmla="*/ 3402 h 3444"/>
                <a:gd name="T58" fmla="*/ 1256 w 3532"/>
                <a:gd name="T59" fmla="*/ 3439 h 3444"/>
                <a:gd name="T60" fmla="*/ 1187 w 3532"/>
                <a:gd name="T61" fmla="*/ 3439 h 3444"/>
                <a:gd name="T62" fmla="*/ 567 w 3532"/>
                <a:gd name="T63" fmla="*/ 3035 h 3444"/>
                <a:gd name="T64" fmla="*/ 549 w 3532"/>
                <a:gd name="T65" fmla="*/ 3009 h 3444"/>
                <a:gd name="T66" fmla="*/ 551 w 3532"/>
                <a:gd name="T67" fmla="*/ 2978 h 3444"/>
                <a:gd name="T68" fmla="*/ 1987 w 3532"/>
                <a:gd name="T69" fmla="*/ 2144 h 3444"/>
                <a:gd name="T70" fmla="*/ 1988 w 3532"/>
                <a:gd name="T71" fmla="*/ 2114 h 3444"/>
                <a:gd name="T72" fmla="*/ 2009 w 3532"/>
                <a:gd name="T73" fmla="*/ 2091 h 3444"/>
                <a:gd name="T74" fmla="*/ 2707 w 3532"/>
                <a:gd name="T75" fmla="*/ 1899 h 3444"/>
                <a:gd name="T76" fmla="*/ 2780 w 3532"/>
                <a:gd name="T77" fmla="*/ 1910 h 3444"/>
                <a:gd name="T78" fmla="*/ 2832 w 3532"/>
                <a:gd name="T79" fmla="*/ 1953 h 3444"/>
                <a:gd name="T80" fmla="*/ 3229 w 3532"/>
                <a:gd name="T81" fmla="*/ 2739 h 3444"/>
                <a:gd name="T82" fmla="*/ 3227 w 3532"/>
                <a:gd name="T83" fmla="*/ 2806 h 3444"/>
                <a:gd name="T84" fmla="*/ 3184 w 3532"/>
                <a:gd name="T85" fmla="*/ 2871 h 3444"/>
                <a:gd name="T86" fmla="*/ 2624 w 3532"/>
                <a:gd name="T87" fmla="*/ 3314 h 3444"/>
                <a:gd name="T88" fmla="*/ 2593 w 3532"/>
                <a:gd name="T89" fmla="*/ 3313 h 3444"/>
                <a:gd name="T90" fmla="*/ 2570 w 3532"/>
                <a:gd name="T91" fmla="*/ 3292 h 3444"/>
                <a:gd name="T92" fmla="*/ 2206 w 3532"/>
                <a:gd name="T93" fmla="*/ 1686 h 3444"/>
                <a:gd name="T94" fmla="*/ 2183 w 3532"/>
                <a:gd name="T95" fmla="*/ 1667 h 3444"/>
                <a:gd name="T96" fmla="*/ 2176 w 3532"/>
                <a:gd name="T97" fmla="*/ 1635 h 3444"/>
                <a:gd name="T98" fmla="*/ 2229 w 3532"/>
                <a:gd name="T99" fmla="*/ 892 h 3444"/>
                <a:gd name="T100" fmla="*/ 2275 w 3532"/>
                <a:gd name="T101" fmla="*/ 841 h 3444"/>
                <a:gd name="T102" fmla="*/ 3142 w 3532"/>
                <a:gd name="T103" fmla="*/ 700 h 3444"/>
                <a:gd name="T104" fmla="*/ 3211 w 3532"/>
                <a:gd name="T105" fmla="*/ 706 h 3444"/>
                <a:gd name="T106" fmla="*/ 3268 w 3532"/>
                <a:gd name="T107" fmla="*/ 746 h 3444"/>
                <a:gd name="T108" fmla="*/ 3530 w 3532"/>
                <a:gd name="T109" fmla="*/ 1438 h 3444"/>
                <a:gd name="T110" fmla="*/ 3529 w 3532"/>
                <a:gd name="T111" fmla="*/ 1469 h 3444"/>
                <a:gd name="T112" fmla="*/ 3510 w 3532"/>
                <a:gd name="T113" fmla="*/ 1493 h 3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32" h="3444">
                  <a:moveTo>
                    <a:pt x="2072" y="52"/>
                  </a:moveTo>
                  <a:lnTo>
                    <a:pt x="1861" y="1317"/>
                  </a:lnTo>
                  <a:lnTo>
                    <a:pt x="1860" y="1322"/>
                  </a:lnTo>
                  <a:lnTo>
                    <a:pt x="1858" y="1327"/>
                  </a:lnTo>
                  <a:lnTo>
                    <a:pt x="1856" y="1332"/>
                  </a:lnTo>
                  <a:lnTo>
                    <a:pt x="1853" y="1336"/>
                  </a:lnTo>
                  <a:lnTo>
                    <a:pt x="1849" y="1340"/>
                  </a:lnTo>
                  <a:lnTo>
                    <a:pt x="1846" y="1343"/>
                  </a:lnTo>
                  <a:lnTo>
                    <a:pt x="1842" y="1346"/>
                  </a:lnTo>
                  <a:lnTo>
                    <a:pt x="1837" y="1348"/>
                  </a:lnTo>
                  <a:lnTo>
                    <a:pt x="1833" y="1350"/>
                  </a:lnTo>
                  <a:lnTo>
                    <a:pt x="1828" y="1351"/>
                  </a:lnTo>
                  <a:lnTo>
                    <a:pt x="1822" y="1352"/>
                  </a:lnTo>
                  <a:lnTo>
                    <a:pt x="1817" y="1353"/>
                  </a:lnTo>
                  <a:lnTo>
                    <a:pt x="1811" y="1352"/>
                  </a:lnTo>
                  <a:lnTo>
                    <a:pt x="1806" y="1352"/>
                  </a:lnTo>
                  <a:lnTo>
                    <a:pt x="1801" y="1351"/>
                  </a:lnTo>
                  <a:lnTo>
                    <a:pt x="1795" y="1349"/>
                  </a:lnTo>
                  <a:lnTo>
                    <a:pt x="1163" y="1105"/>
                  </a:lnTo>
                  <a:lnTo>
                    <a:pt x="1149" y="1099"/>
                  </a:lnTo>
                  <a:lnTo>
                    <a:pt x="1136" y="1092"/>
                  </a:lnTo>
                  <a:lnTo>
                    <a:pt x="1125" y="1085"/>
                  </a:lnTo>
                  <a:lnTo>
                    <a:pt x="1114" y="1077"/>
                  </a:lnTo>
                  <a:lnTo>
                    <a:pt x="1104" y="1069"/>
                  </a:lnTo>
                  <a:lnTo>
                    <a:pt x="1096" y="1060"/>
                  </a:lnTo>
                  <a:lnTo>
                    <a:pt x="1089" y="1050"/>
                  </a:lnTo>
                  <a:lnTo>
                    <a:pt x="1083" y="1041"/>
                  </a:lnTo>
                  <a:lnTo>
                    <a:pt x="1078" y="1031"/>
                  </a:lnTo>
                  <a:lnTo>
                    <a:pt x="1074" y="1020"/>
                  </a:lnTo>
                  <a:lnTo>
                    <a:pt x="1071" y="1010"/>
                  </a:lnTo>
                  <a:lnTo>
                    <a:pt x="1068" y="999"/>
                  </a:lnTo>
                  <a:lnTo>
                    <a:pt x="1067" y="986"/>
                  </a:lnTo>
                  <a:lnTo>
                    <a:pt x="1067" y="975"/>
                  </a:lnTo>
                  <a:lnTo>
                    <a:pt x="1068" y="963"/>
                  </a:lnTo>
                  <a:lnTo>
                    <a:pt x="1069" y="951"/>
                  </a:lnTo>
                  <a:lnTo>
                    <a:pt x="1204" y="141"/>
                  </a:lnTo>
                  <a:lnTo>
                    <a:pt x="1206" y="130"/>
                  </a:lnTo>
                  <a:lnTo>
                    <a:pt x="1209" y="118"/>
                  </a:lnTo>
                  <a:lnTo>
                    <a:pt x="1213" y="107"/>
                  </a:lnTo>
                  <a:lnTo>
                    <a:pt x="1218" y="97"/>
                  </a:lnTo>
                  <a:lnTo>
                    <a:pt x="1224" y="86"/>
                  </a:lnTo>
                  <a:lnTo>
                    <a:pt x="1231" y="77"/>
                  </a:lnTo>
                  <a:lnTo>
                    <a:pt x="1238" y="69"/>
                  </a:lnTo>
                  <a:lnTo>
                    <a:pt x="1246" y="61"/>
                  </a:lnTo>
                  <a:lnTo>
                    <a:pt x="1255" y="54"/>
                  </a:lnTo>
                  <a:lnTo>
                    <a:pt x="1265" y="47"/>
                  </a:lnTo>
                  <a:lnTo>
                    <a:pt x="1275" y="42"/>
                  </a:lnTo>
                  <a:lnTo>
                    <a:pt x="1287" y="37"/>
                  </a:lnTo>
                  <a:lnTo>
                    <a:pt x="1300" y="33"/>
                  </a:lnTo>
                  <a:lnTo>
                    <a:pt x="1313" y="29"/>
                  </a:lnTo>
                  <a:lnTo>
                    <a:pt x="1327" y="27"/>
                  </a:lnTo>
                  <a:lnTo>
                    <a:pt x="1342" y="26"/>
                  </a:lnTo>
                  <a:lnTo>
                    <a:pt x="2020" y="0"/>
                  </a:lnTo>
                  <a:lnTo>
                    <a:pt x="2026" y="0"/>
                  </a:lnTo>
                  <a:lnTo>
                    <a:pt x="2031" y="1"/>
                  </a:lnTo>
                  <a:lnTo>
                    <a:pt x="2036" y="2"/>
                  </a:lnTo>
                  <a:lnTo>
                    <a:pt x="2042" y="3"/>
                  </a:lnTo>
                  <a:lnTo>
                    <a:pt x="2046" y="5"/>
                  </a:lnTo>
                  <a:lnTo>
                    <a:pt x="2051" y="8"/>
                  </a:lnTo>
                  <a:lnTo>
                    <a:pt x="2055" y="11"/>
                  </a:lnTo>
                  <a:lnTo>
                    <a:pt x="2059" y="14"/>
                  </a:lnTo>
                  <a:lnTo>
                    <a:pt x="2062" y="18"/>
                  </a:lnTo>
                  <a:lnTo>
                    <a:pt x="2066" y="22"/>
                  </a:lnTo>
                  <a:lnTo>
                    <a:pt x="2068" y="26"/>
                  </a:lnTo>
                  <a:lnTo>
                    <a:pt x="2070" y="32"/>
                  </a:lnTo>
                  <a:lnTo>
                    <a:pt x="2072" y="37"/>
                  </a:lnTo>
                  <a:lnTo>
                    <a:pt x="2072" y="42"/>
                  </a:lnTo>
                  <a:lnTo>
                    <a:pt x="2073" y="47"/>
                  </a:lnTo>
                  <a:lnTo>
                    <a:pt x="2072" y="52"/>
                  </a:lnTo>
                  <a:close/>
                  <a:moveTo>
                    <a:pt x="255" y="963"/>
                  </a:moveTo>
                  <a:lnTo>
                    <a:pt x="1394" y="1551"/>
                  </a:lnTo>
                  <a:lnTo>
                    <a:pt x="1399" y="1554"/>
                  </a:lnTo>
                  <a:lnTo>
                    <a:pt x="1403" y="1557"/>
                  </a:lnTo>
                  <a:lnTo>
                    <a:pt x="1408" y="1561"/>
                  </a:lnTo>
                  <a:lnTo>
                    <a:pt x="1411" y="1565"/>
                  </a:lnTo>
                  <a:lnTo>
                    <a:pt x="1413" y="1569"/>
                  </a:lnTo>
                  <a:lnTo>
                    <a:pt x="1415" y="1574"/>
                  </a:lnTo>
                  <a:lnTo>
                    <a:pt x="1417" y="1578"/>
                  </a:lnTo>
                  <a:lnTo>
                    <a:pt x="1418" y="1583"/>
                  </a:lnTo>
                  <a:lnTo>
                    <a:pt x="1418" y="1588"/>
                  </a:lnTo>
                  <a:lnTo>
                    <a:pt x="1418" y="1593"/>
                  </a:lnTo>
                  <a:lnTo>
                    <a:pt x="1417" y="1599"/>
                  </a:lnTo>
                  <a:lnTo>
                    <a:pt x="1416" y="1605"/>
                  </a:lnTo>
                  <a:lnTo>
                    <a:pt x="1414" y="1610"/>
                  </a:lnTo>
                  <a:lnTo>
                    <a:pt x="1412" y="1614"/>
                  </a:lnTo>
                  <a:lnTo>
                    <a:pt x="1409" y="1619"/>
                  </a:lnTo>
                  <a:lnTo>
                    <a:pt x="1405" y="1624"/>
                  </a:lnTo>
                  <a:lnTo>
                    <a:pt x="978" y="2151"/>
                  </a:lnTo>
                  <a:lnTo>
                    <a:pt x="969" y="2162"/>
                  </a:lnTo>
                  <a:lnTo>
                    <a:pt x="958" y="2172"/>
                  </a:lnTo>
                  <a:lnTo>
                    <a:pt x="948" y="2181"/>
                  </a:lnTo>
                  <a:lnTo>
                    <a:pt x="938" y="2188"/>
                  </a:lnTo>
                  <a:lnTo>
                    <a:pt x="926" y="2195"/>
                  </a:lnTo>
                  <a:lnTo>
                    <a:pt x="915" y="2200"/>
                  </a:lnTo>
                  <a:lnTo>
                    <a:pt x="904" y="2204"/>
                  </a:lnTo>
                  <a:lnTo>
                    <a:pt x="893" y="2208"/>
                  </a:lnTo>
                  <a:lnTo>
                    <a:pt x="882" y="2209"/>
                  </a:lnTo>
                  <a:lnTo>
                    <a:pt x="871" y="2210"/>
                  </a:lnTo>
                  <a:lnTo>
                    <a:pt x="859" y="2209"/>
                  </a:lnTo>
                  <a:lnTo>
                    <a:pt x="848" y="2208"/>
                  </a:lnTo>
                  <a:lnTo>
                    <a:pt x="837" y="2206"/>
                  </a:lnTo>
                  <a:lnTo>
                    <a:pt x="826" y="2201"/>
                  </a:lnTo>
                  <a:lnTo>
                    <a:pt x="815" y="2197"/>
                  </a:lnTo>
                  <a:lnTo>
                    <a:pt x="803" y="2192"/>
                  </a:lnTo>
                  <a:lnTo>
                    <a:pt x="74" y="1816"/>
                  </a:lnTo>
                  <a:lnTo>
                    <a:pt x="64" y="1810"/>
                  </a:lnTo>
                  <a:lnTo>
                    <a:pt x="54" y="1803"/>
                  </a:lnTo>
                  <a:lnTo>
                    <a:pt x="45" y="1796"/>
                  </a:lnTo>
                  <a:lnTo>
                    <a:pt x="37" y="1789"/>
                  </a:lnTo>
                  <a:lnTo>
                    <a:pt x="28" y="1779"/>
                  </a:lnTo>
                  <a:lnTo>
                    <a:pt x="21" y="1771"/>
                  </a:lnTo>
                  <a:lnTo>
                    <a:pt x="15" y="1761"/>
                  </a:lnTo>
                  <a:lnTo>
                    <a:pt x="10" y="1751"/>
                  </a:lnTo>
                  <a:lnTo>
                    <a:pt x="6" y="1741"/>
                  </a:lnTo>
                  <a:lnTo>
                    <a:pt x="3" y="1729"/>
                  </a:lnTo>
                  <a:lnTo>
                    <a:pt x="1" y="1717"/>
                  </a:lnTo>
                  <a:lnTo>
                    <a:pt x="0" y="1704"/>
                  </a:lnTo>
                  <a:lnTo>
                    <a:pt x="0" y="1691"/>
                  </a:lnTo>
                  <a:lnTo>
                    <a:pt x="1" y="1678"/>
                  </a:lnTo>
                  <a:lnTo>
                    <a:pt x="4" y="1664"/>
                  </a:lnTo>
                  <a:lnTo>
                    <a:pt x="7" y="1648"/>
                  </a:lnTo>
                  <a:lnTo>
                    <a:pt x="190" y="995"/>
                  </a:lnTo>
                  <a:lnTo>
                    <a:pt x="192" y="990"/>
                  </a:lnTo>
                  <a:lnTo>
                    <a:pt x="194" y="985"/>
                  </a:lnTo>
                  <a:lnTo>
                    <a:pt x="197" y="980"/>
                  </a:lnTo>
                  <a:lnTo>
                    <a:pt x="200" y="976"/>
                  </a:lnTo>
                  <a:lnTo>
                    <a:pt x="203" y="972"/>
                  </a:lnTo>
                  <a:lnTo>
                    <a:pt x="207" y="969"/>
                  </a:lnTo>
                  <a:lnTo>
                    <a:pt x="212" y="965"/>
                  </a:lnTo>
                  <a:lnTo>
                    <a:pt x="216" y="963"/>
                  </a:lnTo>
                  <a:lnTo>
                    <a:pt x="221" y="961"/>
                  </a:lnTo>
                  <a:lnTo>
                    <a:pt x="226" y="959"/>
                  </a:lnTo>
                  <a:lnTo>
                    <a:pt x="230" y="958"/>
                  </a:lnTo>
                  <a:lnTo>
                    <a:pt x="235" y="958"/>
                  </a:lnTo>
                  <a:lnTo>
                    <a:pt x="240" y="958"/>
                  </a:lnTo>
                  <a:lnTo>
                    <a:pt x="245" y="959"/>
                  </a:lnTo>
                  <a:lnTo>
                    <a:pt x="250" y="960"/>
                  </a:lnTo>
                  <a:lnTo>
                    <a:pt x="255" y="963"/>
                  </a:lnTo>
                  <a:close/>
                  <a:moveTo>
                    <a:pt x="560" y="2966"/>
                  </a:moveTo>
                  <a:lnTo>
                    <a:pt x="1474" y="2066"/>
                  </a:lnTo>
                  <a:lnTo>
                    <a:pt x="1478" y="2062"/>
                  </a:lnTo>
                  <a:lnTo>
                    <a:pt x="1482" y="2059"/>
                  </a:lnTo>
                  <a:lnTo>
                    <a:pt x="1487" y="2057"/>
                  </a:lnTo>
                  <a:lnTo>
                    <a:pt x="1491" y="2055"/>
                  </a:lnTo>
                  <a:lnTo>
                    <a:pt x="1496" y="2054"/>
                  </a:lnTo>
                  <a:lnTo>
                    <a:pt x="1501" y="2053"/>
                  </a:lnTo>
                  <a:lnTo>
                    <a:pt x="1506" y="2054"/>
                  </a:lnTo>
                  <a:lnTo>
                    <a:pt x="1511" y="2054"/>
                  </a:lnTo>
                  <a:lnTo>
                    <a:pt x="1516" y="2055"/>
                  </a:lnTo>
                  <a:lnTo>
                    <a:pt x="1521" y="2057"/>
                  </a:lnTo>
                  <a:lnTo>
                    <a:pt x="1526" y="2059"/>
                  </a:lnTo>
                  <a:lnTo>
                    <a:pt x="1531" y="2062"/>
                  </a:lnTo>
                  <a:lnTo>
                    <a:pt x="1535" y="2065"/>
                  </a:lnTo>
                  <a:lnTo>
                    <a:pt x="1539" y="2069"/>
                  </a:lnTo>
                  <a:lnTo>
                    <a:pt x="1543" y="2073"/>
                  </a:lnTo>
                  <a:lnTo>
                    <a:pt x="1546" y="2077"/>
                  </a:lnTo>
                  <a:lnTo>
                    <a:pt x="1914" y="2647"/>
                  </a:lnTo>
                  <a:lnTo>
                    <a:pt x="1922" y="2660"/>
                  </a:lnTo>
                  <a:lnTo>
                    <a:pt x="1928" y="2673"/>
                  </a:lnTo>
                  <a:lnTo>
                    <a:pt x="1933" y="2685"/>
                  </a:lnTo>
                  <a:lnTo>
                    <a:pt x="1937" y="2699"/>
                  </a:lnTo>
                  <a:lnTo>
                    <a:pt x="1940" y="2711"/>
                  </a:lnTo>
                  <a:lnTo>
                    <a:pt x="1941" y="2723"/>
                  </a:lnTo>
                  <a:lnTo>
                    <a:pt x="1942" y="2734"/>
                  </a:lnTo>
                  <a:lnTo>
                    <a:pt x="1941" y="2745"/>
                  </a:lnTo>
                  <a:lnTo>
                    <a:pt x="1939" y="2758"/>
                  </a:lnTo>
                  <a:lnTo>
                    <a:pt x="1936" y="2768"/>
                  </a:lnTo>
                  <a:lnTo>
                    <a:pt x="1933" y="2779"/>
                  </a:lnTo>
                  <a:lnTo>
                    <a:pt x="1928" y="2789"/>
                  </a:lnTo>
                  <a:lnTo>
                    <a:pt x="1922" y="2799"/>
                  </a:lnTo>
                  <a:lnTo>
                    <a:pt x="1915" y="2808"/>
                  </a:lnTo>
                  <a:lnTo>
                    <a:pt x="1908" y="2818"/>
                  </a:lnTo>
                  <a:lnTo>
                    <a:pt x="1900" y="2827"/>
                  </a:lnTo>
                  <a:lnTo>
                    <a:pt x="1315" y="3402"/>
                  </a:lnTo>
                  <a:lnTo>
                    <a:pt x="1307" y="3410"/>
                  </a:lnTo>
                  <a:lnTo>
                    <a:pt x="1297" y="3419"/>
                  </a:lnTo>
                  <a:lnTo>
                    <a:pt x="1288" y="3425"/>
                  </a:lnTo>
                  <a:lnTo>
                    <a:pt x="1277" y="3431"/>
                  </a:lnTo>
                  <a:lnTo>
                    <a:pt x="1267" y="3435"/>
                  </a:lnTo>
                  <a:lnTo>
                    <a:pt x="1256" y="3439"/>
                  </a:lnTo>
                  <a:lnTo>
                    <a:pt x="1245" y="3442"/>
                  </a:lnTo>
                  <a:lnTo>
                    <a:pt x="1234" y="3443"/>
                  </a:lnTo>
                  <a:lnTo>
                    <a:pt x="1222" y="3444"/>
                  </a:lnTo>
                  <a:lnTo>
                    <a:pt x="1211" y="3443"/>
                  </a:lnTo>
                  <a:lnTo>
                    <a:pt x="1199" y="3442"/>
                  </a:lnTo>
                  <a:lnTo>
                    <a:pt x="1187" y="3439"/>
                  </a:lnTo>
                  <a:lnTo>
                    <a:pt x="1174" y="3435"/>
                  </a:lnTo>
                  <a:lnTo>
                    <a:pt x="1161" y="3430"/>
                  </a:lnTo>
                  <a:lnTo>
                    <a:pt x="1148" y="3423"/>
                  </a:lnTo>
                  <a:lnTo>
                    <a:pt x="1136" y="3415"/>
                  </a:lnTo>
                  <a:lnTo>
                    <a:pt x="572" y="3038"/>
                  </a:lnTo>
                  <a:lnTo>
                    <a:pt x="567" y="3035"/>
                  </a:lnTo>
                  <a:lnTo>
                    <a:pt x="563" y="3031"/>
                  </a:lnTo>
                  <a:lnTo>
                    <a:pt x="559" y="3027"/>
                  </a:lnTo>
                  <a:lnTo>
                    <a:pt x="556" y="3023"/>
                  </a:lnTo>
                  <a:lnTo>
                    <a:pt x="553" y="3018"/>
                  </a:lnTo>
                  <a:lnTo>
                    <a:pt x="551" y="3014"/>
                  </a:lnTo>
                  <a:lnTo>
                    <a:pt x="549" y="3009"/>
                  </a:lnTo>
                  <a:lnTo>
                    <a:pt x="548" y="3004"/>
                  </a:lnTo>
                  <a:lnTo>
                    <a:pt x="548" y="2999"/>
                  </a:lnTo>
                  <a:lnTo>
                    <a:pt x="548" y="2994"/>
                  </a:lnTo>
                  <a:lnTo>
                    <a:pt x="548" y="2988"/>
                  </a:lnTo>
                  <a:lnTo>
                    <a:pt x="549" y="2983"/>
                  </a:lnTo>
                  <a:lnTo>
                    <a:pt x="551" y="2978"/>
                  </a:lnTo>
                  <a:lnTo>
                    <a:pt x="553" y="2974"/>
                  </a:lnTo>
                  <a:lnTo>
                    <a:pt x="556" y="2970"/>
                  </a:lnTo>
                  <a:lnTo>
                    <a:pt x="560" y="2966"/>
                  </a:lnTo>
                  <a:close/>
                  <a:moveTo>
                    <a:pt x="2570" y="3292"/>
                  </a:moveTo>
                  <a:lnTo>
                    <a:pt x="1990" y="2150"/>
                  </a:lnTo>
                  <a:lnTo>
                    <a:pt x="1987" y="2144"/>
                  </a:lnTo>
                  <a:lnTo>
                    <a:pt x="1986" y="2139"/>
                  </a:lnTo>
                  <a:lnTo>
                    <a:pt x="1985" y="2134"/>
                  </a:lnTo>
                  <a:lnTo>
                    <a:pt x="1985" y="2128"/>
                  </a:lnTo>
                  <a:lnTo>
                    <a:pt x="1986" y="2124"/>
                  </a:lnTo>
                  <a:lnTo>
                    <a:pt x="1987" y="2119"/>
                  </a:lnTo>
                  <a:lnTo>
                    <a:pt x="1988" y="2114"/>
                  </a:lnTo>
                  <a:lnTo>
                    <a:pt x="1990" y="2110"/>
                  </a:lnTo>
                  <a:lnTo>
                    <a:pt x="1993" y="2105"/>
                  </a:lnTo>
                  <a:lnTo>
                    <a:pt x="1996" y="2101"/>
                  </a:lnTo>
                  <a:lnTo>
                    <a:pt x="2000" y="2098"/>
                  </a:lnTo>
                  <a:lnTo>
                    <a:pt x="2003" y="2094"/>
                  </a:lnTo>
                  <a:lnTo>
                    <a:pt x="2009" y="2091"/>
                  </a:lnTo>
                  <a:lnTo>
                    <a:pt x="2013" y="2088"/>
                  </a:lnTo>
                  <a:lnTo>
                    <a:pt x="2018" y="2086"/>
                  </a:lnTo>
                  <a:lnTo>
                    <a:pt x="2024" y="2084"/>
                  </a:lnTo>
                  <a:lnTo>
                    <a:pt x="2678" y="1906"/>
                  </a:lnTo>
                  <a:lnTo>
                    <a:pt x="2693" y="1902"/>
                  </a:lnTo>
                  <a:lnTo>
                    <a:pt x="2707" y="1899"/>
                  </a:lnTo>
                  <a:lnTo>
                    <a:pt x="2720" y="1898"/>
                  </a:lnTo>
                  <a:lnTo>
                    <a:pt x="2734" y="1898"/>
                  </a:lnTo>
                  <a:lnTo>
                    <a:pt x="2746" y="1900"/>
                  </a:lnTo>
                  <a:lnTo>
                    <a:pt x="2758" y="1902"/>
                  </a:lnTo>
                  <a:lnTo>
                    <a:pt x="2769" y="1906"/>
                  </a:lnTo>
                  <a:lnTo>
                    <a:pt x="2780" y="1910"/>
                  </a:lnTo>
                  <a:lnTo>
                    <a:pt x="2791" y="1915"/>
                  </a:lnTo>
                  <a:lnTo>
                    <a:pt x="2800" y="1921"/>
                  </a:lnTo>
                  <a:lnTo>
                    <a:pt x="2809" y="1928"/>
                  </a:lnTo>
                  <a:lnTo>
                    <a:pt x="2817" y="1936"/>
                  </a:lnTo>
                  <a:lnTo>
                    <a:pt x="2825" y="1944"/>
                  </a:lnTo>
                  <a:lnTo>
                    <a:pt x="2832" y="1953"/>
                  </a:lnTo>
                  <a:lnTo>
                    <a:pt x="2838" y="1963"/>
                  </a:lnTo>
                  <a:lnTo>
                    <a:pt x="2845" y="1974"/>
                  </a:lnTo>
                  <a:lnTo>
                    <a:pt x="3216" y="2706"/>
                  </a:lnTo>
                  <a:lnTo>
                    <a:pt x="3221" y="2717"/>
                  </a:lnTo>
                  <a:lnTo>
                    <a:pt x="3225" y="2727"/>
                  </a:lnTo>
                  <a:lnTo>
                    <a:pt x="3229" y="2739"/>
                  </a:lnTo>
                  <a:lnTo>
                    <a:pt x="3231" y="2751"/>
                  </a:lnTo>
                  <a:lnTo>
                    <a:pt x="3232" y="2762"/>
                  </a:lnTo>
                  <a:lnTo>
                    <a:pt x="3233" y="2773"/>
                  </a:lnTo>
                  <a:lnTo>
                    <a:pt x="3232" y="2784"/>
                  </a:lnTo>
                  <a:lnTo>
                    <a:pt x="3230" y="2795"/>
                  </a:lnTo>
                  <a:lnTo>
                    <a:pt x="3227" y="2806"/>
                  </a:lnTo>
                  <a:lnTo>
                    <a:pt x="3223" y="2818"/>
                  </a:lnTo>
                  <a:lnTo>
                    <a:pt x="3218" y="2829"/>
                  </a:lnTo>
                  <a:lnTo>
                    <a:pt x="3212" y="2839"/>
                  </a:lnTo>
                  <a:lnTo>
                    <a:pt x="3204" y="2850"/>
                  </a:lnTo>
                  <a:lnTo>
                    <a:pt x="3194" y="2860"/>
                  </a:lnTo>
                  <a:lnTo>
                    <a:pt x="3184" y="2871"/>
                  </a:lnTo>
                  <a:lnTo>
                    <a:pt x="3173" y="2881"/>
                  </a:lnTo>
                  <a:lnTo>
                    <a:pt x="2643" y="3304"/>
                  </a:lnTo>
                  <a:lnTo>
                    <a:pt x="2638" y="3307"/>
                  </a:lnTo>
                  <a:lnTo>
                    <a:pt x="2633" y="3310"/>
                  </a:lnTo>
                  <a:lnTo>
                    <a:pt x="2629" y="3312"/>
                  </a:lnTo>
                  <a:lnTo>
                    <a:pt x="2624" y="3314"/>
                  </a:lnTo>
                  <a:lnTo>
                    <a:pt x="2619" y="3315"/>
                  </a:lnTo>
                  <a:lnTo>
                    <a:pt x="2613" y="3316"/>
                  </a:lnTo>
                  <a:lnTo>
                    <a:pt x="2608" y="3316"/>
                  </a:lnTo>
                  <a:lnTo>
                    <a:pt x="2603" y="3315"/>
                  </a:lnTo>
                  <a:lnTo>
                    <a:pt x="2598" y="3314"/>
                  </a:lnTo>
                  <a:lnTo>
                    <a:pt x="2593" y="3313"/>
                  </a:lnTo>
                  <a:lnTo>
                    <a:pt x="2588" y="3311"/>
                  </a:lnTo>
                  <a:lnTo>
                    <a:pt x="2584" y="3308"/>
                  </a:lnTo>
                  <a:lnTo>
                    <a:pt x="2580" y="3305"/>
                  </a:lnTo>
                  <a:lnTo>
                    <a:pt x="2576" y="3302"/>
                  </a:lnTo>
                  <a:lnTo>
                    <a:pt x="2573" y="3297"/>
                  </a:lnTo>
                  <a:lnTo>
                    <a:pt x="2570" y="3292"/>
                  </a:lnTo>
                  <a:close/>
                  <a:moveTo>
                    <a:pt x="3494" y="1498"/>
                  </a:moveTo>
                  <a:lnTo>
                    <a:pt x="2227" y="1688"/>
                  </a:lnTo>
                  <a:lnTo>
                    <a:pt x="2222" y="1688"/>
                  </a:lnTo>
                  <a:lnTo>
                    <a:pt x="2216" y="1688"/>
                  </a:lnTo>
                  <a:lnTo>
                    <a:pt x="2211" y="1687"/>
                  </a:lnTo>
                  <a:lnTo>
                    <a:pt x="2206" y="1686"/>
                  </a:lnTo>
                  <a:lnTo>
                    <a:pt x="2202" y="1684"/>
                  </a:lnTo>
                  <a:lnTo>
                    <a:pt x="2198" y="1681"/>
                  </a:lnTo>
                  <a:lnTo>
                    <a:pt x="2194" y="1678"/>
                  </a:lnTo>
                  <a:lnTo>
                    <a:pt x="2190" y="1675"/>
                  </a:lnTo>
                  <a:lnTo>
                    <a:pt x="2187" y="1671"/>
                  </a:lnTo>
                  <a:lnTo>
                    <a:pt x="2183" y="1667"/>
                  </a:lnTo>
                  <a:lnTo>
                    <a:pt x="2181" y="1661"/>
                  </a:lnTo>
                  <a:lnTo>
                    <a:pt x="2179" y="1657"/>
                  </a:lnTo>
                  <a:lnTo>
                    <a:pt x="2177" y="1652"/>
                  </a:lnTo>
                  <a:lnTo>
                    <a:pt x="2176" y="1646"/>
                  </a:lnTo>
                  <a:lnTo>
                    <a:pt x="2176" y="1641"/>
                  </a:lnTo>
                  <a:lnTo>
                    <a:pt x="2176" y="1635"/>
                  </a:lnTo>
                  <a:lnTo>
                    <a:pt x="2213" y="959"/>
                  </a:lnTo>
                  <a:lnTo>
                    <a:pt x="2214" y="944"/>
                  </a:lnTo>
                  <a:lnTo>
                    <a:pt x="2217" y="929"/>
                  </a:lnTo>
                  <a:lnTo>
                    <a:pt x="2220" y="915"/>
                  </a:lnTo>
                  <a:lnTo>
                    <a:pt x="2224" y="903"/>
                  </a:lnTo>
                  <a:lnTo>
                    <a:pt x="2229" y="892"/>
                  </a:lnTo>
                  <a:lnTo>
                    <a:pt x="2235" y="881"/>
                  </a:lnTo>
                  <a:lnTo>
                    <a:pt x="2241" y="871"/>
                  </a:lnTo>
                  <a:lnTo>
                    <a:pt x="2250" y="862"/>
                  </a:lnTo>
                  <a:lnTo>
                    <a:pt x="2257" y="854"/>
                  </a:lnTo>
                  <a:lnTo>
                    <a:pt x="2266" y="847"/>
                  </a:lnTo>
                  <a:lnTo>
                    <a:pt x="2275" y="841"/>
                  </a:lnTo>
                  <a:lnTo>
                    <a:pt x="2285" y="836"/>
                  </a:lnTo>
                  <a:lnTo>
                    <a:pt x="2296" y="831"/>
                  </a:lnTo>
                  <a:lnTo>
                    <a:pt x="2307" y="827"/>
                  </a:lnTo>
                  <a:lnTo>
                    <a:pt x="2319" y="824"/>
                  </a:lnTo>
                  <a:lnTo>
                    <a:pt x="2331" y="822"/>
                  </a:lnTo>
                  <a:lnTo>
                    <a:pt x="3142" y="700"/>
                  </a:lnTo>
                  <a:lnTo>
                    <a:pt x="3154" y="699"/>
                  </a:lnTo>
                  <a:lnTo>
                    <a:pt x="3166" y="699"/>
                  </a:lnTo>
                  <a:lnTo>
                    <a:pt x="3177" y="699"/>
                  </a:lnTo>
                  <a:lnTo>
                    <a:pt x="3189" y="700"/>
                  </a:lnTo>
                  <a:lnTo>
                    <a:pt x="3200" y="702"/>
                  </a:lnTo>
                  <a:lnTo>
                    <a:pt x="3211" y="706"/>
                  </a:lnTo>
                  <a:lnTo>
                    <a:pt x="3222" y="710"/>
                  </a:lnTo>
                  <a:lnTo>
                    <a:pt x="3232" y="715"/>
                  </a:lnTo>
                  <a:lnTo>
                    <a:pt x="3241" y="721"/>
                  </a:lnTo>
                  <a:lnTo>
                    <a:pt x="3250" y="728"/>
                  </a:lnTo>
                  <a:lnTo>
                    <a:pt x="3259" y="737"/>
                  </a:lnTo>
                  <a:lnTo>
                    <a:pt x="3268" y="746"/>
                  </a:lnTo>
                  <a:lnTo>
                    <a:pt x="3275" y="758"/>
                  </a:lnTo>
                  <a:lnTo>
                    <a:pt x="3282" y="769"/>
                  </a:lnTo>
                  <a:lnTo>
                    <a:pt x="3289" y="782"/>
                  </a:lnTo>
                  <a:lnTo>
                    <a:pt x="3294" y="796"/>
                  </a:lnTo>
                  <a:lnTo>
                    <a:pt x="3529" y="1433"/>
                  </a:lnTo>
                  <a:lnTo>
                    <a:pt x="3530" y="1438"/>
                  </a:lnTo>
                  <a:lnTo>
                    <a:pt x="3531" y="1443"/>
                  </a:lnTo>
                  <a:lnTo>
                    <a:pt x="3532" y="1449"/>
                  </a:lnTo>
                  <a:lnTo>
                    <a:pt x="3532" y="1454"/>
                  </a:lnTo>
                  <a:lnTo>
                    <a:pt x="3531" y="1459"/>
                  </a:lnTo>
                  <a:lnTo>
                    <a:pt x="3530" y="1464"/>
                  </a:lnTo>
                  <a:lnTo>
                    <a:pt x="3529" y="1469"/>
                  </a:lnTo>
                  <a:lnTo>
                    <a:pt x="3527" y="1474"/>
                  </a:lnTo>
                  <a:lnTo>
                    <a:pt x="3525" y="1478"/>
                  </a:lnTo>
                  <a:lnTo>
                    <a:pt x="3522" y="1483"/>
                  </a:lnTo>
                  <a:lnTo>
                    <a:pt x="3518" y="1487"/>
                  </a:lnTo>
                  <a:lnTo>
                    <a:pt x="3515" y="1490"/>
                  </a:lnTo>
                  <a:lnTo>
                    <a:pt x="3510" y="1493"/>
                  </a:lnTo>
                  <a:lnTo>
                    <a:pt x="3506" y="1495"/>
                  </a:lnTo>
                  <a:lnTo>
                    <a:pt x="3501" y="1497"/>
                  </a:lnTo>
                  <a:lnTo>
                    <a:pt x="3494" y="1498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232645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Вертикальный заголовок и текст"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5"/>
          <p:cNvSpPr>
            <a:spLocks/>
          </p:cNvSpPr>
          <p:nvPr userDrawn="1"/>
        </p:nvSpPr>
        <p:spPr bwMode="auto">
          <a:xfrm>
            <a:off x="7334912" y="2886077"/>
            <a:ext cx="1719792" cy="2135187"/>
          </a:xfrm>
          <a:custGeom>
            <a:avLst/>
            <a:gdLst>
              <a:gd name="T0" fmla="*/ 3159 w 4000"/>
              <a:gd name="T1" fmla="*/ 5238 h 5382"/>
              <a:gd name="T2" fmla="*/ 3155 w 4000"/>
              <a:gd name="T3" fmla="*/ 5259 h 5382"/>
              <a:gd name="T4" fmla="*/ 3146 w 4000"/>
              <a:gd name="T5" fmla="*/ 5280 h 5382"/>
              <a:gd name="T6" fmla="*/ 3137 w 4000"/>
              <a:gd name="T7" fmla="*/ 5299 h 5382"/>
              <a:gd name="T8" fmla="*/ 3126 w 4000"/>
              <a:gd name="T9" fmla="*/ 5315 h 5382"/>
              <a:gd name="T10" fmla="*/ 3113 w 4000"/>
              <a:gd name="T11" fmla="*/ 5330 h 5382"/>
              <a:gd name="T12" fmla="*/ 3098 w 4000"/>
              <a:gd name="T13" fmla="*/ 5343 h 5382"/>
              <a:gd name="T14" fmla="*/ 3064 w 4000"/>
              <a:gd name="T15" fmla="*/ 5364 h 5382"/>
              <a:gd name="T16" fmla="*/ 3024 w 4000"/>
              <a:gd name="T17" fmla="*/ 5378 h 5382"/>
              <a:gd name="T18" fmla="*/ 2984 w 4000"/>
              <a:gd name="T19" fmla="*/ 5382 h 5382"/>
              <a:gd name="T20" fmla="*/ 2941 w 4000"/>
              <a:gd name="T21" fmla="*/ 5380 h 5382"/>
              <a:gd name="T22" fmla="*/ 2898 w 4000"/>
              <a:gd name="T23" fmla="*/ 5368 h 5382"/>
              <a:gd name="T24" fmla="*/ 354 w 4000"/>
              <a:gd name="T25" fmla="*/ 4384 h 5382"/>
              <a:gd name="T26" fmla="*/ 300 w 4000"/>
              <a:gd name="T27" fmla="*/ 4358 h 5382"/>
              <a:gd name="T28" fmla="*/ 250 w 4000"/>
              <a:gd name="T29" fmla="*/ 4332 h 5382"/>
              <a:gd name="T30" fmla="*/ 206 w 4000"/>
              <a:gd name="T31" fmla="*/ 4301 h 5382"/>
              <a:gd name="T32" fmla="*/ 166 w 4000"/>
              <a:gd name="T33" fmla="*/ 4269 h 5382"/>
              <a:gd name="T34" fmla="*/ 132 w 4000"/>
              <a:gd name="T35" fmla="*/ 4235 h 5382"/>
              <a:gd name="T36" fmla="*/ 100 w 4000"/>
              <a:gd name="T37" fmla="*/ 4198 h 5382"/>
              <a:gd name="T38" fmla="*/ 75 w 4000"/>
              <a:gd name="T39" fmla="*/ 4161 h 5382"/>
              <a:gd name="T40" fmla="*/ 51 w 4000"/>
              <a:gd name="T41" fmla="*/ 4121 h 5382"/>
              <a:gd name="T42" fmla="*/ 34 w 4000"/>
              <a:gd name="T43" fmla="*/ 4079 h 5382"/>
              <a:gd name="T44" fmla="*/ 19 w 4000"/>
              <a:gd name="T45" fmla="*/ 4036 h 5382"/>
              <a:gd name="T46" fmla="*/ 8 w 4000"/>
              <a:gd name="T47" fmla="*/ 3993 h 5382"/>
              <a:gd name="T48" fmla="*/ 3 w 4000"/>
              <a:gd name="T49" fmla="*/ 3948 h 5382"/>
              <a:gd name="T50" fmla="*/ 0 w 4000"/>
              <a:gd name="T51" fmla="*/ 3902 h 5382"/>
              <a:gd name="T52" fmla="*/ 0 w 4000"/>
              <a:gd name="T53" fmla="*/ 3855 h 5382"/>
              <a:gd name="T54" fmla="*/ 5 w 4000"/>
              <a:gd name="T55" fmla="*/ 3807 h 5382"/>
              <a:gd name="T56" fmla="*/ 545 w 4000"/>
              <a:gd name="T57" fmla="*/ 564 h 5382"/>
              <a:gd name="T58" fmla="*/ 555 w 4000"/>
              <a:gd name="T59" fmla="*/ 516 h 5382"/>
              <a:gd name="T60" fmla="*/ 567 w 4000"/>
              <a:gd name="T61" fmla="*/ 471 h 5382"/>
              <a:gd name="T62" fmla="*/ 583 w 4000"/>
              <a:gd name="T63" fmla="*/ 427 h 5382"/>
              <a:gd name="T64" fmla="*/ 602 w 4000"/>
              <a:gd name="T65" fmla="*/ 385 h 5382"/>
              <a:gd name="T66" fmla="*/ 624 w 4000"/>
              <a:gd name="T67" fmla="*/ 345 h 5382"/>
              <a:gd name="T68" fmla="*/ 650 w 4000"/>
              <a:gd name="T69" fmla="*/ 308 h 5382"/>
              <a:gd name="T70" fmla="*/ 679 w 4000"/>
              <a:gd name="T71" fmla="*/ 274 h 5382"/>
              <a:gd name="T72" fmla="*/ 712 w 4000"/>
              <a:gd name="T73" fmla="*/ 242 h 5382"/>
              <a:gd name="T74" fmla="*/ 746 w 4000"/>
              <a:gd name="T75" fmla="*/ 214 h 5382"/>
              <a:gd name="T76" fmla="*/ 786 w 4000"/>
              <a:gd name="T77" fmla="*/ 187 h 5382"/>
              <a:gd name="T78" fmla="*/ 829 w 4000"/>
              <a:gd name="T79" fmla="*/ 165 h 5382"/>
              <a:gd name="T80" fmla="*/ 875 w 4000"/>
              <a:gd name="T81" fmla="*/ 145 h 5382"/>
              <a:gd name="T82" fmla="*/ 924 w 4000"/>
              <a:gd name="T83" fmla="*/ 130 h 5382"/>
              <a:gd name="T84" fmla="*/ 978 w 4000"/>
              <a:gd name="T85" fmla="*/ 117 h 5382"/>
              <a:gd name="T86" fmla="*/ 1035 w 4000"/>
              <a:gd name="T87" fmla="*/ 109 h 5382"/>
              <a:gd name="T88" fmla="*/ 1096 w 4000"/>
              <a:gd name="T89" fmla="*/ 105 h 5382"/>
              <a:gd name="T90" fmla="*/ 3814 w 4000"/>
              <a:gd name="T91" fmla="*/ 0 h 5382"/>
              <a:gd name="T92" fmla="*/ 3857 w 4000"/>
              <a:gd name="T93" fmla="*/ 7 h 5382"/>
              <a:gd name="T94" fmla="*/ 3897 w 4000"/>
              <a:gd name="T95" fmla="*/ 22 h 5382"/>
              <a:gd name="T96" fmla="*/ 3932 w 4000"/>
              <a:gd name="T97" fmla="*/ 44 h 5382"/>
              <a:gd name="T98" fmla="*/ 3960 w 4000"/>
              <a:gd name="T99" fmla="*/ 72 h 5382"/>
              <a:gd name="T100" fmla="*/ 3977 w 4000"/>
              <a:gd name="T101" fmla="*/ 97 h 5382"/>
              <a:gd name="T102" fmla="*/ 3987 w 4000"/>
              <a:gd name="T103" fmla="*/ 115 h 5382"/>
              <a:gd name="T104" fmla="*/ 3993 w 4000"/>
              <a:gd name="T105" fmla="*/ 134 h 5382"/>
              <a:gd name="T106" fmla="*/ 3997 w 4000"/>
              <a:gd name="T107" fmla="*/ 154 h 5382"/>
              <a:gd name="T108" fmla="*/ 4000 w 4000"/>
              <a:gd name="T109" fmla="*/ 174 h 5382"/>
              <a:gd name="T110" fmla="*/ 3998 w 4000"/>
              <a:gd name="T111" fmla="*/ 197 h 5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000" h="5382">
                <a:moveTo>
                  <a:pt x="3997" y="207"/>
                </a:moveTo>
                <a:lnTo>
                  <a:pt x="3159" y="5238"/>
                </a:lnTo>
                <a:lnTo>
                  <a:pt x="3157" y="5249"/>
                </a:lnTo>
                <a:lnTo>
                  <a:pt x="3155" y="5259"/>
                </a:lnTo>
                <a:lnTo>
                  <a:pt x="3151" y="5270"/>
                </a:lnTo>
                <a:lnTo>
                  <a:pt x="3146" y="5280"/>
                </a:lnTo>
                <a:lnTo>
                  <a:pt x="3143" y="5289"/>
                </a:lnTo>
                <a:lnTo>
                  <a:pt x="3137" y="5299"/>
                </a:lnTo>
                <a:lnTo>
                  <a:pt x="3132" y="5307"/>
                </a:lnTo>
                <a:lnTo>
                  <a:pt x="3126" y="5315"/>
                </a:lnTo>
                <a:lnTo>
                  <a:pt x="3120" y="5323"/>
                </a:lnTo>
                <a:lnTo>
                  <a:pt x="3113" y="5330"/>
                </a:lnTo>
                <a:lnTo>
                  <a:pt x="3106" y="5337"/>
                </a:lnTo>
                <a:lnTo>
                  <a:pt x="3098" y="5343"/>
                </a:lnTo>
                <a:lnTo>
                  <a:pt x="3081" y="5354"/>
                </a:lnTo>
                <a:lnTo>
                  <a:pt x="3064" y="5364"/>
                </a:lnTo>
                <a:lnTo>
                  <a:pt x="3044" y="5372"/>
                </a:lnTo>
                <a:lnTo>
                  <a:pt x="3024" y="5378"/>
                </a:lnTo>
                <a:lnTo>
                  <a:pt x="3005" y="5381"/>
                </a:lnTo>
                <a:lnTo>
                  <a:pt x="2984" y="5382"/>
                </a:lnTo>
                <a:lnTo>
                  <a:pt x="2962" y="5382"/>
                </a:lnTo>
                <a:lnTo>
                  <a:pt x="2941" y="5380"/>
                </a:lnTo>
                <a:lnTo>
                  <a:pt x="2920" y="5375"/>
                </a:lnTo>
                <a:lnTo>
                  <a:pt x="2898" y="5368"/>
                </a:lnTo>
                <a:lnTo>
                  <a:pt x="381" y="4396"/>
                </a:lnTo>
                <a:lnTo>
                  <a:pt x="354" y="4384"/>
                </a:lnTo>
                <a:lnTo>
                  <a:pt x="326" y="4371"/>
                </a:lnTo>
                <a:lnTo>
                  <a:pt x="300" y="4358"/>
                </a:lnTo>
                <a:lnTo>
                  <a:pt x="275" y="4346"/>
                </a:lnTo>
                <a:lnTo>
                  <a:pt x="250" y="4332"/>
                </a:lnTo>
                <a:lnTo>
                  <a:pt x="228" y="4317"/>
                </a:lnTo>
                <a:lnTo>
                  <a:pt x="206" y="4301"/>
                </a:lnTo>
                <a:lnTo>
                  <a:pt x="186" y="4285"/>
                </a:lnTo>
                <a:lnTo>
                  <a:pt x="166" y="4269"/>
                </a:lnTo>
                <a:lnTo>
                  <a:pt x="149" y="4253"/>
                </a:lnTo>
                <a:lnTo>
                  <a:pt x="132" y="4235"/>
                </a:lnTo>
                <a:lnTo>
                  <a:pt x="115" y="4217"/>
                </a:lnTo>
                <a:lnTo>
                  <a:pt x="100" y="4198"/>
                </a:lnTo>
                <a:lnTo>
                  <a:pt x="87" y="4179"/>
                </a:lnTo>
                <a:lnTo>
                  <a:pt x="75" y="4161"/>
                </a:lnTo>
                <a:lnTo>
                  <a:pt x="62" y="4141"/>
                </a:lnTo>
                <a:lnTo>
                  <a:pt x="51" y="4121"/>
                </a:lnTo>
                <a:lnTo>
                  <a:pt x="42" y="4100"/>
                </a:lnTo>
                <a:lnTo>
                  <a:pt x="34" y="4079"/>
                </a:lnTo>
                <a:lnTo>
                  <a:pt x="26" y="4059"/>
                </a:lnTo>
                <a:lnTo>
                  <a:pt x="19" y="4036"/>
                </a:lnTo>
                <a:lnTo>
                  <a:pt x="13" y="4016"/>
                </a:lnTo>
                <a:lnTo>
                  <a:pt x="8" y="3993"/>
                </a:lnTo>
                <a:lnTo>
                  <a:pt x="5" y="3970"/>
                </a:lnTo>
                <a:lnTo>
                  <a:pt x="3" y="3948"/>
                </a:lnTo>
                <a:lnTo>
                  <a:pt x="0" y="3925"/>
                </a:lnTo>
                <a:lnTo>
                  <a:pt x="0" y="3902"/>
                </a:lnTo>
                <a:lnTo>
                  <a:pt x="0" y="3878"/>
                </a:lnTo>
                <a:lnTo>
                  <a:pt x="0" y="3855"/>
                </a:lnTo>
                <a:lnTo>
                  <a:pt x="3" y="3831"/>
                </a:lnTo>
                <a:lnTo>
                  <a:pt x="5" y="3807"/>
                </a:lnTo>
                <a:lnTo>
                  <a:pt x="8" y="3783"/>
                </a:lnTo>
                <a:lnTo>
                  <a:pt x="545" y="564"/>
                </a:lnTo>
                <a:lnTo>
                  <a:pt x="549" y="539"/>
                </a:lnTo>
                <a:lnTo>
                  <a:pt x="555" y="516"/>
                </a:lnTo>
                <a:lnTo>
                  <a:pt x="560" y="493"/>
                </a:lnTo>
                <a:lnTo>
                  <a:pt x="567" y="471"/>
                </a:lnTo>
                <a:lnTo>
                  <a:pt x="574" y="449"/>
                </a:lnTo>
                <a:lnTo>
                  <a:pt x="583" y="427"/>
                </a:lnTo>
                <a:lnTo>
                  <a:pt x="592" y="406"/>
                </a:lnTo>
                <a:lnTo>
                  <a:pt x="602" y="385"/>
                </a:lnTo>
                <a:lnTo>
                  <a:pt x="613" y="365"/>
                </a:lnTo>
                <a:lnTo>
                  <a:pt x="624" y="345"/>
                </a:lnTo>
                <a:lnTo>
                  <a:pt x="637" y="327"/>
                </a:lnTo>
                <a:lnTo>
                  <a:pt x="650" y="308"/>
                </a:lnTo>
                <a:lnTo>
                  <a:pt x="664" y="291"/>
                </a:lnTo>
                <a:lnTo>
                  <a:pt x="679" y="274"/>
                </a:lnTo>
                <a:lnTo>
                  <a:pt x="695" y="258"/>
                </a:lnTo>
                <a:lnTo>
                  <a:pt x="712" y="242"/>
                </a:lnTo>
                <a:lnTo>
                  <a:pt x="729" y="228"/>
                </a:lnTo>
                <a:lnTo>
                  <a:pt x="746" y="214"/>
                </a:lnTo>
                <a:lnTo>
                  <a:pt x="766" y="200"/>
                </a:lnTo>
                <a:lnTo>
                  <a:pt x="786" y="187"/>
                </a:lnTo>
                <a:lnTo>
                  <a:pt x="807" y="176"/>
                </a:lnTo>
                <a:lnTo>
                  <a:pt x="829" y="165"/>
                </a:lnTo>
                <a:lnTo>
                  <a:pt x="851" y="155"/>
                </a:lnTo>
                <a:lnTo>
                  <a:pt x="875" y="145"/>
                </a:lnTo>
                <a:lnTo>
                  <a:pt x="900" y="137"/>
                </a:lnTo>
                <a:lnTo>
                  <a:pt x="924" y="130"/>
                </a:lnTo>
                <a:lnTo>
                  <a:pt x="951" y="123"/>
                </a:lnTo>
                <a:lnTo>
                  <a:pt x="978" y="117"/>
                </a:lnTo>
                <a:lnTo>
                  <a:pt x="1007" y="113"/>
                </a:lnTo>
                <a:lnTo>
                  <a:pt x="1035" y="109"/>
                </a:lnTo>
                <a:lnTo>
                  <a:pt x="1065" y="107"/>
                </a:lnTo>
                <a:lnTo>
                  <a:pt x="1096" y="105"/>
                </a:lnTo>
                <a:lnTo>
                  <a:pt x="3791" y="0"/>
                </a:lnTo>
                <a:lnTo>
                  <a:pt x="3814" y="0"/>
                </a:lnTo>
                <a:lnTo>
                  <a:pt x="3836" y="2"/>
                </a:lnTo>
                <a:lnTo>
                  <a:pt x="3857" y="7"/>
                </a:lnTo>
                <a:lnTo>
                  <a:pt x="3877" y="14"/>
                </a:lnTo>
                <a:lnTo>
                  <a:pt x="3897" y="22"/>
                </a:lnTo>
                <a:lnTo>
                  <a:pt x="3915" y="33"/>
                </a:lnTo>
                <a:lnTo>
                  <a:pt x="3932" y="44"/>
                </a:lnTo>
                <a:lnTo>
                  <a:pt x="3947" y="57"/>
                </a:lnTo>
                <a:lnTo>
                  <a:pt x="3960" y="72"/>
                </a:lnTo>
                <a:lnTo>
                  <a:pt x="3973" y="88"/>
                </a:lnTo>
                <a:lnTo>
                  <a:pt x="3977" y="97"/>
                </a:lnTo>
                <a:lnTo>
                  <a:pt x="3982" y="106"/>
                </a:lnTo>
                <a:lnTo>
                  <a:pt x="3987" y="115"/>
                </a:lnTo>
                <a:lnTo>
                  <a:pt x="3990" y="124"/>
                </a:lnTo>
                <a:lnTo>
                  <a:pt x="3993" y="134"/>
                </a:lnTo>
                <a:lnTo>
                  <a:pt x="3996" y="143"/>
                </a:lnTo>
                <a:lnTo>
                  <a:pt x="3997" y="154"/>
                </a:lnTo>
                <a:lnTo>
                  <a:pt x="3998" y="164"/>
                </a:lnTo>
                <a:lnTo>
                  <a:pt x="4000" y="174"/>
                </a:lnTo>
                <a:lnTo>
                  <a:pt x="4000" y="185"/>
                </a:lnTo>
                <a:lnTo>
                  <a:pt x="3998" y="197"/>
                </a:lnTo>
                <a:lnTo>
                  <a:pt x="3997" y="207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Freeform 7"/>
          <p:cNvSpPr>
            <a:spLocks/>
          </p:cNvSpPr>
          <p:nvPr userDrawn="1"/>
        </p:nvSpPr>
        <p:spPr bwMode="auto">
          <a:xfrm>
            <a:off x="9231842" y="4125920"/>
            <a:ext cx="674158" cy="1425575"/>
          </a:xfrm>
          <a:custGeom>
            <a:avLst/>
            <a:gdLst>
              <a:gd name="T0" fmla="*/ 1569 w 1569"/>
              <a:gd name="T1" fmla="*/ 3384 h 3590"/>
              <a:gd name="T2" fmla="*/ 205 w 1569"/>
              <a:gd name="T3" fmla="*/ 3589 h 3590"/>
              <a:gd name="T4" fmla="*/ 194 w 1569"/>
              <a:gd name="T5" fmla="*/ 3590 h 3590"/>
              <a:gd name="T6" fmla="*/ 182 w 1569"/>
              <a:gd name="T7" fmla="*/ 3590 h 3590"/>
              <a:gd name="T8" fmla="*/ 172 w 1569"/>
              <a:gd name="T9" fmla="*/ 3590 h 3590"/>
              <a:gd name="T10" fmla="*/ 162 w 1569"/>
              <a:gd name="T11" fmla="*/ 3590 h 3590"/>
              <a:gd name="T12" fmla="*/ 151 w 1569"/>
              <a:gd name="T13" fmla="*/ 3588 h 3590"/>
              <a:gd name="T14" fmla="*/ 141 w 1569"/>
              <a:gd name="T15" fmla="*/ 3587 h 3590"/>
              <a:gd name="T16" fmla="*/ 131 w 1569"/>
              <a:gd name="T17" fmla="*/ 3584 h 3590"/>
              <a:gd name="T18" fmla="*/ 121 w 1569"/>
              <a:gd name="T19" fmla="*/ 3581 h 3590"/>
              <a:gd name="T20" fmla="*/ 112 w 1569"/>
              <a:gd name="T21" fmla="*/ 3577 h 3590"/>
              <a:gd name="T22" fmla="*/ 103 w 1569"/>
              <a:gd name="T23" fmla="*/ 3573 h 3590"/>
              <a:gd name="T24" fmla="*/ 94 w 1569"/>
              <a:gd name="T25" fmla="*/ 3568 h 3590"/>
              <a:gd name="T26" fmla="*/ 86 w 1569"/>
              <a:gd name="T27" fmla="*/ 3563 h 3590"/>
              <a:gd name="T28" fmla="*/ 70 w 1569"/>
              <a:gd name="T29" fmla="*/ 3551 h 3590"/>
              <a:gd name="T30" fmla="*/ 56 w 1569"/>
              <a:gd name="T31" fmla="*/ 3537 h 3590"/>
              <a:gd name="T32" fmla="*/ 42 w 1569"/>
              <a:gd name="T33" fmla="*/ 3521 h 3590"/>
              <a:gd name="T34" fmla="*/ 30 w 1569"/>
              <a:gd name="T35" fmla="*/ 3504 h 3590"/>
              <a:gd name="T36" fmla="*/ 21 w 1569"/>
              <a:gd name="T37" fmla="*/ 3486 h 3590"/>
              <a:gd name="T38" fmla="*/ 13 w 1569"/>
              <a:gd name="T39" fmla="*/ 3466 h 3590"/>
              <a:gd name="T40" fmla="*/ 7 w 1569"/>
              <a:gd name="T41" fmla="*/ 3446 h 3590"/>
              <a:gd name="T42" fmla="*/ 2 w 1569"/>
              <a:gd name="T43" fmla="*/ 3424 h 3590"/>
              <a:gd name="T44" fmla="*/ 0 w 1569"/>
              <a:gd name="T45" fmla="*/ 3403 h 3590"/>
              <a:gd name="T46" fmla="*/ 0 w 1569"/>
              <a:gd name="T47" fmla="*/ 3380 h 3590"/>
              <a:gd name="T48" fmla="*/ 149 w 1569"/>
              <a:gd name="T49" fmla="*/ 687 h 3590"/>
              <a:gd name="T50" fmla="*/ 150 w 1569"/>
              <a:gd name="T51" fmla="*/ 656 h 3590"/>
              <a:gd name="T52" fmla="*/ 153 w 1569"/>
              <a:gd name="T53" fmla="*/ 627 h 3590"/>
              <a:gd name="T54" fmla="*/ 158 w 1569"/>
              <a:gd name="T55" fmla="*/ 598 h 3590"/>
              <a:gd name="T56" fmla="*/ 163 w 1569"/>
              <a:gd name="T57" fmla="*/ 570 h 3590"/>
              <a:gd name="T58" fmla="*/ 168 w 1569"/>
              <a:gd name="T59" fmla="*/ 542 h 3590"/>
              <a:gd name="T60" fmla="*/ 175 w 1569"/>
              <a:gd name="T61" fmla="*/ 516 h 3590"/>
              <a:gd name="T62" fmla="*/ 184 w 1569"/>
              <a:gd name="T63" fmla="*/ 491 h 3590"/>
              <a:gd name="T64" fmla="*/ 193 w 1569"/>
              <a:gd name="T65" fmla="*/ 466 h 3590"/>
              <a:gd name="T66" fmla="*/ 202 w 1569"/>
              <a:gd name="T67" fmla="*/ 443 h 3590"/>
              <a:gd name="T68" fmla="*/ 213 w 1569"/>
              <a:gd name="T69" fmla="*/ 421 h 3590"/>
              <a:gd name="T70" fmla="*/ 224 w 1569"/>
              <a:gd name="T71" fmla="*/ 399 h 3590"/>
              <a:gd name="T72" fmla="*/ 236 w 1569"/>
              <a:gd name="T73" fmla="*/ 378 h 3590"/>
              <a:gd name="T74" fmla="*/ 249 w 1569"/>
              <a:gd name="T75" fmla="*/ 358 h 3590"/>
              <a:gd name="T76" fmla="*/ 263 w 1569"/>
              <a:gd name="T77" fmla="*/ 340 h 3590"/>
              <a:gd name="T78" fmla="*/ 277 w 1569"/>
              <a:gd name="T79" fmla="*/ 322 h 3590"/>
              <a:gd name="T80" fmla="*/ 292 w 1569"/>
              <a:gd name="T81" fmla="*/ 305 h 3590"/>
              <a:gd name="T82" fmla="*/ 308 w 1569"/>
              <a:gd name="T83" fmla="*/ 289 h 3590"/>
              <a:gd name="T84" fmla="*/ 324 w 1569"/>
              <a:gd name="T85" fmla="*/ 272 h 3590"/>
              <a:gd name="T86" fmla="*/ 342 w 1569"/>
              <a:gd name="T87" fmla="*/ 258 h 3590"/>
              <a:gd name="T88" fmla="*/ 359 w 1569"/>
              <a:gd name="T89" fmla="*/ 244 h 3590"/>
              <a:gd name="T90" fmla="*/ 378 w 1569"/>
              <a:gd name="T91" fmla="*/ 232 h 3590"/>
              <a:gd name="T92" fmla="*/ 396 w 1569"/>
              <a:gd name="T93" fmla="*/ 219 h 3590"/>
              <a:gd name="T94" fmla="*/ 416 w 1569"/>
              <a:gd name="T95" fmla="*/ 208 h 3590"/>
              <a:gd name="T96" fmla="*/ 436 w 1569"/>
              <a:gd name="T97" fmla="*/ 198 h 3590"/>
              <a:gd name="T98" fmla="*/ 457 w 1569"/>
              <a:gd name="T99" fmla="*/ 188 h 3590"/>
              <a:gd name="T100" fmla="*/ 478 w 1569"/>
              <a:gd name="T101" fmla="*/ 179 h 3590"/>
              <a:gd name="T102" fmla="*/ 500 w 1569"/>
              <a:gd name="T103" fmla="*/ 171 h 3590"/>
              <a:gd name="T104" fmla="*/ 522 w 1569"/>
              <a:gd name="T105" fmla="*/ 164 h 3590"/>
              <a:gd name="T106" fmla="*/ 545 w 1569"/>
              <a:gd name="T107" fmla="*/ 157 h 3590"/>
              <a:gd name="T108" fmla="*/ 568 w 1569"/>
              <a:gd name="T109" fmla="*/ 152 h 3590"/>
              <a:gd name="T110" fmla="*/ 592 w 1569"/>
              <a:gd name="T111" fmla="*/ 147 h 3590"/>
              <a:gd name="T112" fmla="*/ 616 w 1569"/>
              <a:gd name="T113" fmla="*/ 143 h 3590"/>
              <a:gd name="T114" fmla="*/ 1569 w 1569"/>
              <a:gd name="T115" fmla="*/ 0 h 3590"/>
              <a:gd name="T116" fmla="*/ 1569 w 1569"/>
              <a:gd name="T117" fmla="*/ 3384 h 35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569" h="3590">
                <a:moveTo>
                  <a:pt x="1569" y="3384"/>
                </a:moveTo>
                <a:lnTo>
                  <a:pt x="205" y="3589"/>
                </a:lnTo>
                <a:lnTo>
                  <a:pt x="194" y="3590"/>
                </a:lnTo>
                <a:lnTo>
                  <a:pt x="182" y="3590"/>
                </a:lnTo>
                <a:lnTo>
                  <a:pt x="172" y="3590"/>
                </a:lnTo>
                <a:lnTo>
                  <a:pt x="162" y="3590"/>
                </a:lnTo>
                <a:lnTo>
                  <a:pt x="151" y="3588"/>
                </a:lnTo>
                <a:lnTo>
                  <a:pt x="141" y="3587"/>
                </a:lnTo>
                <a:lnTo>
                  <a:pt x="131" y="3584"/>
                </a:lnTo>
                <a:lnTo>
                  <a:pt x="121" y="3581"/>
                </a:lnTo>
                <a:lnTo>
                  <a:pt x="112" y="3577"/>
                </a:lnTo>
                <a:lnTo>
                  <a:pt x="103" y="3573"/>
                </a:lnTo>
                <a:lnTo>
                  <a:pt x="94" y="3568"/>
                </a:lnTo>
                <a:lnTo>
                  <a:pt x="86" y="3563"/>
                </a:lnTo>
                <a:lnTo>
                  <a:pt x="70" y="3551"/>
                </a:lnTo>
                <a:lnTo>
                  <a:pt x="56" y="3537"/>
                </a:lnTo>
                <a:lnTo>
                  <a:pt x="42" y="3521"/>
                </a:lnTo>
                <a:lnTo>
                  <a:pt x="30" y="3504"/>
                </a:lnTo>
                <a:lnTo>
                  <a:pt x="21" y="3486"/>
                </a:lnTo>
                <a:lnTo>
                  <a:pt x="13" y="3466"/>
                </a:lnTo>
                <a:lnTo>
                  <a:pt x="7" y="3446"/>
                </a:lnTo>
                <a:lnTo>
                  <a:pt x="2" y="3424"/>
                </a:lnTo>
                <a:lnTo>
                  <a:pt x="0" y="3403"/>
                </a:lnTo>
                <a:lnTo>
                  <a:pt x="0" y="3380"/>
                </a:lnTo>
                <a:lnTo>
                  <a:pt x="149" y="687"/>
                </a:lnTo>
                <a:lnTo>
                  <a:pt x="150" y="656"/>
                </a:lnTo>
                <a:lnTo>
                  <a:pt x="153" y="627"/>
                </a:lnTo>
                <a:lnTo>
                  <a:pt x="158" y="598"/>
                </a:lnTo>
                <a:lnTo>
                  <a:pt x="163" y="570"/>
                </a:lnTo>
                <a:lnTo>
                  <a:pt x="168" y="542"/>
                </a:lnTo>
                <a:lnTo>
                  <a:pt x="175" y="516"/>
                </a:lnTo>
                <a:lnTo>
                  <a:pt x="184" y="491"/>
                </a:lnTo>
                <a:lnTo>
                  <a:pt x="193" y="466"/>
                </a:lnTo>
                <a:lnTo>
                  <a:pt x="202" y="443"/>
                </a:lnTo>
                <a:lnTo>
                  <a:pt x="213" y="421"/>
                </a:lnTo>
                <a:lnTo>
                  <a:pt x="224" y="399"/>
                </a:lnTo>
                <a:lnTo>
                  <a:pt x="236" y="378"/>
                </a:lnTo>
                <a:lnTo>
                  <a:pt x="249" y="358"/>
                </a:lnTo>
                <a:lnTo>
                  <a:pt x="263" y="340"/>
                </a:lnTo>
                <a:lnTo>
                  <a:pt x="277" y="322"/>
                </a:lnTo>
                <a:lnTo>
                  <a:pt x="292" y="305"/>
                </a:lnTo>
                <a:lnTo>
                  <a:pt x="308" y="289"/>
                </a:lnTo>
                <a:lnTo>
                  <a:pt x="324" y="272"/>
                </a:lnTo>
                <a:lnTo>
                  <a:pt x="342" y="258"/>
                </a:lnTo>
                <a:lnTo>
                  <a:pt x="359" y="244"/>
                </a:lnTo>
                <a:lnTo>
                  <a:pt x="378" y="232"/>
                </a:lnTo>
                <a:lnTo>
                  <a:pt x="396" y="219"/>
                </a:lnTo>
                <a:lnTo>
                  <a:pt x="416" y="208"/>
                </a:lnTo>
                <a:lnTo>
                  <a:pt x="436" y="198"/>
                </a:lnTo>
                <a:lnTo>
                  <a:pt x="457" y="188"/>
                </a:lnTo>
                <a:lnTo>
                  <a:pt x="478" y="179"/>
                </a:lnTo>
                <a:lnTo>
                  <a:pt x="500" y="171"/>
                </a:lnTo>
                <a:lnTo>
                  <a:pt x="522" y="164"/>
                </a:lnTo>
                <a:lnTo>
                  <a:pt x="545" y="157"/>
                </a:lnTo>
                <a:lnTo>
                  <a:pt x="568" y="152"/>
                </a:lnTo>
                <a:lnTo>
                  <a:pt x="592" y="147"/>
                </a:lnTo>
                <a:lnTo>
                  <a:pt x="616" y="143"/>
                </a:lnTo>
                <a:lnTo>
                  <a:pt x="1569" y="0"/>
                </a:lnTo>
                <a:lnTo>
                  <a:pt x="1569" y="3384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Freeform 9"/>
          <p:cNvSpPr>
            <a:spLocks/>
          </p:cNvSpPr>
          <p:nvPr userDrawn="1"/>
        </p:nvSpPr>
        <p:spPr bwMode="auto">
          <a:xfrm>
            <a:off x="8905177" y="5940604"/>
            <a:ext cx="1000919" cy="917575"/>
          </a:xfrm>
          <a:custGeom>
            <a:avLst/>
            <a:gdLst>
              <a:gd name="T0" fmla="*/ 759 w 2327"/>
              <a:gd name="T1" fmla="*/ 2310 h 2310"/>
              <a:gd name="T2" fmla="*/ 19 w 2327"/>
              <a:gd name="T3" fmla="*/ 851 h 2310"/>
              <a:gd name="T4" fmla="*/ 14 w 2327"/>
              <a:gd name="T5" fmla="*/ 841 h 2310"/>
              <a:gd name="T6" fmla="*/ 9 w 2327"/>
              <a:gd name="T7" fmla="*/ 832 h 2310"/>
              <a:gd name="T8" fmla="*/ 6 w 2327"/>
              <a:gd name="T9" fmla="*/ 821 h 2310"/>
              <a:gd name="T10" fmla="*/ 4 w 2327"/>
              <a:gd name="T11" fmla="*/ 811 h 2310"/>
              <a:gd name="T12" fmla="*/ 1 w 2327"/>
              <a:gd name="T13" fmla="*/ 800 h 2310"/>
              <a:gd name="T14" fmla="*/ 0 w 2327"/>
              <a:gd name="T15" fmla="*/ 790 h 2310"/>
              <a:gd name="T16" fmla="*/ 0 w 2327"/>
              <a:gd name="T17" fmla="*/ 781 h 2310"/>
              <a:gd name="T18" fmla="*/ 0 w 2327"/>
              <a:gd name="T19" fmla="*/ 770 h 2310"/>
              <a:gd name="T20" fmla="*/ 0 w 2327"/>
              <a:gd name="T21" fmla="*/ 760 h 2310"/>
              <a:gd name="T22" fmla="*/ 1 w 2327"/>
              <a:gd name="T23" fmla="*/ 750 h 2310"/>
              <a:gd name="T24" fmla="*/ 4 w 2327"/>
              <a:gd name="T25" fmla="*/ 740 h 2310"/>
              <a:gd name="T26" fmla="*/ 6 w 2327"/>
              <a:gd name="T27" fmla="*/ 731 h 2310"/>
              <a:gd name="T28" fmla="*/ 13 w 2327"/>
              <a:gd name="T29" fmla="*/ 712 h 2310"/>
              <a:gd name="T30" fmla="*/ 21 w 2327"/>
              <a:gd name="T31" fmla="*/ 693 h 2310"/>
              <a:gd name="T32" fmla="*/ 32 w 2327"/>
              <a:gd name="T33" fmla="*/ 676 h 2310"/>
              <a:gd name="T34" fmla="*/ 44 w 2327"/>
              <a:gd name="T35" fmla="*/ 660 h 2310"/>
              <a:gd name="T36" fmla="*/ 58 w 2327"/>
              <a:gd name="T37" fmla="*/ 645 h 2310"/>
              <a:gd name="T38" fmla="*/ 75 w 2327"/>
              <a:gd name="T39" fmla="*/ 631 h 2310"/>
              <a:gd name="T40" fmla="*/ 92 w 2327"/>
              <a:gd name="T41" fmla="*/ 619 h 2310"/>
              <a:gd name="T42" fmla="*/ 111 w 2327"/>
              <a:gd name="T43" fmla="*/ 607 h 2310"/>
              <a:gd name="T44" fmla="*/ 130 w 2327"/>
              <a:gd name="T45" fmla="*/ 599 h 2310"/>
              <a:gd name="T46" fmla="*/ 152 w 2327"/>
              <a:gd name="T47" fmla="*/ 592 h 2310"/>
              <a:gd name="T48" fmla="*/ 2327 w 2327"/>
              <a:gd name="T49" fmla="*/ 0 h 2310"/>
              <a:gd name="T50" fmla="*/ 2327 w 2327"/>
              <a:gd name="T51" fmla="*/ 2310 h 2310"/>
              <a:gd name="T52" fmla="*/ 759 w 2327"/>
              <a:gd name="T53" fmla="*/ 2310 h 2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2327" h="2310">
                <a:moveTo>
                  <a:pt x="759" y="2310"/>
                </a:moveTo>
                <a:lnTo>
                  <a:pt x="19" y="851"/>
                </a:lnTo>
                <a:lnTo>
                  <a:pt x="14" y="841"/>
                </a:lnTo>
                <a:lnTo>
                  <a:pt x="9" y="832"/>
                </a:lnTo>
                <a:lnTo>
                  <a:pt x="6" y="821"/>
                </a:lnTo>
                <a:lnTo>
                  <a:pt x="4" y="811"/>
                </a:lnTo>
                <a:lnTo>
                  <a:pt x="1" y="800"/>
                </a:lnTo>
                <a:lnTo>
                  <a:pt x="0" y="790"/>
                </a:lnTo>
                <a:lnTo>
                  <a:pt x="0" y="781"/>
                </a:lnTo>
                <a:lnTo>
                  <a:pt x="0" y="770"/>
                </a:lnTo>
                <a:lnTo>
                  <a:pt x="0" y="760"/>
                </a:lnTo>
                <a:lnTo>
                  <a:pt x="1" y="750"/>
                </a:lnTo>
                <a:lnTo>
                  <a:pt x="4" y="740"/>
                </a:lnTo>
                <a:lnTo>
                  <a:pt x="6" y="731"/>
                </a:lnTo>
                <a:lnTo>
                  <a:pt x="13" y="712"/>
                </a:lnTo>
                <a:lnTo>
                  <a:pt x="21" y="693"/>
                </a:lnTo>
                <a:lnTo>
                  <a:pt x="32" y="676"/>
                </a:lnTo>
                <a:lnTo>
                  <a:pt x="44" y="660"/>
                </a:lnTo>
                <a:lnTo>
                  <a:pt x="58" y="645"/>
                </a:lnTo>
                <a:lnTo>
                  <a:pt x="75" y="631"/>
                </a:lnTo>
                <a:lnTo>
                  <a:pt x="92" y="619"/>
                </a:lnTo>
                <a:lnTo>
                  <a:pt x="111" y="607"/>
                </a:lnTo>
                <a:lnTo>
                  <a:pt x="130" y="599"/>
                </a:lnTo>
                <a:lnTo>
                  <a:pt x="152" y="592"/>
                </a:lnTo>
                <a:lnTo>
                  <a:pt x="2327" y="0"/>
                </a:lnTo>
                <a:lnTo>
                  <a:pt x="2327" y="2310"/>
                </a:lnTo>
                <a:lnTo>
                  <a:pt x="759" y="2310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Freeform 11"/>
          <p:cNvSpPr>
            <a:spLocks/>
          </p:cNvSpPr>
          <p:nvPr userDrawn="1"/>
        </p:nvSpPr>
        <p:spPr bwMode="auto">
          <a:xfrm>
            <a:off x="7248937" y="6127750"/>
            <a:ext cx="1389592" cy="730250"/>
          </a:xfrm>
          <a:custGeom>
            <a:avLst/>
            <a:gdLst>
              <a:gd name="T0" fmla="*/ 0 w 3232"/>
              <a:gd name="T1" fmla="*/ 1840 h 1840"/>
              <a:gd name="T2" fmla="*/ 1817 w 3232"/>
              <a:gd name="T3" fmla="*/ 49 h 1840"/>
              <a:gd name="T4" fmla="*/ 1825 w 3232"/>
              <a:gd name="T5" fmla="*/ 42 h 1840"/>
              <a:gd name="T6" fmla="*/ 1834 w 3232"/>
              <a:gd name="T7" fmla="*/ 35 h 1840"/>
              <a:gd name="T8" fmla="*/ 1842 w 3232"/>
              <a:gd name="T9" fmla="*/ 28 h 1840"/>
              <a:gd name="T10" fmla="*/ 1852 w 3232"/>
              <a:gd name="T11" fmla="*/ 22 h 1840"/>
              <a:gd name="T12" fmla="*/ 1861 w 3232"/>
              <a:gd name="T13" fmla="*/ 18 h 1840"/>
              <a:gd name="T14" fmla="*/ 1870 w 3232"/>
              <a:gd name="T15" fmla="*/ 13 h 1840"/>
              <a:gd name="T16" fmla="*/ 1880 w 3232"/>
              <a:gd name="T17" fmla="*/ 10 h 1840"/>
              <a:gd name="T18" fmla="*/ 1889 w 3232"/>
              <a:gd name="T19" fmla="*/ 7 h 1840"/>
              <a:gd name="T20" fmla="*/ 1899 w 3232"/>
              <a:gd name="T21" fmla="*/ 4 h 1840"/>
              <a:gd name="T22" fmla="*/ 1909 w 3232"/>
              <a:gd name="T23" fmla="*/ 3 h 1840"/>
              <a:gd name="T24" fmla="*/ 1919 w 3232"/>
              <a:gd name="T25" fmla="*/ 1 h 1840"/>
              <a:gd name="T26" fmla="*/ 1928 w 3232"/>
              <a:gd name="T27" fmla="*/ 0 h 1840"/>
              <a:gd name="T28" fmla="*/ 1949 w 3232"/>
              <a:gd name="T29" fmla="*/ 0 h 1840"/>
              <a:gd name="T30" fmla="*/ 1969 w 3232"/>
              <a:gd name="T31" fmla="*/ 4 h 1840"/>
              <a:gd name="T32" fmla="*/ 1989 w 3232"/>
              <a:gd name="T33" fmla="*/ 8 h 1840"/>
              <a:gd name="T34" fmla="*/ 2007 w 3232"/>
              <a:gd name="T35" fmla="*/ 15 h 1840"/>
              <a:gd name="T36" fmla="*/ 2026 w 3232"/>
              <a:gd name="T37" fmla="*/ 25 h 1840"/>
              <a:gd name="T38" fmla="*/ 2045 w 3232"/>
              <a:gd name="T39" fmla="*/ 35 h 1840"/>
              <a:gd name="T40" fmla="*/ 2061 w 3232"/>
              <a:gd name="T41" fmla="*/ 48 h 1840"/>
              <a:gd name="T42" fmla="*/ 2077 w 3232"/>
              <a:gd name="T43" fmla="*/ 63 h 1840"/>
              <a:gd name="T44" fmla="*/ 2092 w 3232"/>
              <a:gd name="T45" fmla="*/ 79 h 1840"/>
              <a:gd name="T46" fmla="*/ 2105 w 3232"/>
              <a:gd name="T47" fmla="*/ 98 h 1840"/>
              <a:gd name="T48" fmla="*/ 3232 w 3232"/>
              <a:gd name="T49" fmla="*/ 1840 h 1840"/>
              <a:gd name="T50" fmla="*/ 0 w 3232"/>
              <a:gd name="T51" fmla="*/ 1840 h 18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232" h="1840">
                <a:moveTo>
                  <a:pt x="0" y="1840"/>
                </a:moveTo>
                <a:lnTo>
                  <a:pt x="1817" y="49"/>
                </a:lnTo>
                <a:lnTo>
                  <a:pt x="1825" y="42"/>
                </a:lnTo>
                <a:lnTo>
                  <a:pt x="1834" y="35"/>
                </a:lnTo>
                <a:lnTo>
                  <a:pt x="1842" y="28"/>
                </a:lnTo>
                <a:lnTo>
                  <a:pt x="1852" y="22"/>
                </a:lnTo>
                <a:lnTo>
                  <a:pt x="1861" y="18"/>
                </a:lnTo>
                <a:lnTo>
                  <a:pt x="1870" y="13"/>
                </a:lnTo>
                <a:lnTo>
                  <a:pt x="1880" y="10"/>
                </a:lnTo>
                <a:lnTo>
                  <a:pt x="1889" y="7"/>
                </a:lnTo>
                <a:lnTo>
                  <a:pt x="1899" y="4"/>
                </a:lnTo>
                <a:lnTo>
                  <a:pt x="1909" y="3"/>
                </a:lnTo>
                <a:lnTo>
                  <a:pt x="1919" y="1"/>
                </a:lnTo>
                <a:lnTo>
                  <a:pt x="1928" y="0"/>
                </a:lnTo>
                <a:lnTo>
                  <a:pt x="1949" y="0"/>
                </a:lnTo>
                <a:lnTo>
                  <a:pt x="1969" y="4"/>
                </a:lnTo>
                <a:lnTo>
                  <a:pt x="1989" y="8"/>
                </a:lnTo>
                <a:lnTo>
                  <a:pt x="2007" y="15"/>
                </a:lnTo>
                <a:lnTo>
                  <a:pt x="2026" y="25"/>
                </a:lnTo>
                <a:lnTo>
                  <a:pt x="2045" y="35"/>
                </a:lnTo>
                <a:lnTo>
                  <a:pt x="2061" y="48"/>
                </a:lnTo>
                <a:lnTo>
                  <a:pt x="2077" y="63"/>
                </a:lnTo>
                <a:lnTo>
                  <a:pt x="2092" y="79"/>
                </a:lnTo>
                <a:lnTo>
                  <a:pt x="2105" y="98"/>
                </a:lnTo>
                <a:lnTo>
                  <a:pt x="3232" y="1840"/>
                </a:lnTo>
                <a:lnTo>
                  <a:pt x="0" y="1840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0" name="Freeform 13"/>
          <p:cNvSpPr>
            <a:spLocks/>
          </p:cNvSpPr>
          <p:nvPr userDrawn="1"/>
        </p:nvSpPr>
        <p:spPr bwMode="auto">
          <a:xfrm>
            <a:off x="5510213" y="4397554"/>
            <a:ext cx="2424906" cy="1976437"/>
          </a:xfrm>
          <a:custGeom>
            <a:avLst/>
            <a:gdLst>
              <a:gd name="T0" fmla="*/ 5548 w 5640"/>
              <a:gd name="T1" fmla="*/ 2360 h 4980"/>
              <a:gd name="T2" fmla="*/ 5567 w 5640"/>
              <a:gd name="T3" fmla="*/ 2372 h 4980"/>
              <a:gd name="T4" fmla="*/ 5584 w 5640"/>
              <a:gd name="T5" fmla="*/ 2385 h 4980"/>
              <a:gd name="T6" fmla="*/ 5598 w 5640"/>
              <a:gd name="T7" fmla="*/ 2400 h 4980"/>
              <a:gd name="T8" fmla="*/ 5611 w 5640"/>
              <a:gd name="T9" fmla="*/ 2415 h 4980"/>
              <a:gd name="T10" fmla="*/ 5621 w 5640"/>
              <a:gd name="T11" fmla="*/ 2432 h 4980"/>
              <a:gd name="T12" fmla="*/ 5629 w 5640"/>
              <a:gd name="T13" fmla="*/ 2451 h 4980"/>
              <a:gd name="T14" fmla="*/ 5639 w 5640"/>
              <a:gd name="T15" fmla="*/ 2490 h 4980"/>
              <a:gd name="T16" fmla="*/ 5640 w 5640"/>
              <a:gd name="T17" fmla="*/ 2531 h 4980"/>
              <a:gd name="T18" fmla="*/ 5632 w 5640"/>
              <a:gd name="T19" fmla="*/ 2572 h 4980"/>
              <a:gd name="T20" fmla="*/ 5616 w 5640"/>
              <a:gd name="T21" fmla="*/ 2611 h 4980"/>
              <a:gd name="T22" fmla="*/ 5591 w 5640"/>
              <a:gd name="T23" fmla="*/ 2648 h 4980"/>
              <a:gd name="T24" fmla="*/ 3873 w 5640"/>
              <a:gd name="T25" fmla="*/ 4768 h 4980"/>
              <a:gd name="T26" fmla="*/ 3834 w 5640"/>
              <a:gd name="T27" fmla="*/ 4811 h 4980"/>
              <a:gd name="T28" fmla="*/ 3792 w 5640"/>
              <a:gd name="T29" fmla="*/ 4850 h 4980"/>
              <a:gd name="T30" fmla="*/ 3750 w 5640"/>
              <a:gd name="T31" fmla="*/ 4882 h 4980"/>
              <a:gd name="T32" fmla="*/ 3707 w 5640"/>
              <a:gd name="T33" fmla="*/ 4910 h 4980"/>
              <a:gd name="T34" fmla="*/ 3664 w 5640"/>
              <a:gd name="T35" fmla="*/ 4933 h 4980"/>
              <a:gd name="T36" fmla="*/ 3620 w 5640"/>
              <a:gd name="T37" fmla="*/ 4952 h 4980"/>
              <a:gd name="T38" fmla="*/ 3576 w 5640"/>
              <a:gd name="T39" fmla="*/ 4966 h 4980"/>
              <a:gd name="T40" fmla="*/ 3530 w 5640"/>
              <a:gd name="T41" fmla="*/ 4975 h 4980"/>
              <a:gd name="T42" fmla="*/ 3486 w 5640"/>
              <a:gd name="T43" fmla="*/ 4980 h 4980"/>
              <a:gd name="T44" fmla="*/ 3441 w 5640"/>
              <a:gd name="T45" fmla="*/ 4980 h 4980"/>
              <a:gd name="T46" fmla="*/ 3397 w 5640"/>
              <a:gd name="T47" fmla="*/ 4976 h 4980"/>
              <a:gd name="T48" fmla="*/ 3351 w 5640"/>
              <a:gd name="T49" fmla="*/ 4968 h 4980"/>
              <a:gd name="T50" fmla="*/ 3306 w 5640"/>
              <a:gd name="T51" fmla="*/ 4957 h 4980"/>
              <a:gd name="T52" fmla="*/ 3262 w 5640"/>
              <a:gd name="T53" fmla="*/ 4941 h 4980"/>
              <a:gd name="T54" fmla="*/ 3218 w 5640"/>
              <a:gd name="T55" fmla="*/ 4923 h 4980"/>
              <a:gd name="T56" fmla="*/ 297 w 5640"/>
              <a:gd name="T57" fmla="*/ 3413 h 4980"/>
              <a:gd name="T58" fmla="*/ 254 w 5640"/>
              <a:gd name="T59" fmla="*/ 3390 h 4980"/>
              <a:gd name="T60" fmla="*/ 215 w 5640"/>
              <a:gd name="T61" fmla="*/ 3363 h 4980"/>
              <a:gd name="T62" fmla="*/ 179 w 5640"/>
              <a:gd name="T63" fmla="*/ 3335 h 4980"/>
              <a:gd name="T64" fmla="*/ 144 w 5640"/>
              <a:gd name="T65" fmla="*/ 3304 h 4980"/>
              <a:gd name="T66" fmla="*/ 113 w 5640"/>
              <a:gd name="T67" fmla="*/ 3270 h 4980"/>
              <a:gd name="T68" fmla="*/ 87 w 5640"/>
              <a:gd name="T69" fmla="*/ 3235 h 4980"/>
              <a:gd name="T70" fmla="*/ 62 w 5640"/>
              <a:gd name="T71" fmla="*/ 3197 h 4980"/>
              <a:gd name="T72" fmla="*/ 43 w 5640"/>
              <a:gd name="T73" fmla="*/ 3156 h 4980"/>
              <a:gd name="T74" fmla="*/ 25 w 5640"/>
              <a:gd name="T75" fmla="*/ 3113 h 4980"/>
              <a:gd name="T76" fmla="*/ 13 w 5640"/>
              <a:gd name="T77" fmla="*/ 3068 h 4980"/>
              <a:gd name="T78" fmla="*/ 4 w 5640"/>
              <a:gd name="T79" fmla="*/ 3020 h 4980"/>
              <a:gd name="T80" fmla="*/ 1 w 5640"/>
              <a:gd name="T81" fmla="*/ 2972 h 4980"/>
              <a:gd name="T82" fmla="*/ 1 w 5640"/>
              <a:gd name="T83" fmla="*/ 2919 h 4980"/>
              <a:gd name="T84" fmla="*/ 5 w 5640"/>
              <a:gd name="T85" fmla="*/ 2865 h 4980"/>
              <a:gd name="T86" fmla="*/ 15 w 5640"/>
              <a:gd name="T87" fmla="*/ 2808 h 4980"/>
              <a:gd name="T88" fmla="*/ 30 w 5640"/>
              <a:gd name="T89" fmla="*/ 2748 h 4980"/>
              <a:gd name="T90" fmla="*/ 764 w 5640"/>
              <a:gd name="T91" fmla="*/ 130 h 4980"/>
              <a:gd name="T92" fmla="*/ 784 w 5640"/>
              <a:gd name="T93" fmla="*/ 90 h 4980"/>
              <a:gd name="T94" fmla="*/ 810 w 5640"/>
              <a:gd name="T95" fmla="*/ 58 h 4980"/>
              <a:gd name="T96" fmla="*/ 841 w 5640"/>
              <a:gd name="T97" fmla="*/ 31 h 4980"/>
              <a:gd name="T98" fmla="*/ 877 w 5640"/>
              <a:gd name="T99" fmla="*/ 11 h 4980"/>
              <a:gd name="T100" fmla="*/ 906 w 5640"/>
              <a:gd name="T101" fmla="*/ 3 h 4980"/>
              <a:gd name="T102" fmla="*/ 926 w 5640"/>
              <a:gd name="T103" fmla="*/ 1 h 4980"/>
              <a:gd name="T104" fmla="*/ 946 w 5640"/>
              <a:gd name="T105" fmla="*/ 0 h 4980"/>
              <a:gd name="T106" fmla="*/ 967 w 5640"/>
              <a:gd name="T107" fmla="*/ 2 h 4980"/>
              <a:gd name="T108" fmla="*/ 986 w 5640"/>
              <a:gd name="T109" fmla="*/ 7 h 4980"/>
              <a:gd name="T110" fmla="*/ 1007 w 5640"/>
              <a:gd name="T111" fmla="*/ 14 h 49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640" h="4980">
                <a:moveTo>
                  <a:pt x="1018" y="20"/>
                </a:moveTo>
                <a:lnTo>
                  <a:pt x="5548" y="2360"/>
                </a:lnTo>
                <a:lnTo>
                  <a:pt x="5557" y="2366"/>
                </a:lnTo>
                <a:lnTo>
                  <a:pt x="5567" y="2372"/>
                </a:lnTo>
                <a:lnTo>
                  <a:pt x="5576" y="2378"/>
                </a:lnTo>
                <a:lnTo>
                  <a:pt x="5584" y="2385"/>
                </a:lnTo>
                <a:lnTo>
                  <a:pt x="5591" y="2392"/>
                </a:lnTo>
                <a:lnTo>
                  <a:pt x="5598" y="2400"/>
                </a:lnTo>
                <a:lnTo>
                  <a:pt x="5605" y="2407"/>
                </a:lnTo>
                <a:lnTo>
                  <a:pt x="5611" y="2415"/>
                </a:lnTo>
                <a:lnTo>
                  <a:pt x="5617" y="2424"/>
                </a:lnTo>
                <a:lnTo>
                  <a:pt x="5621" y="2432"/>
                </a:lnTo>
                <a:lnTo>
                  <a:pt x="5626" y="2442"/>
                </a:lnTo>
                <a:lnTo>
                  <a:pt x="5629" y="2451"/>
                </a:lnTo>
                <a:lnTo>
                  <a:pt x="5635" y="2471"/>
                </a:lnTo>
                <a:lnTo>
                  <a:pt x="5639" y="2490"/>
                </a:lnTo>
                <a:lnTo>
                  <a:pt x="5640" y="2510"/>
                </a:lnTo>
                <a:lnTo>
                  <a:pt x="5640" y="2531"/>
                </a:lnTo>
                <a:lnTo>
                  <a:pt x="5636" y="2551"/>
                </a:lnTo>
                <a:lnTo>
                  <a:pt x="5632" y="2572"/>
                </a:lnTo>
                <a:lnTo>
                  <a:pt x="5625" y="2592"/>
                </a:lnTo>
                <a:lnTo>
                  <a:pt x="5616" y="2611"/>
                </a:lnTo>
                <a:lnTo>
                  <a:pt x="5605" y="2631"/>
                </a:lnTo>
                <a:lnTo>
                  <a:pt x="5591" y="2648"/>
                </a:lnTo>
                <a:lnTo>
                  <a:pt x="3894" y="4745"/>
                </a:lnTo>
                <a:lnTo>
                  <a:pt x="3873" y="4768"/>
                </a:lnTo>
                <a:lnTo>
                  <a:pt x="3854" y="4790"/>
                </a:lnTo>
                <a:lnTo>
                  <a:pt x="3834" y="4811"/>
                </a:lnTo>
                <a:lnTo>
                  <a:pt x="3813" y="4831"/>
                </a:lnTo>
                <a:lnTo>
                  <a:pt x="3792" y="4850"/>
                </a:lnTo>
                <a:lnTo>
                  <a:pt x="3771" y="4867"/>
                </a:lnTo>
                <a:lnTo>
                  <a:pt x="3750" y="4882"/>
                </a:lnTo>
                <a:lnTo>
                  <a:pt x="3729" y="4897"/>
                </a:lnTo>
                <a:lnTo>
                  <a:pt x="3707" y="4910"/>
                </a:lnTo>
                <a:lnTo>
                  <a:pt x="3686" y="4923"/>
                </a:lnTo>
                <a:lnTo>
                  <a:pt x="3664" y="4933"/>
                </a:lnTo>
                <a:lnTo>
                  <a:pt x="3642" y="4944"/>
                </a:lnTo>
                <a:lnTo>
                  <a:pt x="3620" y="4952"/>
                </a:lnTo>
                <a:lnTo>
                  <a:pt x="3598" y="4959"/>
                </a:lnTo>
                <a:lnTo>
                  <a:pt x="3576" y="4966"/>
                </a:lnTo>
                <a:lnTo>
                  <a:pt x="3554" y="4971"/>
                </a:lnTo>
                <a:lnTo>
                  <a:pt x="3530" y="4975"/>
                </a:lnTo>
                <a:lnTo>
                  <a:pt x="3508" y="4978"/>
                </a:lnTo>
                <a:lnTo>
                  <a:pt x="3486" y="4980"/>
                </a:lnTo>
                <a:lnTo>
                  <a:pt x="3464" y="4980"/>
                </a:lnTo>
                <a:lnTo>
                  <a:pt x="3441" y="4980"/>
                </a:lnTo>
                <a:lnTo>
                  <a:pt x="3419" y="4979"/>
                </a:lnTo>
                <a:lnTo>
                  <a:pt x="3397" y="4976"/>
                </a:lnTo>
                <a:lnTo>
                  <a:pt x="3374" y="4973"/>
                </a:lnTo>
                <a:lnTo>
                  <a:pt x="3351" y="4968"/>
                </a:lnTo>
                <a:lnTo>
                  <a:pt x="3329" y="4964"/>
                </a:lnTo>
                <a:lnTo>
                  <a:pt x="3306" y="4957"/>
                </a:lnTo>
                <a:lnTo>
                  <a:pt x="3284" y="4950"/>
                </a:lnTo>
                <a:lnTo>
                  <a:pt x="3262" y="4941"/>
                </a:lnTo>
                <a:lnTo>
                  <a:pt x="3240" y="4932"/>
                </a:lnTo>
                <a:lnTo>
                  <a:pt x="3218" y="4923"/>
                </a:lnTo>
                <a:lnTo>
                  <a:pt x="3196" y="4911"/>
                </a:lnTo>
                <a:lnTo>
                  <a:pt x="297" y="3413"/>
                </a:lnTo>
                <a:lnTo>
                  <a:pt x="275" y="3402"/>
                </a:lnTo>
                <a:lnTo>
                  <a:pt x="254" y="3390"/>
                </a:lnTo>
                <a:lnTo>
                  <a:pt x="234" y="3377"/>
                </a:lnTo>
                <a:lnTo>
                  <a:pt x="215" y="3363"/>
                </a:lnTo>
                <a:lnTo>
                  <a:pt x="196" y="3349"/>
                </a:lnTo>
                <a:lnTo>
                  <a:pt x="179" y="3335"/>
                </a:lnTo>
                <a:lnTo>
                  <a:pt x="161" y="3320"/>
                </a:lnTo>
                <a:lnTo>
                  <a:pt x="144" y="3304"/>
                </a:lnTo>
                <a:lnTo>
                  <a:pt x="129" y="3288"/>
                </a:lnTo>
                <a:lnTo>
                  <a:pt x="113" y="3270"/>
                </a:lnTo>
                <a:lnTo>
                  <a:pt x="99" y="3253"/>
                </a:lnTo>
                <a:lnTo>
                  <a:pt x="87" y="3235"/>
                </a:lnTo>
                <a:lnTo>
                  <a:pt x="74" y="3217"/>
                </a:lnTo>
                <a:lnTo>
                  <a:pt x="62" y="3197"/>
                </a:lnTo>
                <a:lnTo>
                  <a:pt x="52" y="3177"/>
                </a:lnTo>
                <a:lnTo>
                  <a:pt x="43" y="3156"/>
                </a:lnTo>
                <a:lnTo>
                  <a:pt x="33" y="3135"/>
                </a:lnTo>
                <a:lnTo>
                  <a:pt x="25" y="3113"/>
                </a:lnTo>
                <a:lnTo>
                  <a:pt x="18" y="3091"/>
                </a:lnTo>
                <a:lnTo>
                  <a:pt x="13" y="3068"/>
                </a:lnTo>
                <a:lnTo>
                  <a:pt x="8" y="3045"/>
                </a:lnTo>
                <a:lnTo>
                  <a:pt x="4" y="3020"/>
                </a:lnTo>
                <a:lnTo>
                  <a:pt x="2" y="2996"/>
                </a:lnTo>
                <a:lnTo>
                  <a:pt x="1" y="2972"/>
                </a:lnTo>
                <a:lnTo>
                  <a:pt x="0" y="2945"/>
                </a:lnTo>
                <a:lnTo>
                  <a:pt x="1" y="2919"/>
                </a:lnTo>
                <a:lnTo>
                  <a:pt x="2" y="2891"/>
                </a:lnTo>
                <a:lnTo>
                  <a:pt x="5" y="2865"/>
                </a:lnTo>
                <a:lnTo>
                  <a:pt x="10" y="2836"/>
                </a:lnTo>
                <a:lnTo>
                  <a:pt x="15" y="2808"/>
                </a:lnTo>
                <a:lnTo>
                  <a:pt x="22" y="2779"/>
                </a:lnTo>
                <a:lnTo>
                  <a:pt x="30" y="2748"/>
                </a:lnTo>
                <a:lnTo>
                  <a:pt x="757" y="151"/>
                </a:lnTo>
                <a:lnTo>
                  <a:pt x="764" y="130"/>
                </a:lnTo>
                <a:lnTo>
                  <a:pt x="772" y="109"/>
                </a:lnTo>
                <a:lnTo>
                  <a:pt x="784" y="90"/>
                </a:lnTo>
                <a:lnTo>
                  <a:pt x="796" y="73"/>
                </a:lnTo>
                <a:lnTo>
                  <a:pt x="810" y="58"/>
                </a:lnTo>
                <a:lnTo>
                  <a:pt x="825" y="43"/>
                </a:lnTo>
                <a:lnTo>
                  <a:pt x="841" y="31"/>
                </a:lnTo>
                <a:lnTo>
                  <a:pt x="858" y="21"/>
                </a:lnTo>
                <a:lnTo>
                  <a:pt x="877" y="11"/>
                </a:lnTo>
                <a:lnTo>
                  <a:pt x="896" y="6"/>
                </a:lnTo>
                <a:lnTo>
                  <a:pt x="906" y="3"/>
                </a:lnTo>
                <a:lnTo>
                  <a:pt x="915" y="2"/>
                </a:lnTo>
                <a:lnTo>
                  <a:pt x="926" y="1"/>
                </a:lnTo>
                <a:lnTo>
                  <a:pt x="936" y="0"/>
                </a:lnTo>
                <a:lnTo>
                  <a:pt x="946" y="0"/>
                </a:lnTo>
                <a:lnTo>
                  <a:pt x="956" y="1"/>
                </a:lnTo>
                <a:lnTo>
                  <a:pt x="967" y="2"/>
                </a:lnTo>
                <a:lnTo>
                  <a:pt x="977" y="4"/>
                </a:lnTo>
                <a:lnTo>
                  <a:pt x="986" y="7"/>
                </a:lnTo>
                <a:lnTo>
                  <a:pt x="997" y="10"/>
                </a:lnTo>
                <a:lnTo>
                  <a:pt x="1007" y="14"/>
                </a:lnTo>
                <a:lnTo>
                  <a:pt x="1018" y="20"/>
                </a:lnTo>
                <a:close/>
              </a:path>
            </a:pathLst>
          </a:custGeom>
          <a:solidFill>
            <a:srgbClr val="FCC917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1" name="Группа 10"/>
          <p:cNvGrpSpPr/>
          <p:nvPr userDrawn="1"/>
        </p:nvGrpSpPr>
        <p:grpSpPr>
          <a:xfrm>
            <a:off x="531416" y="487363"/>
            <a:ext cx="2332038" cy="455612"/>
            <a:chOff x="490538" y="487363"/>
            <a:chExt cx="2152650" cy="455612"/>
          </a:xfrm>
        </p:grpSpPr>
        <p:sp>
          <p:nvSpPr>
            <p:cNvPr id="12" name="Freeform 5"/>
            <p:cNvSpPr>
              <a:spLocks noEditPoints="1"/>
            </p:cNvSpPr>
            <p:nvPr userDrawn="1"/>
          </p:nvSpPr>
          <p:spPr bwMode="auto">
            <a:xfrm>
              <a:off x="1144588" y="590550"/>
              <a:ext cx="1498600" cy="247650"/>
            </a:xfrm>
            <a:custGeom>
              <a:avLst/>
              <a:gdLst>
                <a:gd name="T0" fmla="*/ 2465 w 11327"/>
                <a:gd name="T1" fmla="*/ 803 h 1868"/>
                <a:gd name="T2" fmla="*/ 2667 w 11327"/>
                <a:gd name="T3" fmla="*/ 466 h 1868"/>
                <a:gd name="T4" fmla="*/ 3049 w 11327"/>
                <a:gd name="T5" fmla="*/ 345 h 1868"/>
                <a:gd name="T6" fmla="*/ 3430 w 11327"/>
                <a:gd name="T7" fmla="*/ 466 h 1868"/>
                <a:gd name="T8" fmla="*/ 3632 w 11327"/>
                <a:gd name="T9" fmla="*/ 803 h 1868"/>
                <a:gd name="T10" fmla="*/ 3574 w 11327"/>
                <a:gd name="T11" fmla="*/ 1233 h 1868"/>
                <a:gd name="T12" fmla="*/ 3284 w 11327"/>
                <a:gd name="T13" fmla="*/ 1483 h 1868"/>
                <a:gd name="T14" fmla="*/ 2870 w 11327"/>
                <a:gd name="T15" fmla="*/ 1500 h 1868"/>
                <a:gd name="T16" fmla="*/ 2553 w 11327"/>
                <a:gd name="T17" fmla="*/ 1281 h 1868"/>
                <a:gd name="T18" fmla="*/ 4046 w 11327"/>
                <a:gd name="T19" fmla="*/ 882 h 1868"/>
                <a:gd name="T20" fmla="*/ 3784 w 11327"/>
                <a:gd name="T21" fmla="*/ 289 h 1868"/>
                <a:gd name="T22" fmla="*/ 3199 w 11327"/>
                <a:gd name="T23" fmla="*/ 10 h 1868"/>
                <a:gd name="T24" fmla="*/ 2536 w 11327"/>
                <a:gd name="T25" fmla="*/ 125 h 1868"/>
                <a:gd name="T26" fmla="*/ 2113 w 11327"/>
                <a:gd name="T27" fmla="*/ 595 h 1868"/>
                <a:gd name="T28" fmla="*/ 2113 w 11327"/>
                <a:gd name="T29" fmla="*/ 1273 h 1868"/>
                <a:gd name="T30" fmla="*/ 2536 w 11327"/>
                <a:gd name="T31" fmla="*/ 1743 h 1868"/>
                <a:gd name="T32" fmla="*/ 3199 w 11327"/>
                <a:gd name="T33" fmla="*/ 1858 h 1868"/>
                <a:gd name="T34" fmla="*/ 3784 w 11327"/>
                <a:gd name="T35" fmla="*/ 1579 h 1868"/>
                <a:gd name="T36" fmla="*/ 4046 w 11327"/>
                <a:gd name="T37" fmla="*/ 985 h 1868"/>
                <a:gd name="T38" fmla="*/ 4444 w 11327"/>
                <a:gd name="T39" fmla="*/ 1443 h 1868"/>
                <a:gd name="T40" fmla="*/ 4540 w 11327"/>
                <a:gd name="T41" fmla="*/ 1808 h 1868"/>
                <a:gd name="T42" fmla="*/ 4811 w 11327"/>
                <a:gd name="T43" fmla="*/ 1650 h 1868"/>
                <a:gd name="T44" fmla="*/ 5796 w 11327"/>
                <a:gd name="T45" fmla="*/ 403 h 1868"/>
                <a:gd name="T46" fmla="*/ 7304 w 11327"/>
                <a:gd name="T47" fmla="*/ 1292 h 1868"/>
                <a:gd name="T48" fmla="*/ 7673 w 11327"/>
                <a:gd name="T49" fmla="*/ 1730 h 1868"/>
                <a:gd name="T50" fmla="*/ 8267 w 11327"/>
                <a:gd name="T51" fmla="*/ 1867 h 1868"/>
                <a:gd name="T52" fmla="*/ 8871 w 11327"/>
                <a:gd name="T53" fmla="*/ 1653 h 1868"/>
                <a:gd name="T54" fmla="*/ 9178 w 11327"/>
                <a:gd name="T55" fmla="*/ 1094 h 1868"/>
                <a:gd name="T56" fmla="*/ 9049 w 11327"/>
                <a:gd name="T57" fmla="*/ 414 h 1868"/>
                <a:gd name="T58" fmla="*/ 8552 w 11327"/>
                <a:gd name="T59" fmla="*/ 48 h 1868"/>
                <a:gd name="T60" fmla="*/ 7924 w 11327"/>
                <a:gd name="T61" fmla="*/ 36 h 1868"/>
                <a:gd name="T62" fmla="*/ 7459 w 11327"/>
                <a:gd name="T63" fmla="*/ 313 h 1868"/>
                <a:gd name="T64" fmla="*/ 6585 w 11327"/>
                <a:gd name="T65" fmla="*/ 42 h 1868"/>
                <a:gd name="T66" fmla="*/ 7740 w 11327"/>
                <a:gd name="T67" fmla="*/ 563 h 1868"/>
                <a:gd name="T68" fmla="*/ 8053 w 11327"/>
                <a:gd name="T69" fmla="*/ 361 h 1868"/>
                <a:gd name="T70" fmla="*/ 8492 w 11327"/>
                <a:gd name="T71" fmla="*/ 396 h 1868"/>
                <a:gd name="T72" fmla="*/ 8744 w 11327"/>
                <a:gd name="T73" fmla="*/ 660 h 1868"/>
                <a:gd name="T74" fmla="*/ 8775 w 11327"/>
                <a:gd name="T75" fmla="*/ 1095 h 1868"/>
                <a:gd name="T76" fmla="*/ 8585 w 11327"/>
                <a:gd name="T77" fmla="*/ 1418 h 1868"/>
                <a:gd name="T78" fmla="*/ 8182 w 11327"/>
                <a:gd name="T79" fmla="*/ 1522 h 1868"/>
                <a:gd name="T80" fmla="*/ 7807 w 11327"/>
                <a:gd name="T81" fmla="*/ 1385 h 1868"/>
                <a:gd name="T82" fmla="*/ 7649 w 11327"/>
                <a:gd name="T83" fmla="*/ 1033 h 1868"/>
                <a:gd name="T84" fmla="*/ 11121 w 11327"/>
                <a:gd name="T85" fmla="*/ 228 h 1868"/>
                <a:gd name="T86" fmla="*/ 10716 w 11327"/>
                <a:gd name="T87" fmla="*/ 30 h 1868"/>
                <a:gd name="T88" fmla="*/ 10126 w 11327"/>
                <a:gd name="T89" fmla="*/ 37 h 1868"/>
                <a:gd name="T90" fmla="*/ 9598 w 11327"/>
                <a:gd name="T91" fmla="*/ 385 h 1868"/>
                <a:gd name="T92" fmla="*/ 9435 w 11327"/>
                <a:gd name="T93" fmla="*/ 1039 h 1868"/>
                <a:gd name="T94" fmla="*/ 9714 w 11327"/>
                <a:gd name="T95" fmla="*/ 1617 h 1868"/>
                <a:gd name="T96" fmla="*/ 10320 w 11327"/>
                <a:gd name="T97" fmla="*/ 1863 h 1868"/>
                <a:gd name="T98" fmla="*/ 10845 w 11327"/>
                <a:gd name="T99" fmla="*/ 1799 h 1868"/>
                <a:gd name="T100" fmla="*/ 11211 w 11327"/>
                <a:gd name="T101" fmla="*/ 1551 h 1868"/>
                <a:gd name="T102" fmla="*/ 10919 w 11327"/>
                <a:gd name="T103" fmla="*/ 1325 h 1868"/>
                <a:gd name="T104" fmla="*/ 10676 w 11327"/>
                <a:gd name="T105" fmla="*/ 1473 h 1868"/>
                <a:gd name="T106" fmla="*/ 10324 w 11327"/>
                <a:gd name="T107" fmla="*/ 1504 h 1868"/>
                <a:gd name="T108" fmla="*/ 9975 w 11327"/>
                <a:gd name="T109" fmla="*/ 1332 h 1868"/>
                <a:gd name="T110" fmla="*/ 9831 w 11327"/>
                <a:gd name="T111" fmla="*/ 966 h 1868"/>
                <a:gd name="T112" fmla="*/ 9938 w 11327"/>
                <a:gd name="T113" fmla="*/ 575 h 1868"/>
                <a:gd name="T114" fmla="*/ 10261 w 11327"/>
                <a:gd name="T115" fmla="*/ 373 h 1868"/>
                <a:gd name="T116" fmla="*/ 10634 w 11327"/>
                <a:gd name="T117" fmla="*/ 382 h 1868"/>
                <a:gd name="T118" fmla="*/ 10890 w 11327"/>
                <a:gd name="T119" fmla="*/ 515 h 1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27" h="1868">
                  <a:moveTo>
                    <a:pt x="0" y="42"/>
                  </a:moveTo>
                  <a:lnTo>
                    <a:pt x="0" y="1822"/>
                  </a:lnTo>
                  <a:lnTo>
                    <a:pt x="399" y="1822"/>
                  </a:lnTo>
                  <a:lnTo>
                    <a:pt x="399" y="400"/>
                  </a:lnTo>
                  <a:lnTo>
                    <a:pt x="1352" y="400"/>
                  </a:lnTo>
                  <a:lnTo>
                    <a:pt x="1352" y="1822"/>
                  </a:lnTo>
                  <a:lnTo>
                    <a:pt x="1755" y="1822"/>
                  </a:lnTo>
                  <a:lnTo>
                    <a:pt x="1755" y="42"/>
                  </a:lnTo>
                  <a:lnTo>
                    <a:pt x="0" y="42"/>
                  </a:lnTo>
                  <a:close/>
                  <a:moveTo>
                    <a:pt x="2454" y="933"/>
                  </a:moveTo>
                  <a:lnTo>
                    <a:pt x="2454" y="900"/>
                  </a:lnTo>
                  <a:lnTo>
                    <a:pt x="2457" y="866"/>
                  </a:lnTo>
                  <a:lnTo>
                    <a:pt x="2460" y="835"/>
                  </a:lnTo>
                  <a:lnTo>
                    <a:pt x="2465" y="803"/>
                  </a:lnTo>
                  <a:lnTo>
                    <a:pt x="2472" y="773"/>
                  </a:lnTo>
                  <a:lnTo>
                    <a:pt x="2480" y="743"/>
                  </a:lnTo>
                  <a:lnTo>
                    <a:pt x="2489" y="715"/>
                  </a:lnTo>
                  <a:lnTo>
                    <a:pt x="2499" y="686"/>
                  </a:lnTo>
                  <a:lnTo>
                    <a:pt x="2511" y="660"/>
                  </a:lnTo>
                  <a:lnTo>
                    <a:pt x="2524" y="634"/>
                  </a:lnTo>
                  <a:lnTo>
                    <a:pt x="2538" y="610"/>
                  </a:lnTo>
                  <a:lnTo>
                    <a:pt x="2553" y="586"/>
                  </a:lnTo>
                  <a:lnTo>
                    <a:pt x="2570" y="563"/>
                  </a:lnTo>
                  <a:lnTo>
                    <a:pt x="2588" y="542"/>
                  </a:lnTo>
                  <a:lnTo>
                    <a:pt x="2606" y="521"/>
                  </a:lnTo>
                  <a:lnTo>
                    <a:pt x="2626" y="501"/>
                  </a:lnTo>
                  <a:lnTo>
                    <a:pt x="2646" y="483"/>
                  </a:lnTo>
                  <a:lnTo>
                    <a:pt x="2667" y="466"/>
                  </a:lnTo>
                  <a:lnTo>
                    <a:pt x="2691" y="449"/>
                  </a:lnTo>
                  <a:lnTo>
                    <a:pt x="2713" y="434"/>
                  </a:lnTo>
                  <a:lnTo>
                    <a:pt x="2737" y="420"/>
                  </a:lnTo>
                  <a:lnTo>
                    <a:pt x="2763" y="408"/>
                  </a:lnTo>
                  <a:lnTo>
                    <a:pt x="2788" y="396"/>
                  </a:lnTo>
                  <a:lnTo>
                    <a:pt x="2815" y="385"/>
                  </a:lnTo>
                  <a:lnTo>
                    <a:pt x="2842" y="375"/>
                  </a:lnTo>
                  <a:lnTo>
                    <a:pt x="2870" y="367"/>
                  </a:lnTo>
                  <a:lnTo>
                    <a:pt x="2898" y="361"/>
                  </a:lnTo>
                  <a:lnTo>
                    <a:pt x="2928" y="355"/>
                  </a:lnTo>
                  <a:lnTo>
                    <a:pt x="2957" y="351"/>
                  </a:lnTo>
                  <a:lnTo>
                    <a:pt x="2988" y="347"/>
                  </a:lnTo>
                  <a:lnTo>
                    <a:pt x="3018" y="345"/>
                  </a:lnTo>
                  <a:lnTo>
                    <a:pt x="3049" y="345"/>
                  </a:lnTo>
                  <a:lnTo>
                    <a:pt x="3080" y="345"/>
                  </a:lnTo>
                  <a:lnTo>
                    <a:pt x="3111" y="347"/>
                  </a:lnTo>
                  <a:lnTo>
                    <a:pt x="3141" y="351"/>
                  </a:lnTo>
                  <a:lnTo>
                    <a:pt x="3171" y="355"/>
                  </a:lnTo>
                  <a:lnTo>
                    <a:pt x="3200" y="361"/>
                  </a:lnTo>
                  <a:lnTo>
                    <a:pt x="3229" y="367"/>
                  </a:lnTo>
                  <a:lnTo>
                    <a:pt x="3256" y="375"/>
                  </a:lnTo>
                  <a:lnTo>
                    <a:pt x="3284" y="385"/>
                  </a:lnTo>
                  <a:lnTo>
                    <a:pt x="3310" y="396"/>
                  </a:lnTo>
                  <a:lnTo>
                    <a:pt x="3335" y="408"/>
                  </a:lnTo>
                  <a:lnTo>
                    <a:pt x="3361" y="420"/>
                  </a:lnTo>
                  <a:lnTo>
                    <a:pt x="3384" y="434"/>
                  </a:lnTo>
                  <a:lnTo>
                    <a:pt x="3408" y="449"/>
                  </a:lnTo>
                  <a:lnTo>
                    <a:pt x="3430" y="466"/>
                  </a:lnTo>
                  <a:lnTo>
                    <a:pt x="3452" y="483"/>
                  </a:lnTo>
                  <a:lnTo>
                    <a:pt x="3473" y="501"/>
                  </a:lnTo>
                  <a:lnTo>
                    <a:pt x="3492" y="521"/>
                  </a:lnTo>
                  <a:lnTo>
                    <a:pt x="3510" y="542"/>
                  </a:lnTo>
                  <a:lnTo>
                    <a:pt x="3528" y="563"/>
                  </a:lnTo>
                  <a:lnTo>
                    <a:pt x="3545" y="586"/>
                  </a:lnTo>
                  <a:lnTo>
                    <a:pt x="3560" y="610"/>
                  </a:lnTo>
                  <a:lnTo>
                    <a:pt x="3574" y="634"/>
                  </a:lnTo>
                  <a:lnTo>
                    <a:pt x="3587" y="660"/>
                  </a:lnTo>
                  <a:lnTo>
                    <a:pt x="3599" y="686"/>
                  </a:lnTo>
                  <a:lnTo>
                    <a:pt x="3609" y="715"/>
                  </a:lnTo>
                  <a:lnTo>
                    <a:pt x="3618" y="743"/>
                  </a:lnTo>
                  <a:lnTo>
                    <a:pt x="3626" y="773"/>
                  </a:lnTo>
                  <a:lnTo>
                    <a:pt x="3632" y="803"/>
                  </a:lnTo>
                  <a:lnTo>
                    <a:pt x="3637" y="835"/>
                  </a:lnTo>
                  <a:lnTo>
                    <a:pt x="3642" y="866"/>
                  </a:lnTo>
                  <a:lnTo>
                    <a:pt x="3644" y="900"/>
                  </a:lnTo>
                  <a:lnTo>
                    <a:pt x="3645" y="933"/>
                  </a:lnTo>
                  <a:lnTo>
                    <a:pt x="3644" y="968"/>
                  </a:lnTo>
                  <a:lnTo>
                    <a:pt x="3642" y="1001"/>
                  </a:lnTo>
                  <a:lnTo>
                    <a:pt x="3637" y="1033"/>
                  </a:lnTo>
                  <a:lnTo>
                    <a:pt x="3632" y="1065"/>
                  </a:lnTo>
                  <a:lnTo>
                    <a:pt x="3626" y="1095"/>
                  </a:lnTo>
                  <a:lnTo>
                    <a:pt x="3618" y="1125"/>
                  </a:lnTo>
                  <a:lnTo>
                    <a:pt x="3609" y="1153"/>
                  </a:lnTo>
                  <a:lnTo>
                    <a:pt x="3599" y="1181"/>
                  </a:lnTo>
                  <a:lnTo>
                    <a:pt x="3587" y="1207"/>
                  </a:lnTo>
                  <a:lnTo>
                    <a:pt x="3574" y="1233"/>
                  </a:lnTo>
                  <a:lnTo>
                    <a:pt x="3560" y="1258"/>
                  </a:lnTo>
                  <a:lnTo>
                    <a:pt x="3545" y="1281"/>
                  </a:lnTo>
                  <a:lnTo>
                    <a:pt x="3528" y="1305"/>
                  </a:lnTo>
                  <a:lnTo>
                    <a:pt x="3510" y="1326"/>
                  </a:lnTo>
                  <a:lnTo>
                    <a:pt x="3492" y="1346"/>
                  </a:lnTo>
                  <a:lnTo>
                    <a:pt x="3473" y="1366"/>
                  </a:lnTo>
                  <a:lnTo>
                    <a:pt x="3452" y="1385"/>
                  </a:lnTo>
                  <a:lnTo>
                    <a:pt x="3430" y="1402"/>
                  </a:lnTo>
                  <a:lnTo>
                    <a:pt x="3408" y="1418"/>
                  </a:lnTo>
                  <a:lnTo>
                    <a:pt x="3384" y="1434"/>
                  </a:lnTo>
                  <a:lnTo>
                    <a:pt x="3361" y="1447"/>
                  </a:lnTo>
                  <a:lnTo>
                    <a:pt x="3335" y="1460"/>
                  </a:lnTo>
                  <a:lnTo>
                    <a:pt x="3310" y="1472"/>
                  </a:lnTo>
                  <a:lnTo>
                    <a:pt x="3284" y="1483"/>
                  </a:lnTo>
                  <a:lnTo>
                    <a:pt x="3256" y="1492"/>
                  </a:lnTo>
                  <a:lnTo>
                    <a:pt x="3229" y="1500"/>
                  </a:lnTo>
                  <a:lnTo>
                    <a:pt x="3200" y="1507"/>
                  </a:lnTo>
                  <a:lnTo>
                    <a:pt x="3171" y="1513"/>
                  </a:lnTo>
                  <a:lnTo>
                    <a:pt x="3141" y="1517"/>
                  </a:lnTo>
                  <a:lnTo>
                    <a:pt x="3111" y="1520"/>
                  </a:lnTo>
                  <a:lnTo>
                    <a:pt x="3080" y="1522"/>
                  </a:lnTo>
                  <a:lnTo>
                    <a:pt x="3049" y="1523"/>
                  </a:lnTo>
                  <a:lnTo>
                    <a:pt x="3018" y="1522"/>
                  </a:lnTo>
                  <a:lnTo>
                    <a:pt x="2988" y="1520"/>
                  </a:lnTo>
                  <a:lnTo>
                    <a:pt x="2957" y="1517"/>
                  </a:lnTo>
                  <a:lnTo>
                    <a:pt x="2928" y="1513"/>
                  </a:lnTo>
                  <a:lnTo>
                    <a:pt x="2898" y="1507"/>
                  </a:lnTo>
                  <a:lnTo>
                    <a:pt x="2870" y="1500"/>
                  </a:lnTo>
                  <a:lnTo>
                    <a:pt x="2842" y="1492"/>
                  </a:lnTo>
                  <a:lnTo>
                    <a:pt x="2815" y="1483"/>
                  </a:lnTo>
                  <a:lnTo>
                    <a:pt x="2788" y="1472"/>
                  </a:lnTo>
                  <a:lnTo>
                    <a:pt x="2763" y="1460"/>
                  </a:lnTo>
                  <a:lnTo>
                    <a:pt x="2737" y="1447"/>
                  </a:lnTo>
                  <a:lnTo>
                    <a:pt x="2713" y="1434"/>
                  </a:lnTo>
                  <a:lnTo>
                    <a:pt x="2691" y="1418"/>
                  </a:lnTo>
                  <a:lnTo>
                    <a:pt x="2667" y="1402"/>
                  </a:lnTo>
                  <a:lnTo>
                    <a:pt x="2646" y="1385"/>
                  </a:lnTo>
                  <a:lnTo>
                    <a:pt x="2626" y="1366"/>
                  </a:lnTo>
                  <a:lnTo>
                    <a:pt x="2606" y="1346"/>
                  </a:lnTo>
                  <a:lnTo>
                    <a:pt x="2588" y="1326"/>
                  </a:lnTo>
                  <a:lnTo>
                    <a:pt x="2570" y="1305"/>
                  </a:lnTo>
                  <a:lnTo>
                    <a:pt x="2553" y="1281"/>
                  </a:lnTo>
                  <a:lnTo>
                    <a:pt x="2538" y="1258"/>
                  </a:lnTo>
                  <a:lnTo>
                    <a:pt x="2524" y="1233"/>
                  </a:lnTo>
                  <a:lnTo>
                    <a:pt x="2511" y="1207"/>
                  </a:lnTo>
                  <a:lnTo>
                    <a:pt x="2499" y="1181"/>
                  </a:lnTo>
                  <a:lnTo>
                    <a:pt x="2489" y="1153"/>
                  </a:lnTo>
                  <a:lnTo>
                    <a:pt x="2480" y="1125"/>
                  </a:lnTo>
                  <a:lnTo>
                    <a:pt x="2472" y="1095"/>
                  </a:lnTo>
                  <a:lnTo>
                    <a:pt x="2465" y="1065"/>
                  </a:lnTo>
                  <a:lnTo>
                    <a:pt x="2460" y="1033"/>
                  </a:lnTo>
                  <a:lnTo>
                    <a:pt x="2457" y="1001"/>
                  </a:lnTo>
                  <a:lnTo>
                    <a:pt x="2454" y="968"/>
                  </a:lnTo>
                  <a:lnTo>
                    <a:pt x="2454" y="933"/>
                  </a:lnTo>
                  <a:close/>
                  <a:moveTo>
                    <a:pt x="4047" y="933"/>
                  </a:moveTo>
                  <a:lnTo>
                    <a:pt x="4046" y="882"/>
                  </a:lnTo>
                  <a:lnTo>
                    <a:pt x="4042" y="831"/>
                  </a:lnTo>
                  <a:lnTo>
                    <a:pt x="4035" y="781"/>
                  </a:lnTo>
                  <a:lnTo>
                    <a:pt x="4026" y="733"/>
                  </a:lnTo>
                  <a:lnTo>
                    <a:pt x="4015" y="685"/>
                  </a:lnTo>
                  <a:lnTo>
                    <a:pt x="4002" y="640"/>
                  </a:lnTo>
                  <a:lnTo>
                    <a:pt x="3985" y="595"/>
                  </a:lnTo>
                  <a:lnTo>
                    <a:pt x="3967" y="551"/>
                  </a:lnTo>
                  <a:lnTo>
                    <a:pt x="3947" y="509"/>
                  </a:lnTo>
                  <a:lnTo>
                    <a:pt x="3924" y="469"/>
                  </a:lnTo>
                  <a:lnTo>
                    <a:pt x="3900" y="430"/>
                  </a:lnTo>
                  <a:lnTo>
                    <a:pt x="3874" y="392"/>
                  </a:lnTo>
                  <a:lnTo>
                    <a:pt x="3846" y="356"/>
                  </a:lnTo>
                  <a:lnTo>
                    <a:pt x="3815" y="321"/>
                  </a:lnTo>
                  <a:lnTo>
                    <a:pt x="3784" y="289"/>
                  </a:lnTo>
                  <a:lnTo>
                    <a:pt x="3751" y="257"/>
                  </a:lnTo>
                  <a:lnTo>
                    <a:pt x="3716" y="227"/>
                  </a:lnTo>
                  <a:lnTo>
                    <a:pt x="3679" y="199"/>
                  </a:lnTo>
                  <a:lnTo>
                    <a:pt x="3642" y="173"/>
                  </a:lnTo>
                  <a:lnTo>
                    <a:pt x="3603" y="147"/>
                  </a:lnTo>
                  <a:lnTo>
                    <a:pt x="3562" y="125"/>
                  </a:lnTo>
                  <a:lnTo>
                    <a:pt x="3521" y="104"/>
                  </a:lnTo>
                  <a:lnTo>
                    <a:pt x="3477" y="84"/>
                  </a:lnTo>
                  <a:lnTo>
                    <a:pt x="3433" y="67"/>
                  </a:lnTo>
                  <a:lnTo>
                    <a:pt x="3388" y="52"/>
                  </a:lnTo>
                  <a:lnTo>
                    <a:pt x="3342" y="39"/>
                  </a:lnTo>
                  <a:lnTo>
                    <a:pt x="3295" y="26"/>
                  </a:lnTo>
                  <a:lnTo>
                    <a:pt x="3247" y="17"/>
                  </a:lnTo>
                  <a:lnTo>
                    <a:pt x="3199" y="10"/>
                  </a:lnTo>
                  <a:lnTo>
                    <a:pt x="3149" y="4"/>
                  </a:lnTo>
                  <a:lnTo>
                    <a:pt x="3099" y="1"/>
                  </a:lnTo>
                  <a:lnTo>
                    <a:pt x="3049" y="0"/>
                  </a:lnTo>
                  <a:lnTo>
                    <a:pt x="2999" y="1"/>
                  </a:lnTo>
                  <a:lnTo>
                    <a:pt x="2949" y="4"/>
                  </a:lnTo>
                  <a:lnTo>
                    <a:pt x="2899" y="10"/>
                  </a:lnTo>
                  <a:lnTo>
                    <a:pt x="2851" y="17"/>
                  </a:lnTo>
                  <a:lnTo>
                    <a:pt x="2804" y="26"/>
                  </a:lnTo>
                  <a:lnTo>
                    <a:pt x="2756" y="39"/>
                  </a:lnTo>
                  <a:lnTo>
                    <a:pt x="2710" y="52"/>
                  </a:lnTo>
                  <a:lnTo>
                    <a:pt x="2665" y="67"/>
                  </a:lnTo>
                  <a:lnTo>
                    <a:pt x="2620" y="84"/>
                  </a:lnTo>
                  <a:lnTo>
                    <a:pt x="2578" y="104"/>
                  </a:lnTo>
                  <a:lnTo>
                    <a:pt x="2536" y="125"/>
                  </a:lnTo>
                  <a:lnTo>
                    <a:pt x="2495" y="147"/>
                  </a:lnTo>
                  <a:lnTo>
                    <a:pt x="2457" y="173"/>
                  </a:lnTo>
                  <a:lnTo>
                    <a:pt x="2418" y="199"/>
                  </a:lnTo>
                  <a:lnTo>
                    <a:pt x="2382" y="227"/>
                  </a:lnTo>
                  <a:lnTo>
                    <a:pt x="2347" y="257"/>
                  </a:lnTo>
                  <a:lnTo>
                    <a:pt x="2313" y="289"/>
                  </a:lnTo>
                  <a:lnTo>
                    <a:pt x="2282" y="321"/>
                  </a:lnTo>
                  <a:lnTo>
                    <a:pt x="2252" y="356"/>
                  </a:lnTo>
                  <a:lnTo>
                    <a:pt x="2224" y="392"/>
                  </a:lnTo>
                  <a:lnTo>
                    <a:pt x="2197" y="430"/>
                  </a:lnTo>
                  <a:lnTo>
                    <a:pt x="2173" y="469"/>
                  </a:lnTo>
                  <a:lnTo>
                    <a:pt x="2152" y="509"/>
                  </a:lnTo>
                  <a:lnTo>
                    <a:pt x="2131" y="551"/>
                  </a:lnTo>
                  <a:lnTo>
                    <a:pt x="2113" y="595"/>
                  </a:lnTo>
                  <a:lnTo>
                    <a:pt x="2097" y="640"/>
                  </a:lnTo>
                  <a:lnTo>
                    <a:pt x="2083" y="685"/>
                  </a:lnTo>
                  <a:lnTo>
                    <a:pt x="2071" y="733"/>
                  </a:lnTo>
                  <a:lnTo>
                    <a:pt x="2063" y="781"/>
                  </a:lnTo>
                  <a:lnTo>
                    <a:pt x="2056" y="831"/>
                  </a:lnTo>
                  <a:lnTo>
                    <a:pt x="2052" y="882"/>
                  </a:lnTo>
                  <a:lnTo>
                    <a:pt x="2051" y="933"/>
                  </a:lnTo>
                  <a:lnTo>
                    <a:pt x="2052" y="985"/>
                  </a:lnTo>
                  <a:lnTo>
                    <a:pt x="2056" y="1036"/>
                  </a:lnTo>
                  <a:lnTo>
                    <a:pt x="2063" y="1086"/>
                  </a:lnTo>
                  <a:lnTo>
                    <a:pt x="2071" y="1135"/>
                  </a:lnTo>
                  <a:lnTo>
                    <a:pt x="2083" y="1182"/>
                  </a:lnTo>
                  <a:lnTo>
                    <a:pt x="2097" y="1228"/>
                  </a:lnTo>
                  <a:lnTo>
                    <a:pt x="2113" y="1273"/>
                  </a:lnTo>
                  <a:lnTo>
                    <a:pt x="2131" y="1316"/>
                  </a:lnTo>
                  <a:lnTo>
                    <a:pt x="2152" y="1357"/>
                  </a:lnTo>
                  <a:lnTo>
                    <a:pt x="2173" y="1398"/>
                  </a:lnTo>
                  <a:lnTo>
                    <a:pt x="2197" y="1438"/>
                  </a:lnTo>
                  <a:lnTo>
                    <a:pt x="2224" y="1475"/>
                  </a:lnTo>
                  <a:lnTo>
                    <a:pt x="2252" y="1512"/>
                  </a:lnTo>
                  <a:lnTo>
                    <a:pt x="2282" y="1547"/>
                  </a:lnTo>
                  <a:lnTo>
                    <a:pt x="2313" y="1579"/>
                  </a:lnTo>
                  <a:lnTo>
                    <a:pt x="2347" y="1611"/>
                  </a:lnTo>
                  <a:lnTo>
                    <a:pt x="2382" y="1640"/>
                  </a:lnTo>
                  <a:lnTo>
                    <a:pt x="2418" y="1669"/>
                  </a:lnTo>
                  <a:lnTo>
                    <a:pt x="2457" y="1695"/>
                  </a:lnTo>
                  <a:lnTo>
                    <a:pt x="2495" y="1719"/>
                  </a:lnTo>
                  <a:lnTo>
                    <a:pt x="2536" y="1743"/>
                  </a:lnTo>
                  <a:lnTo>
                    <a:pt x="2578" y="1764"/>
                  </a:lnTo>
                  <a:lnTo>
                    <a:pt x="2620" y="1782"/>
                  </a:lnTo>
                  <a:lnTo>
                    <a:pt x="2665" y="1801"/>
                  </a:lnTo>
                  <a:lnTo>
                    <a:pt x="2710" y="1816"/>
                  </a:lnTo>
                  <a:lnTo>
                    <a:pt x="2756" y="1829"/>
                  </a:lnTo>
                  <a:lnTo>
                    <a:pt x="2804" y="1840"/>
                  </a:lnTo>
                  <a:lnTo>
                    <a:pt x="2851" y="1851"/>
                  </a:lnTo>
                  <a:lnTo>
                    <a:pt x="2899" y="1858"/>
                  </a:lnTo>
                  <a:lnTo>
                    <a:pt x="2949" y="1863"/>
                  </a:lnTo>
                  <a:lnTo>
                    <a:pt x="2999" y="1866"/>
                  </a:lnTo>
                  <a:lnTo>
                    <a:pt x="3049" y="1868"/>
                  </a:lnTo>
                  <a:lnTo>
                    <a:pt x="3099" y="1866"/>
                  </a:lnTo>
                  <a:lnTo>
                    <a:pt x="3149" y="1863"/>
                  </a:lnTo>
                  <a:lnTo>
                    <a:pt x="3199" y="1858"/>
                  </a:lnTo>
                  <a:lnTo>
                    <a:pt x="3247" y="1851"/>
                  </a:lnTo>
                  <a:lnTo>
                    <a:pt x="3295" y="1840"/>
                  </a:lnTo>
                  <a:lnTo>
                    <a:pt x="3342" y="1829"/>
                  </a:lnTo>
                  <a:lnTo>
                    <a:pt x="3388" y="1816"/>
                  </a:lnTo>
                  <a:lnTo>
                    <a:pt x="3433" y="1801"/>
                  </a:lnTo>
                  <a:lnTo>
                    <a:pt x="3477" y="1782"/>
                  </a:lnTo>
                  <a:lnTo>
                    <a:pt x="3521" y="1764"/>
                  </a:lnTo>
                  <a:lnTo>
                    <a:pt x="3562" y="1743"/>
                  </a:lnTo>
                  <a:lnTo>
                    <a:pt x="3603" y="1719"/>
                  </a:lnTo>
                  <a:lnTo>
                    <a:pt x="3642" y="1695"/>
                  </a:lnTo>
                  <a:lnTo>
                    <a:pt x="3679" y="1669"/>
                  </a:lnTo>
                  <a:lnTo>
                    <a:pt x="3716" y="1640"/>
                  </a:lnTo>
                  <a:lnTo>
                    <a:pt x="3751" y="1611"/>
                  </a:lnTo>
                  <a:lnTo>
                    <a:pt x="3784" y="1579"/>
                  </a:lnTo>
                  <a:lnTo>
                    <a:pt x="3815" y="1547"/>
                  </a:lnTo>
                  <a:lnTo>
                    <a:pt x="3846" y="1512"/>
                  </a:lnTo>
                  <a:lnTo>
                    <a:pt x="3874" y="1475"/>
                  </a:lnTo>
                  <a:lnTo>
                    <a:pt x="3900" y="1438"/>
                  </a:lnTo>
                  <a:lnTo>
                    <a:pt x="3924" y="1398"/>
                  </a:lnTo>
                  <a:lnTo>
                    <a:pt x="3947" y="1357"/>
                  </a:lnTo>
                  <a:lnTo>
                    <a:pt x="3967" y="1316"/>
                  </a:lnTo>
                  <a:lnTo>
                    <a:pt x="3985" y="1273"/>
                  </a:lnTo>
                  <a:lnTo>
                    <a:pt x="4002" y="1228"/>
                  </a:lnTo>
                  <a:lnTo>
                    <a:pt x="4015" y="1182"/>
                  </a:lnTo>
                  <a:lnTo>
                    <a:pt x="4026" y="1135"/>
                  </a:lnTo>
                  <a:lnTo>
                    <a:pt x="4035" y="1086"/>
                  </a:lnTo>
                  <a:lnTo>
                    <a:pt x="4042" y="1036"/>
                  </a:lnTo>
                  <a:lnTo>
                    <a:pt x="4046" y="985"/>
                  </a:lnTo>
                  <a:lnTo>
                    <a:pt x="4047" y="933"/>
                  </a:lnTo>
                  <a:close/>
                  <a:moveTo>
                    <a:pt x="4779" y="42"/>
                  </a:moveTo>
                  <a:lnTo>
                    <a:pt x="4540" y="1317"/>
                  </a:lnTo>
                  <a:lnTo>
                    <a:pt x="4535" y="1334"/>
                  </a:lnTo>
                  <a:lnTo>
                    <a:pt x="4530" y="1350"/>
                  </a:lnTo>
                  <a:lnTo>
                    <a:pt x="4524" y="1366"/>
                  </a:lnTo>
                  <a:lnTo>
                    <a:pt x="4517" y="1379"/>
                  </a:lnTo>
                  <a:lnTo>
                    <a:pt x="4510" y="1392"/>
                  </a:lnTo>
                  <a:lnTo>
                    <a:pt x="4501" y="1403"/>
                  </a:lnTo>
                  <a:lnTo>
                    <a:pt x="4491" y="1413"/>
                  </a:lnTo>
                  <a:lnTo>
                    <a:pt x="4481" y="1423"/>
                  </a:lnTo>
                  <a:lnTo>
                    <a:pt x="4469" y="1431"/>
                  </a:lnTo>
                  <a:lnTo>
                    <a:pt x="4457" y="1437"/>
                  </a:lnTo>
                  <a:lnTo>
                    <a:pt x="4444" y="1443"/>
                  </a:lnTo>
                  <a:lnTo>
                    <a:pt x="4430" y="1447"/>
                  </a:lnTo>
                  <a:lnTo>
                    <a:pt x="4415" y="1451"/>
                  </a:lnTo>
                  <a:lnTo>
                    <a:pt x="4399" y="1453"/>
                  </a:lnTo>
                  <a:lnTo>
                    <a:pt x="4383" y="1455"/>
                  </a:lnTo>
                  <a:lnTo>
                    <a:pt x="4366" y="1455"/>
                  </a:lnTo>
                  <a:lnTo>
                    <a:pt x="4172" y="1455"/>
                  </a:lnTo>
                  <a:lnTo>
                    <a:pt x="4172" y="1822"/>
                  </a:lnTo>
                  <a:lnTo>
                    <a:pt x="4385" y="1822"/>
                  </a:lnTo>
                  <a:lnTo>
                    <a:pt x="4412" y="1822"/>
                  </a:lnTo>
                  <a:lnTo>
                    <a:pt x="4439" y="1821"/>
                  </a:lnTo>
                  <a:lnTo>
                    <a:pt x="4465" y="1819"/>
                  </a:lnTo>
                  <a:lnTo>
                    <a:pt x="4491" y="1816"/>
                  </a:lnTo>
                  <a:lnTo>
                    <a:pt x="4515" y="1812"/>
                  </a:lnTo>
                  <a:lnTo>
                    <a:pt x="4540" y="1808"/>
                  </a:lnTo>
                  <a:lnTo>
                    <a:pt x="4563" y="1802"/>
                  </a:lnTo>
                  <a:lnTo>
                    <a:pt x="4586" y="1796"/>
                  </a:lnTo>
                  <a:lnTo>
                    <a:pt x="4609" y="1789"/>
                  </a:lnTo>
                  <a:lnTo>
                    <a:pt x="4630" y="1780"/>
                  </a:lnTo>
                  <a:lnTo>
                    <a:pt x="4651" y="1771"/>
                  </a:lnTo>
                  <a:lnTo>
                    <a:pt x="4672" y="1762"/>
                  </a:lnTo>
                  <a:lnTo>
                    <a:pt x="4692" y="1751"/>
                  </a:lnTo>
                  <a:lnTo>
                    <a:pt x="4710" y="1740"/>
                  </a:lnTo>
                  <a:lnTo>
                    <a:pt x="4730" y="1728"/>
                  </a:lnTo>
                  <a:lnTo>
                    <a:pt x="4747" y="1713"/>
                  </a:lnTo>
                  <a:lnTo>
                    <a:pt x="4764" y="1699"/>
                  </a:lnTo>
                  <a:lnTo>
                    <a:pt x="4781" y="1684"/>
                  </a:lnTo>
                  <a:lnTo>
                    <a:pt x="4796" y="1668"/>
                  </a:lnTo>
                  <a:lnTo>
                    <a:pt x="4811" y="1650"/>
                  </a:lnTo>
                  <a:lnTo>
                    <a:pt x="4825" y="1633"/>
                  </a:lnTo>
                  <a:lnTo>
                    <a:pt x="4839" y="1614"/>
                  </a:lnTo>
                  <a:lnTo>
                    <a:pt x="4852" y="1593"/>
                  </a:lnTo>
                  <a:lnTo>
                    <a:pt x="4864" y="1572"/>
                  </a:lnTo>
                  <a:lnTo>
                    <a:pt x="4875" y="1551"/>
                  </a:lnTo>
                  <a:lnTo>
                    <a:pt x="4885" y="1527"/>
                  </a:lnTo>
                  <a:lnTo>
                    <a:pt x="4895" y="1504"/>
                  </a:lnTo>
                  <a:lnTo>
                    <a:pt x="4905" y="1478"/>
                  </a:lnTo>
                  <a:lnTo>
                    <a:pt x="4913" y="1452"/>
                  </a:lnTo>
                  <a:lnTo>
                    <a:pt x="4920" y="1426"/>
                  </a:lnTo>
                  <a:lnTo>
                    <a:pt x="4927" y="1397"/>
                  </a:lnTo>
                  <a:lnTo>
                    <a:pt x="4932" y="1369"/>
                  </a:lnTo>
                  <a:lnTo>
                    <a:pt x="5113" y="403"/>
                  </a:lnTo>
                  <a:lnTo>
                    <a:pt x="5796" y="403"/>
                  </a:lnTo>
                  <a:lnTo>
                    <a:pt x="5796" y="1822"/>
                  </a:lnTo>
                  <a:lnTo>
                    <a:pt x="6198" y="1822"/>
                  </a:lnTo>
                  <a:lnTo>
                    <a:pt x="6198" y="42"/>
                  </a:lnTo>
                  <a:lnTo>
                    <a:pt x="4779" y="42"/>
                  </a:lnTo>
                  <a:close/>
                  <a:moveTo>
                    <a:pt x="6585" y="42"/>
                  </a:moveTo>
                  <a:lnTo>
                    <a:pt x="6585" y="1822"/>
                  </a:lnTo>
                  <a:lnTo>
                    <a:pt x="6980" y="1822"/>
                  </a:lnTo>
                  <a:lnTo>
                    <a:pt x="6980" y="1069"/>
                  </a:lnTo>
                  <a:lnTo>
                    <a:pt x="7251" y="1069"/>
                  </a:lnTo>
                  <a:lnTo>
                    <a:pt x="7258" y="1116"/>
                  </a:lnTo>
                  <a:lnTo>
                    <a:pt x="7266" y="1162"/>
                  </a:lnTo>
                  <a:lnTo>
                    <a:pt x="7277" y="1207"/>
                  </a:lnTo>
                  <a:lnTo>
                    <a:pt x="7290" y="1251"/>
                  </a:lnTo>
                  <a:lnTo>
                    <a:pt x="7304" y="1292"/>
                  </a:lnTo>
                  <a:lnTo>
                    <a:pt x="7320" y="1333"/>
                  </a:lnTo>
                  <a:lnTo>
                    <a:pt x="7338" y="1372"/>
                  </a:lnTo>
                  <a:lnTo>
                    <a:pt x="7358" y="1409"/>
                  </a:lnTo>
                  <a:lnTo>
                    <a:pt x="7379" y="1446"/>
                  </a:lnTo>
                  <a:lnTo>
                    <a:pt x="7402" y="1482"/>
                  </a:lnTo>
                  <a:lnTo>
                    <a:pt x="7427" y="1514"/>
                  </a:lnTo>
                  <a:lnTo>
                    <a:pt x="7452" y="1547"/>
                  </a:lnTo>
                  <a:lnTo>
                    <a:pt x="7480" y="1577"/>
                  </a:lnTo>
                  <a:lnTo>
                    <a:pt x="7509" y="1607"/>
                  </a:lnTo>
                  <a:lnTo>
                    <a:pt x="7540" y="1634"/>
                  </a:lnTo>
                  <a:lnTo>
                    <a:pt x="7571" y="1660"/>
                  </a:lnTo>
                  <a:lnTo>
                    <a:pt x="7604" y="1685"/>
                  </a:lnTo>
                  <a:lnTo>
                    <a:pt x="7637" y="1708"/>
                  </a:lnTo>
                  <a:lnTo>
                    <a:pt x="7673" y="1730"/>
                  </a:lnTo>
                  <a:lnTo>
                    <a:pt x="7710" y="1750"/>
                  </a:lnTo>
                  <a:lnTo>
                    <a:pt x="7747" y="1768"/>
                  </a:lnTo>
                  <a:lnTo>
                    <a:pt x="7786" y="1786"/>
                  </a:lnTo>
                  <a:lnTo>
                    <a:pt x="7824" y="1801"/>
                  </a:lnTo>
                  <a:lnTo>
                    <a:pt x="7865" y="1815"/>
                  </a:lnTo>
                  <a:lnTo>
                    <a:pt x="7907" y="1827"/>
                  </a:lnTo>
                  <a:lnTo>
                    <a:pt x="7949" y="1837"/>
                  </a:lnTo>
                  <a:lnTo>
                    <a:pt x="7991" y="1847"/>
                  </a:lnTo>
                  <a:lnTo>
                    <a:pt x="8035" y="1854"/>
                  </a:lnTo>
                  <a:lnTo>
                    <a:pt x="8080" y="1860"/>
                  </a:lnTo>
                  <a:lnTo>
                    <a:pt x="8124" y="1864"/>
                  </a:lnTo>
                  <a:lnTo>
                    <a:pt x="8170" y="1867"/>
                  </a:lnTo>
                  <a:lnTo>
                    <a:pt x="8217" y="1868"/>
                  </a:lnTo>
                  <a:lnTo>
                    <a:pt x="8267" y="1867"/>
                  </a:lnTo>
                  <a:lnTo>
                    <a:pt x="8317" y="1864"/>
                  </a:lnTo>
                  <a:lnTo>
                    <a:pt x="8364" y="1859"/>
                  </a:lnTo>
                  <a:lnTo>
                    <a:pt x="8413" y="1852"/>
                  </a:lnTo>
                  <a:lnTo>
                    <a:pt x="8460" y="1842"/>
                  </a:lnTo>
                  <a:lnTo>
                    <a:pt x="8506" y="1832"/>
                  </a:lnTo>
                  <a:lnTo>
                    <a:pt x="8552" y="1820"/>
                  </a:lnTo>
                  <a:lnTo>
                    <a:pt x="8595" y="1805"/>
                  </a:lnTo>
                  <a:lnTo>
                    <a:pt x="8639" y="1789"/>
                  </a:lnTo>
                  <a:lnTo>
                    <a:pt x="8681" y="1771"/>
                  </a:lnTo>
                  <a:lnTo>
                    <a:pt x="8721" y="1751"/>
                  </a:lnTo>
                  <a:lnTo>
                    <a:pt x="8761" y="1729"/>
                  </a:lnTo>
                  <a:lnTo>
                    <a:pt x="8799" y="1705"/>
                  </a:lnTo>
                  <a:lnTo>
                    <a:pt x="8835" y="1680"/>
                  </a:lnTo>
                  <a:lnTo>
                    <a:pt x="8871" y="1653"/>
                  </a:lnTo>
                  <a:lnTo>
                    <a:pt x="8905" y="1624"/>
                  </a:lnTo>
                  <a:lnTo>
                    <a:pt x="8937" y="1593"/>
                  </a:lnTo>
                  <a:lnTo>
                    <a:pt x="8968" y="1561"/>
                  </a:lnTo>
                  <a:lnTo>
                    <a:pt x="8996" y="1526"/>
                  </a:lnTo>
                  <a:lnTo>
                    <a:pt x="9023" y="1491"/>
                  </a:lnTo>
                  <a:lnTo>
                    <a:pt x="9049" y="1453"/>
                  </a:lnTo>
                  <a:lnTo>
                    <a:pt x="9072" y="1414"/>
                  </a:lnTo>
                  <a:lnTo>
                    <a:pt x="9094" y="1374"/>
                  </a:lnTo>
                  <a:lnTo>
                    <a:pt x="9113" y="1331"/>
                  </a:lnTo>
                  <a:lnTo>
                    <a:pt x="9130" y="1287"/>
                  </a:lnTo>
                  <a:lnTo>
                    <a:pt x="9146" y="1242"/>
                  </a:lnTo>
                  <a:lnTo>
                    <a:pt x="9159" y="1194"/>
                  </a:lnTo>
                  <a:lnTo>
                    <a:pt x="9169" y="1145"/>
                  </a:lnTo>
                  <a:lnTo>
                    <a:pt x="9178" y="1094"/>
                  </a:lnTo>
                  <a:lnTo>
                    <a:pt x="9184" y="1042"/>
                  </a:lnTo>
                  <a:lnTo>
                    <a:pt x="9188" y="988"/>
                  </a:lnTo>
                  <a:lnTo>
                    <a:pt x="9189" y="933"/>
                  </a:lnTo>
                  <a:lnTo>
                    <a:pt x="9188" y="879"/>
                  </a:lnTo>
                  <a:lnTo>
                    <a:pt x="9184" y="825"/>
                  </a:lnTo>
                  <a:lnTo>
                    <a:pt x="9178" y="773"/>
                  </a:lnTo>
                  <a:lnTo>
                    <a:pt x="9169" y="723"/>
                  </a:lnTo>
                  <a:lnTo>
                    <a:pt x="9159" y="674"/>
                  </a:lnTo>
                  <a:lnTo>
                    <a:pt x="9146" y="626"/>
                  </a:lnTo>
                  <a:lnTo>
                    <a:pt x="9130" y="581"/>
                  </a:lnTo>
                  <a:lnTo>
                    <a:pt x="9113" y="537"/>
                  </a:lnTo>
                  <a:lnTo>
                    <a:pt x="9094" y="494"/>
                  </a:lnTo>
                  <a:lnTo>
                    <a:pt x="9072" y="453"/>
                  </a:lnTo>
                  <a:lnTo>
                    <a:pt x="9049" y="414"/>
                  </a:lnTo>
                  <a:lnTo>
                    <a:pt x="9023" y="376"/>
                  </a:lnTo>
                  <a:lnTo>
                    <a:pt x="8996" y="341"/>
                  </a:lnTo>
                  <a:lnTo>
                    <a:pt x="8968" y="307"/>
                  </a:lnTo>
                  <a:lnTo>
                    <a:pt x="8937" y="275"/>
                  </a:lnTo>
                  <a:lnTo>
                    <a:pt x="8905" y="244"/>
                  </a:lnTo>
                  <a:lnTo>
                    <a:pt x="8871" y="215"/>
                  </a:lnTo>
                  <a:lnTo>
                    <a:pt x="8835" y="187"/>
                  </a:lnTo>
                  <a:lnTo>
                    <a:pt x="8799" y="162"/>
                  </a:lnTo>
                  <a:lnTo>
                    <a:pt x="8761" y="138"/>
                  </a:lnTo>
                  <a:lnTo>
                    <a:pt x="8721" y="117"/>
                  </a:lnTo>
                  <a:lnTo>
                    <a:pt x="8681" y="97"/>
                  </a:lnTo>
                  <a:lnTo>
                    <a:pt x="8639" y="78"/>
                  </a:lnTo>
                  <a:lnTo>
                    <a:pt x="8595" y="62"/>
                  </a:lnTo>
                  <a:lnTo>
                    <a:pt x="8552" y="48"/>
                  </a:lnTo>
                  <a:lnTo>
                    <a:pt x="8506" y="36"/>
                  </a:lnTo>
                  <a:lnTo>
                    <a:pt x="8460" y="24"/>
                  </a:lnTo>
                  <a:lnTo>
                    <a:pt x="8413" y="16"/>
                  </a:lnTo>
                  <a:lnTo>
                    <a:pt x="8364" y="9"/>
                  </a:lnTo>
                  <a:lnTo>
                    <a:pt x="8317" y="4"/>
                  </a:lnTo>
                  <a:lnTo>
                    <a:pt x="8267" y="1"/>
                  </a:lnTo>
                  <a:lnTo>
                    <a:pt x="8217" y="0"/>
                  </a:lnTo>
                  <a:lnTo>
                    <a:pt x="8173" y="1"/>
                  </a:lnTo>
                  <a:lnTo>
                    <a:pt x="8131" y="3"/>
                  </a:lnTo>
                  <a:lnTo>
                    <a:pt x="8088" y="7"/>
                  </a:lnTo>
                  <a:lnTo>
                    <a:pt x="8046" y="12"/>
                  </a:lnTo>
                  <a:lnTo>
                    <a:pt x="8004" y="18"/>
                  </a:lnTo>
                  <a:lnTo>
                    <a:pt x="7964" y="26"/>
                  </a:lnTo>
                  <a:lnTo>
                    <a:pt x="7924" y="36"/>
                  </a:lnTo>
                  <a:lnTo>
                    <a:pt x="7884" y="47"/>
                  </a:lnTo>
                  <a:lnTo>
                    <a:pt x="7846" y="59"/>
                  </a:lnTo>
                  <a:lnTo>
                    <a:pt x="7808" y="73"/>
                  </a:lnTo>
                  <a:lnTo>
                    <a:pt x="7772" y="88"/>
                  </a:lnTo>
                  <a:lnTo>
                    <a:pt x="7736" y="105"/>
                  </a:lnTo>
                  <a:lnTo>
                    <a:pt x="7700" y="122"/>
                  </a:lnTo>
                  <a:lnTo>
                    <a:pt x="7667" y="141"/>
                  </a:lnTo>
                  <a:lnTo>
                    <a:pt x="7633" y="162"/>
                  </a:lnTo>
                  <a:lnTo>
                    <a:pt x="7602" y="184"/>
                  </a:lnTo>
                  <a:lnTo>
                    <a:pt x="7571" y="207"/>
                  </a:lnTo>
                  <a:lnTo>
                    <a:pt x="7542" y="232"/>
                  </a:lnTo>
                  <a:lnTo>
                    <a:pt x="7512" y="257"/>
                  </a:lnTo>
                  <a:lnTo>
                    <a:pt x="7486" y="285"/>
                  </a:lnTo>
                  <a:lnTo>
                    <a:pt x="7459" y="313"/>
                  </a:lnTo>
                  <a:lnTo>
                    <a:pt x="7435" y="343"/>
                  </a:lnTo>
                  <a:lnTo>
                    <a:pt x="7412" y="374"/>
                  </a:lnTo>
                  <a:lnTo>
                    <a:pt x="7389" y="406"/>
                  </a:lnTo>
                  <a:lnTo>
                    <a:pt x="7369" y="439"/>
                  </a:lnTo>
                  <a:lnTo>
                    <a:pt x="7350" y="475"/>
                  </a:lnTo>
                  <a:lnTo>
                    <a:pt x="7331" y="510"/>
                  </a:lnTo>
                  <a:lnTo>
                    <a:pt x="7315" y="548"/>
                  </a:lnTo>
                  <a:lnTo>
                    <a:pt x="7301" y="586"/>
                  </a:lnTo>
                  <a:lnTo>
                    <a:pt x="7287" y="625"/>
                  </a:lnTo>
                  <a:lnTo>
                    <a:pt x="7276" y="666"/>
                  </a:lnTo>
                  <a:lnTo>
                    <a:pt x="7267" y="709"/>
                  </a:lnTo>
                  <a:lnTo>
                    <a:pt x="6980" y="709"/>
                  </a:lnTo>
                  <a:lnTo>
                    <a:pt x="6980" y="42"/>
                  </a:lnTo>
                  <a:lnTo>
                    <a:pt x="6585" y="42"/>
                  </a:lnTo>
                  <a:close/>
                  <a:moveTo>
                    <a:pt x="7643" y="933"/>
                  </a:moveTo>
                  <a:lnTo>
                    <a:pt x="7644" y="900"/>
                  </a:lnTo>
                  <a:lnTo>
                    <a:pt x="7645" y="866"/>
                  </a:lnTo>
                  <a:lnTo>
                    <a:pt x="7649" y="835"/>
                  </a:lnTo>
                  <a:lnTo>
                    <a:pt x="7653" y="803"/>
                  </a:lnTo>
                  <a:lnTo>
                    <a:pt x="7658" y="773"/>
                  </a:lnTo>
                  <a:lnTo>
                    <a:pt x="7664" y="743"/>
                  </a:lnTo>
                  <a:lnTo>
                    <a:pt x="7672" y="715"/>
                  </a:lnTo>
                  <a:lnTo>
                    <a:pt x="7680" y="686"/>
                  </a:lnTo>
                  <a:lnTo>
                    <a:pt x="7690" y="660"/>
                  </a:lnTo>
                  <a:lnTo>
                    <a:pt x="7700" y="634"/>
                  </a:lnTo>
                  <a:lnTo>
                    <a:pt x="7713" y="610"/>
                  </a:lnTo>
                  <a:lnTo>
                    <a:pt x="7726" y="586"/>
                  </a:lnTo>
                  <a:lnTo>
                    <a:pt x="7740" y="563"/>
                  </a:lnTo>
                  <a:lnTo>
                    <a:pt x="7755" y="542"/>
                  </a:lnTo>
                  <a:lnTo>
                    <a:pt x="7772" y="521"/>
                  </a:lnTo>
                  <a:lnTo>
                    <a:pt x="7789" y="501"/>
                  </a:lnTo>
                  <a:lnTo>
                    <a:pt x="7807" y="483"/>
                  </a:lnTo>
                  <a:lnTo>
                    <a:pt x="7828" y="466"/>
                  </a:lnTo>
                  <a:lnTo>
                    <a:pt x="7848" y="449"/>
                  </a:lnTo>
                  <a:lnTo>
                    <a:pt x="7870" y="434"/>
                  </a:lnTo>
                  <a:lnTo>
                    <a:pt x="7893" y="420"/>
                  </a:lnTo>
                  <a:lnTo>
                    <a:pt x="7917" y="408"/>
                  </a:lnTo>
                  <a:lnTo>
                    <a:pt x="7942" y="396"/>
                  </a:lnTo>
                  <a:lnTo>
                    <a:pt x="7968" y="385"/>
                  </a:lnTo>
                  <a:lnTo>
                    <a:pt x="7995" y="375"/>
                  </a:lnTo>
                  <a:lnTo>
                    <a:pt x="8024" y="367"/>
                  </a:lnTo>
                  <a:lnTo>
                    <a:pt x="8053" y="361"/>
                  </a:lnTo>
                  <a:lnTo>
                    <a:pt x="8084" y="355"/>
                  </a:lnTo>
                  <a:lnTo>
                    <a:pt x="8115" y="351"/>
                  </a:lnTo>
                  <a:lnTo>
                    <a:pt x="8148" y="347"/>
                  </a:lnTo>
                  <a:lnTo>
                    <a:pt x="8182" y="345"/>
                  </a:lnTo>
                  <a:lnTo>
                    <a:pt x="8217" y="345"/>
                  </a:lnTo>
                  <a:lnTo>
                    <a:pt x="8252" y="345"/>
                  </a:lnTo>
                  <a:lnTo>
                    <a:pt x="8285" y="347"/>
                  </a:lnTo>
                  <a:lnTo>
                    <a:pt x="8318" y="351"/>
                  </a:lnTo>
                  <a:lnTo>
                    <a:pt x="8349" y="355"/>
                  </a:lnTo>
                  <a:lnTo>
                    <a:pt x="8380" y="361"/>
                  </a:lnTo>
                  <a:lnTo>
                    <a:pt x="8409" y="367"/>
                  </a:lnTo>
                  <a:lnTo>
                    <a:pt x="8438" y="375"/>
                  </a:lnTo>
                  <a:lnTo>
                    <a:pt x="8465" y="385"/>
                  </a:lnTo>
                  <a:lnTo>
                    <a:pt x="8492" y="396"/>
                  </a:lnTo>
                  <a:lnTo>
                    <a:pt x="8517" y="408"/>
                  </a:lnTo>
                  <a:lnTo>
                    <a:pt x="8540" y="420"/>
                  </a:lnTo>
                  <a:lnTo>
                    <a:pt x="8564" y="434"/>
                  </a:lnTo>
                  <a:lnTo>
                    <a:pt x="8585" y="449"/>
                  </a:lnTo>
                  <a:lnTo>
                    <a:pt x="8607" y="466"/>
                  </a:lnTo>
                  <a:lnTo>
                    <a:pt x="8626" y="483"/>
                  </a:lnTo>
                  <a:lnTo>
                    <a:pt x="8644" y="501"/>
                  </a:lnTo>
                  <a:lnTo>
                    <a:pt x="8662" y="521"/>
                  </a:lnTo>
                  <a:lnTo>
                    <a:pt x="8679" y="542"/>
                  </a:lnTo>
                  <a:lnTo>
                    <a:pt x="8694" y="563"/>
                  </a:lnTo>
                  <a:lnTo>
                    <a:pt x="8708" y="586"/>
                  </a:lnTo>
                  <a:lnTo>
                    <a:pt x="8720" y="610"/>
                  </a:lnTo>
                  <a:lnTo>
                    <a:pt x="8733" y="634"/>
                  </a:lnTo>
                  <a:lnTo>
                    <a:pt x="8744" y="660"/>
                  </a:lnTo>
                  <a:lnTo>
                    <a:pt x="8753" y="686"/>
                  </a:lnTo>
                  <a:lnTo>
                    <a:pt x="8762" y="715"/>
                  </a:lnTo>
                  <a:lnTo>
                    <a:pt x="8769" y="743"/>
                  </a:lnTo>
                  <a:lnTo>
                    <a:pt x="8775" y="773"/>
                  </a:lnTo>
                  <a:lnTo>
                    <a:pt x="8780" y="803"/>
                  </a:lnTo>
                  <a:lnTo>
                    <a:pt x="8785" y="835"/>
                  </a:lnTo>
                  <a:lnTo>
                    <a:pt x="8788" y="866"/>
                  </a:lnTo>
                  <a:lnTo>
                    <a:pt x="8790" y="900"/>
                  </a:lnTo>
                  <a:lnTo>
                    <a:pt x="8790" y="933"/>
                  </a:lnTo>
                  <a:lnTo>
                    <a:pt x="8790" y="968"/>
                  </a:lnTo>
                  <a:lnTo>
                    <a:pt x="8788" y="1001"/>
                  </a:lnTo>
                  <a:lnTo>
                    <a:pt x="8785" y="1033"/>
                  </a:lnTo>
                  <a:lnTo>
                    <a:pt x="8780" y="1065"/>
                  </a:lnTo>
                  <a:lnTo>
                    <a:pt x="8775" y="1095"/>
                  </a:lnTo>
                  <a:lnTo>
                    <a:pt x="8769" y="1125"/>
                  </a:lnTo>
                  <a:lnTo>
                    <a:pt x="8762" y="1153"/>
                  </a:lnTo>
                  <a:lnTo>
                    <a:pt x="8753" y="1181"/>
                  </a:lnTo>
                  <a:lnTo>
                    <a:pt x="8744" y="1207"/>
                  </a:lnTo>
                  <a:lnTo>
                    <a:pt x="8733" y="1233"/>
                  </a:lnTo>
                  <a:lnTo>
                    <a:pt x="8720" y="1258"/>
                  </a:lnTo>
                  <a:lnTo>
                    <a:pt x="8708" y="1281"/>
                  </a:lnTo>
                  <a:lnTo>
                    <a:pt x="8694" y="1305"/>
                  </a:lnTo>
                  <a:lnTo>
                    <a:pt x="8679" y="1326"/>
                  </a:lnTo>
                  <a:lnTo>
                    <a:pt x="8662" y="1346"/>
                  </a:lnTo>
                  <a:lnTo>
                    <a:pt x="8644" y="1366"/>
                  </a:lnTo>
                  <a:lnTo>
                    <a:pt x="8626" y="1385"/>
                  </a:lnTo>
                  <a:lnTo>
                    <a:pt x="8607" y="1402"/>
                  </a:lnTo>
                  <a:lnTo>
                    <a:pt x="8585" y="1418"/>
                  </a:lnTo>
                  <a:lnTo>
                    <a:pt x="8564" y="1434"/>
                  </a:lnTo>
                  <a:lnTo>
                    <a:pt x="8540" y="1447"/>
                  </a:lnTo>
                  <a:lnTo>
                    <a:pt x="8517" y="1460"/>
                  </a:lnTo>
                  <a:lnTo>
                    <a:pt x="8492" y="1472"/>
                  </a:lnTo>
                  <a:lnTo>
                    <a:pt x="8465" y="1483"/>
                  </a:lnTo>
                  <a:lnTo>
                    <a:pt x="8438" y="1492"/>
                  </a:lnTo>
                  <a:lnTo>
                    <a:pt x="8409" y="1500"/>
                  </a:lnTo>
                  <a:lnTo>
                    <a:pt x="8380" y="1507"/>
                  </a:lnTo>
                  <a:lnTo>
                    <a:pt x="8349" y="1513"/>
                  </a:lnTo>
                  <a:lnTo>
                    <a:pt x="8318" y="1517"/>
                  </a:lnTo>
                  <a:lnTo>
                    <a:pt x="8285" y="1520"/>
                  </a:lnTo>
                  <a:lnTo>
                    <a:pt x="8252" y="1522"/>
                  </a:lnTo>
                  <a:lnTo>
                    <a:pt x="8217" y="1523"/>
                  </a:lnTo>
                  <a:lnTo>
                    <a:pt x="8182" y="1522"/>
                  </a:lnTo>
                  <a:lnTo>
                    <a:pt x="8148" y="1520"/>
                  </a:lnTo>
                  <a:lnTo>
                    <a:pt x="8115" y="1517"/>
                  </a:lnTo>
                  <a:lnTo>
                    <a:pt x="8084" y="1513"/>
                  </a:lnTo>
                  <a:lnTo>
                    <a:pt x="8053" y="1507"/>
                  </a:lnTo>
                  <a:lnTo>
                    <a:pt x="8024" y="1500"/>
                  </a:lnTo>
                  <a:lnTo>
                    <a:pt x="7995" y="1492"/>
                  </a:lnTo>
                  <a:lnTo>
                    <a:pt x="7968" y="1483"/>
                  </a:lnTo>
                  <a:lnTo>
                    <a:pt x="7942" y="1472"/>
                  </a:lnTo>
                  <a:lnTo>
                    <a:pt x="7917" y="1460"/>
                  </a:lnTo>
                  <a:lnTo>
                    <a:pt x="7893" y="1447"/>
                  </a:lnTo>
                  <a:lnTo>
                    <a:pt x="7870" y="1434"/>
                  </a:lnTo>
                  <a:lnTo>
                    <a:pt x="7848" y="1418"/>
                  </a:lnTo>
                  <a:lnTo>
                    <a:pt x="7828" y="1402"/>
                  </a:lnTo>
                  <a:lnTo>
                    <a:pt x="7807" y="1385"/>
                  </a:lnTo>
                  <a:lnTo>
                    <a:pt x="7789" y="1366"/>
                  </a:lnTo>
                  <a:lnTo>
                    <a:pt x="7772" y="1346"/>
                  </a:lnTo>
                  <a:lnTo>
                    <a:pt x="7755" y="1326"/>
                  </a:lnTo>
                  <a:lnTo>
                    <a:pt x="7740" y="1305"/>
                  </a:lnTo>
                  <a:lnTo>
                    <a:pt x="7726" y="1281"/>
                  </a:lnTo>
                  <a:lnTo>
                    <a:pt x="7713" y="1258"/>
                  </a:lnTo>
                  <a:lnTo>
                    <a:pt x="7700" y="1233"/>
                  </a:lnTo>
                  <a:lnTo>
                    <a:pt x="7690" y="1207"/>
                  </a:lnTo>
                  <a:lnTo>
                    <a:pt x="7680" y="1181"/>
                  </a:lnTo>
                  <a:lnTo>
                    <a:pt x="7672" y="1153"/>
                  </a:lnTo>
                  <a:lnTo>
                    <a:pt x="7664" y="1125"/>
                  </a:lnTo>
                  <a:lnTo>
                    <a:pt x="7658" y="1095"/>
                  </a:lnTo>
                  <a:lnTo>
                    <a:pt x="7653" y="1065"/>
                  </a:lnTo>
                  <a:lnTo>
                    <a:pt x="7649" y="1033"/>
                  </a:lnTo>
                  <a:lnTo>
                    <a:pt x="7645" y="1001"/>
                  </a:lnTo>
                  <a:lnTo>
                    <a:pt x="7644" y="968"/>
                  </a:lnTo>
                  <a:lnTo>
                    <a:pt x="7643" y="933"/>
                  </a:lnTo>
                  <a:close/>
                  <a:moveTo>
                    <a:pt x="11327" y="477"/>
                  </a:moveTo>
                  <a:lnTo>
                    <a:pt x="11310" y="447"/>
                  </a:lnTo>
                  <a:lnTo>
                    <a:pt x="11291" y="420"/>
                  </a:lnTo>
                  <a:lnTo>
                    <a:pt x="11272" y="392"/>
                  </a:lnTo>
                  <a:lnTo>
                    <a:pt x="11253" y="366"/>
                  </a:lnTo>
                  <a:lnTo>
                    <a:pt x="11232" y="341"/>
                  </a:lnTo>
                  <a:lnTo>
                    <a:pt x="11211" y="316"/>
                  </a:lnTo>
                  <a:lnTo>
                    <a:pt x="11190" y="293"/>
                  </a:lnTo>
                  <a:lnTo>
                    <a:pt x="11167" y="270"/>
                  </a:lnTo>
                  <a:lnTo>
                    <a:pt x="11144" y="248"/>
                  </a:lnTo>
                  <a:lnTo>
                    <a:pt x="11121" y="228"/>
                  </a:lnTo>
                  <a:lnTo>
                    <a:pt x="11096" y="207"/>
                  </a:lnTo>
                  <a:lnTo>
                    <a:pt x="11071" y="188"/>
                  </a:lnTo>
                  <a:lnTo>
                    <a:pt x="11045" y="171"/>
                  </a:lnTo>
                  <a:lnTo>
                    <a:pt x="11018" y="154"/>
                  </a:lnTo>
                  <a:lnTo>
                    <a:pt x="10991" y="136"/>
                  </a:lnTo>
                  <a:lnTo>
                    <a:pt x="10963" y="121"/>
                  </a:lnTo>
                  <a:lnTo>
                    <a:pt x="10934" y="107"/>
                  </a:lnTo>
                  <a:lnTo>
                    <a:pt x="10905" y="93"/>
                  </a:lnTo>
                  <a:lnTo>
                    <a:pt x="10875" y="80"/>
                  </a:lnTo>
                  <a:lnTo>
                    <a:pt x="10845" y="68"/>
                  </a:lnTo>
                  <a:lnTo>
                    <a:pt x="10813" y="58"/>
                  </a:lnTo>
                  <a:lnTo>
                    <a:pt x="10782" y="48"/>
                  </a:lnTo>
                  <a:lnTo>
                    <a:pt x="10749" y="39"/>
                  </a:lnTo>
                  <a:lnTo>
                    <a:pt x="10716" y="30"/>
                  </a:lnTo>
                  <a:lnTo>
                    <a:pt x="10682" y="23"/>
                  </a:lnTo>
                  <a:lnTo>
                    <a:pt x="10648" y="17"/>
                  </a:lnTo>
                  <a:lnTo>
                    <a:pt x="10612" y="12"/>
                  </a:lnTo>
                  <a:lnTo>
                    <a:pt x="10576" y="8"/>
                  </a:lnTo>
                  <a:lnTo>
                    <a:pt x="10540" y="4"/>
                  </a:lnTo>
                  <a:lnTo>
                    <a:pt x="10502" y="2"/>
                  </a:lnTo>
                  <a:lnTo>
                    <a:pt x="10465" y="1"/>
                  </a:lnTo>
                  <a:lnTo>
                    <a:pt x="10426" y="0"/>
                  </a:lnTo>
                  <a:lnTo>
                    <a:pt x="10373" y="1"/>
                  </a:lnTo>
                  <a:lnTo>
                    <a:pt x="10322" y="4"/>
                  </a:lnTo>
                  <a:lnTo>
                    <a:pt x="10271" y="9"/>
                  </a:lnTo>
                  <a:lnTo>
                    <a:pt x="10222" y="16"/>
                  </a:lnTo>
                  <a:lnTo>
                    <a:pt x="10174" y="25"/>
                  </a:lnTo>
                  <a:lnTo>
                    <a:pt x="10126" y="37"/>
                  </a:lnTo>
                  <a:lnTo>
                    <a:pt x="10079" y="50"/>
                  </a:lnTo>
                  <a:lnTo>
                    <a:pt x="10033" y="65"/>
                  </a:lnTo>
                  <a:lnTo>
                    <a:pt x="9990" y="81"/>
                  </a:lnTo>
                  <a:lnTo>
                    <a:pt x="9947" y="101"/>
                  </a:lnTo>
                  <a:lnTo>
                    <a:pt x="9905" y="121"/>
                  </a:lnTo>
                  <a:lnTo>
                    <a:pt x="9865" y="143"/>
                  </a:lnTo>
                  <a:lnTo>
                    <a:pt x="9826" y="168"/>
                  </a:lnTo>
                  <a:lnTo>
                    <a:pt x="9788" y="194"/>
                  </a:lnTo>
                  <a:lnTo>
                    <a:pt x="9753" y="222"/>
                  </a:lnTo>
                  <a:lnTo>
                    <a:pt x="9718" y="251"/>
                  </a:lnTo>
                  <a:lnTo>
                    <a:pt x="9686" y="282"/>
                  </a:lnTo>
                  <a:lnTo>
                    <a:pt x="9654" y="314"/>
                  </a:lnTo>
                  <a:lnTo>
                    <a:pt x="9626" y="349"/>
                  </a:lnTo>
                  <a:lnTo>
                    <a:pt x="9598" y="385"/>
                  </a:lnTo>
                  <a:lnTo>
                    <a:pt x="9572" y="423"/>
                  </a:lnTo>
                  <a:lnTo>
                    <a:pt x="9548" y="462"/>
                  </a:lnTo>
                  <a:lnTo>
                    <a:pt x="9527" y="502"/>
                  </a:lnTo>
                  <a:lnTo>
                    <a:pt x="9508" y="545"/>
                  </a:lnTo>
                  <a:lnTo>
                    <a:pt x="9489" y="589"/>
                  </a:lnTo>
                  <a:lnTo>
                    <a:pt x="9474" y="633"/>
                  </a:lnTo>
                  <a:lnTo>
                    <a:pt x="9461" y="680"/>
                  </a:lnTo>
                  <a:lnTo>
                    <a:pt x="9451" y="728"/>
                  </a:lnTo>
                  <a:lnTo>
                    <a:pt x="9441" y="778"/>
                  </a:lnTo>
                  <a:lnTo>
                    <a:pt x="9435" y="829"/>
                  </a:lnTo>
                  <a:lnTo>
                    <a:pt x="9432" y="881"/>
                  </a:lnTo>
                  <a:lnTo>
                    <a:pt x="9430" y="933"/>
                  </a:lnTo>
                  <a:lnTo>
                    <a:pt x="9431" y="987"/>
                  </a:lnTo>
                  <a:lnTo>
                    <a:pt x="9435" y="1039"/>
                  </a:lnTo>
                  <a:lnTo>
                    <a:pt x="9441" y="1090"/>
                  </a:lnTo>
                  <a:lnTo>
                    <a:pt x="9450" y="1139"/>
                  </a:lnTo>
                  <a:lnTo>
                    <a:pt x="9461" y="1188"/>
                  </a:lnTo>
                  <a:lnTo>
                    <a:pt x="9474" y="1234"/>
                  </a:lnTo>
                  <a:lnTo>
                    <a:pt x="9488" y="1279"/>
                  </a:lnTo>
                  <a:lnTo>
                    <a:pt x="9506" y="1323"/>
                  </a:lnTo>
                  <a:lnTo>
                    <a:pt x="9525" y="1365"/>
                  </a:lnTo>
                  <a:lnTo>
                    <a:pt x="9546" y="1405"/>
                  </a:lnTo>
                  <a:lnTo>
                    <a:pt x="9570" y="1445"/>
                  </a:lnTo>
                  <a:lnTo>
                    <a:pt x="9595" y="1483"/>
                  </a:lnTo>
                  <a:lnTo>
                    <a:pt x="9623" y="1518"/>
                  </a:lnTo>
                  <a:lnTo>
                    <a:pt x="9651" y="1553"/>
                  </a:lnTo>
                  <a:lnTo>
                    <a:pt x="9681" y="1585"/>
                  </a:lnTo>
                  <a:lnTo>
                    <a:pt x="9714" y="1617"/>
                  </a:lnTo>
                  <a:lnTo>
                    <a:pt x="9749" y="1646"/>
                  </a:lnTo>
                  <a:lnTo>
                    <a:pt x="9784" y="1674"/>
                  </a:lnTo>
                  <a:lnTo>
                    <a:pt x="9822" y="1700"/>
                  </a:lnTo>
                  <a:lnTo>
                    <a:pt x="9860" y="1724"/>
                  </a:lnTo>
                  <a:lnTo>
                    <a:pt x="9900" y="1746"/>
                  </a:lnTo>
                  <a:lnTo>
                    <a:pt x="9942" y="1767"/>
                  </a:lnTo>
                  <a:lnTo>
                    <a:pt x="9986" y="1786"/>
                  </a:lnTo>
                  <a:lnTo>
                    <a:pt x="10029" y="1803"/>
                  </a:lnTo>
                  <a:lnTo>
                    <a:pt x="10075" y="1818"/>
                  </a:lnTo>
                  <a:lnTo>
                    <a:pt x="10122" y="1830"/>
                  </a:lnTo>
                  <a:lnTo>
                    <a:pt x="10170" y="1841"/>
                  </a:lnTo>
                  <a:lnTo>
                    <a:pt x="10219" y="1851"/>
                  </a:lnTo>
                  <a:lnTo>
                    <a:pt x="10269" y="1858"/>
                  </a:lnTo>
                  <a:lnTo>
                    <a:pt x="10320" y="1863"/>
                  </a:lnTo>
                  <a:lnTo>
                    <a:pt x="10372" y="1867"/>
                  </a:lnTo>
                  <a:lnTo>
                    <a:pt x="10426" y="1868"/>
                  </a:lnTo>
                  <a:lnTo>
                    <a:pt x="10465" y="1867"/>
                  </a:lnTo>
                  <a:lnTo>
                    <a:pt x="10502" y="1866"/>
                  </a:lnTo>
                  <a:lnTo>
                    <a:pt x="10540" y="1863"/>
                  </a:lnTo>
                  <a:lnTo>
                    <a:pt x="10576" y="1860"/>
                  </a:lnTo>
                  <a:lnTo>
                    <a:pt x="10612" y="1856"/>
                  </a:lnTo>
                  <a:lnTo>
                    <a:pt x="10648" y="1851"/>
                  </a:lnTo>
                  <a:lnTo>
                    <a:pt x="10682" y="1845"/>
                  </a:lnTo>
                  <a:lnTo>
                    <a:pt x="10716" y="1837"/>
                  </a:lnTo>
                  <a:lnTo>
                    <a:pt x="10749" y="1829"/>
                  </a:lnTo>
                  <a:lnTo>
                    <a:pt x="10782" y="1820"/>
                  </a:lnTo>
                  <a:lnTo>
                    <a:pt x="10813" y="1810"/>
                  </a:lnTo>
                  <a:lnTo>
                    <a:pt x="10845" y="1799"/>
                  </a:lnTo>
                  <a:lnTo>
                    <a:pt x="10875" y="1788"/>
                  </a:lnTo>
                  <a:lnTo>
                    <a:pt x="10905" y="1774"/>
                  </a:lnTo>
                  <a:lnTo>
                    <a:pt x="10934" y="1761"/>
                  </a:lnTo>
                  <a:lnTo>
                    <a:pt x="10963" y="1746"/>
                  </a:lnTo>
                  <a:lnTo>
                    <a:pt x="10991" y="1731"/>
                  </a:lnTo>
                  <a:lnTo>
                    <a:pt x="11018" y="1714"/>
                  </a:lnTo>
                  <a:lnTo>
                    <a:pt x="11045" y="1697"/>
                  </a:lnTo>
                  <a:lnTo>
                    <a:pt x="11071" y="1679"/>
                  </a:lnTo>
                  <a:lnTo>
                    <a:pt x="11096" y="1659"/>
                  </a:lnTo>
                  <a:lnTo>
                    <a:pt x="11121" y="1640"/>
                  </a:lnTo>
                  <a:lnTo>
                    <a:pt x="11144" y="1619"/>
                  </a:lnTo>
                  <a:lnTo>
                    <a:pt x="11167" y="1597"/>
                  </a:lnTo>
                  <a:lnTo>
                    <a:pt x="11190" y="1574"/>
                  </a:lnTo>
                  <a:lnTo>
                    <a:pt x="11211" y="1551"/>
                  </a:lnTo>
                  <a:lnTo>
                    <a:pt x="11232" y="1526"/>
                  </a:lnTo>
                  <a:lnTo>
                    <a:pt x="11253" y="1501"/>
                  </a:lnTo>
                  <a:lnTo>
                    <a:pt x="11272" y="1474"/>
                  </a:lnTo>
                  <a:lnTo>
                    <a:pt x="11291" y="1448"/>
                  </a:lnTo>
                  <a:lnTo>
                    <a:pt x="11310" y="1419"/>
                  </a:lnTo>
                  <a:lnTo>
                    <a:pt x="11327" y="1391"/>
                  </a:lnTo>
                  <a:lnTo>
                    <a:pt x="11015" y="1211"/>
                  </a:lnTo>
                  <a:lnTo>
                    <a:pt x="11002" y="1228"/>
                  </a:lnTo>
                  <a:lnTo>
                    <a:pt x="10988" y="1246"/>
                  </a:lnTo>
                  <a:lnTo>
                    <a:pt x="10975" y="1263"/>
                  </a:lnTo>
                  <a:lnTo>
                    <a:pt x="10962" y="1279"/>
                  </a:lnTo>
                  <a:lnTo>
                    <a:pt x="10948" y="1294"/>
                  </a:lnTo>
                  <a:lnTo>
                    <a:pt x="10933" y="1310"/>
                  </a:lnTo>
                  <a:lnTo>
                    <a:pt x="10919" y="1325"/>
                  </a:lnTo>
                  <a:lnTo>
                    <a:pt x="10904" y="1339"/>
                  </a:lnTo>
                  <a:lnTo>
                    <a:pt x="10890" y="1352"/>
                  </a:lnTo>
                  <a:lnTo>
                    <a:pt x="10873" y="1366"/>
                  </a:lnTo>
                  <a:lnTo>
                    <a:pt x="10858" y="1378"/>
                  </a:lnTo>
                  <a:lnTo>
                    <a:pt x="10842" y="1390"/>
                  </a:lnTo>
                  <a:lnTo>
                    <a:pt x="10825" y="1402"/>
                  </a:lnTo>
                  <a:lnTo>
                    <a:pt x="10807" y="1412"/>
                  </a:lnTo>
                  <a:lnTo>
                    <a:pt x="10790" y="1423"/>
                  </a:lnTo>
                  <a:lnTo>
                    <a:pt x="10773" y="1433"/>
                  </a:lnTo>
                  <a:lnTo>
                    <a:pt x="10754" y="1442"/>
                  </a:lnTo>
                  <a:lnTo>
                    <a:pt x="10735" y="1451"/>
                  </a:lnTo>
                  <a:lnTo>
                    <a:pt x="10716" y="1459"/>
                  </a:lnTo>
                  <a:lnTo>
                    <a:pt x="10696" y="1466"/>
                  </a:lnTo>
                  <a:lnTo>
                    <a:pt x="10676" y="1473"/>
                  </a:lnTo>
                  <a:lnTo>
                    <a:pt x="10656" y="1479"/>
                  </a:lnTo>
                  <a:lnTo>
                    <a:pt x="10634" y="1486"/>
                  </a:lnTo>
                  <a:lnTo>
                    <a:pt x="10613" y="1491"/>
                  </a:lnTo>
                  <a:lnTo>
                    <a:pt x="10591" y="1495"/>
                  </a:lnTo>
                  <a:lnTo>
                    <a:pt x="10567" y="1499"/>
                  </a:lnTo>
                  <a:lnTo>
                    <a:pt x="10544" y="1502"/>
                  </a:lnTo>
                  <a:lnTo>
                    <a:pt x="10521" y="1505"/>
                  </a:lnTo>
                  <a:lnTo>
                    <a:pt x="10496" y="1507"/>
                  </a:lnTo>
                  <a:lnTo>
                    <a:pt x="10471" y="1509"/>
                  </a:lnTo>
                  <a:lnTo>
                    <a:pt x="10445" y="1510"/>
                  </a:lnTo>
                  <a:lnTo>
                    <a:pt x="10419" y="1510"/>
                  </a:lnTo>
                  <a:lnTo>
                    <a:pt x="10386" y="1509"/>
                  </a:lnTo>
                  <a:lnTo>
                    <a:pt x="10355" y="1507"/>
                  </a:lnTo>
                  <a:lnTo>
                    <a:pt x="10324" y="1504"/>
                  </a:lnTo>
                  <a:lnTo>
                    <a:pt x="10294" y="1500"/>
                  </a:lnTo>
                  <a:lnTo>
                    <a:pt x="10264" y="1494"/>
                  </a:lnTo>
                  <a:lnTo>
                    <a:pt x="10236" y="1487"/>
                  </a:lnTo>
                  <a:lnTo>
                    <a:pt x="10207" y="1478"/>
                  </a:lnTo>
                  <a:lnTo>
                    <a:pt x="10180" y="1468"/>
                  </a:lnTo>
                  <a:lnTo>
                    <a:pt x="10153" y="1458"/>
                  </a:lnTo>
                  <a:lnTo>
                    <a:pt x="10128" y="1446"/>
                  </a:lnTo>
                  <a:lnTo>
                    <a:pt x="10104" y="1433"/>
                  </a:lnTo>
                  <a:lnTo>
                    <a:pt x="10080" y="1418"/>
                  </a:lnTo>
                  <a:lnTo>
                    <a:pt x="10057" y="1403"/>
                  </a:lnTo>
                  <a:lnTo>
                    <a:pt x="10035" y="1387"/>
                  </a:lnTo>
                  <a:lnTo>
                    <a:pt x="10014" y="1370"/>
                  </a:lnTo>
                  <a:lnTo>
                    <a:pt x="9994" y="1351"/>
                  </a:lnTo>
                  <a:lnTo>
                    <a:pt x="9975" y="1332"/>
                  </a:lnTo>
                  <a:lnTo>
                    <a:pt x="9957" y="1312"/>
                  </a:lnTo>
                  <a:lnTo>
                    <a:pt x="9941" y="1289"/>
                  </a:lnTo>
                  <a:lnTo>
                    <a:pt x="9925" y="1268"/>
                  </a:lnTo>
                  <a:lnTo>
                    <a:pt x="9910" y="1245"/>
                  </a:lnTo>
                  <a:lnTo>
                    <a:pt x="9896" y="1220"/>
                  </a:lnTo>
                  <a:lnTo>
                    <a:pt x="9884" y="1195"/>
                  </a:lnTo>
                  <a:lnTo>
                    <a:pt x="9873" y="1169"/>
                  </a:lnTo>
                  <a:lnTo>
                    <a:pt x="9864" y="1143"/>
                  </a:lnTo>
                  <a:lnTo>
                    <a:pt x="9854" y="1114"/>
                  </a:lnTo>
                  <a:lnTo>
                    <a:pt x="9847" y="1087"/>
                  </a:lnTo>
                  <a:lnTo>
                    <a:pt x="9841" y="1057"/>
                  </a:lnTo>
                  <a:lnTo>
                    <a:pt x="9836" y="1028"/>
                  </a:lnTo>
                  <a:lnTo>
                    <a:pt x="9833" y="998"/>
                  </a:lnTo>
                  <a:lnTo>
                    <a:pt x="9831" y="966"/>
                  </a:lnTo>
                  <a:lnTo>
                    <a:pt x="9830" y="933"/>
                  </a:lnTo>
                  <a:lnTo>
                    <a:pt x="9831" y="901"/>
                  </a:lnTo>
                  <a:lnTo>
                    <a:pt x="9833" y="869"/>
                  </a:lnTo>
                  <a:lnTo>
                    <a:pt x="9836" y="839"/>
                  </a:lnTo>
                  <a:lnTo>
                    <a:pt x="9840" y="808"/>
                  </a:lnTo>
                  <a:lnTo>
                    <a:pt x="9846" y="779"/>
                  </a:lnTo>
                  <a:lnTo>
                    <a:pt x="9853" y="750"/>
                  </a:lnTo>
                  <a:lnTo>
                    <a:pt x="9863" y="723"/>
                  </a:lnTo>
                  <a:lnTo>
                    <a:pt x="9872" y="696"/>
                  </a:lnTo>
                  <a:lnTo>
                    <a:pt x="9883" y="670"/>
                  </a:lnTo>
                  <a:lnTo>
                    <a:pt x="9894" y="645"/>
                  </a:lnTo>
                  <a:lnTo>
                    <a:pt x="9907" y="620"/>
                  </a:lnTo>
                  <a:lnTo>
                    <a:pt x="9923" y="597"/>
                  </a:lnTo>
                  <a:lnTo>
                    <a:pt x="9938" y="575"/>
                  </a:lnTo>
                  <a:lnTo>
                    <a:pt x="9954" y="553"/>
                  </a:lnTo>
                  <a:lnTo>
                    <a:pt x="9971" y="533"/>
                  </a:lnTo>
                  <a:lnTo>
                    <a:pt x="9991" y="513"/>
                  </a:lnTo>
                  <a:lnTo>
                    <a:pt x="10010" y="496"/>
                  </a:lnTo>
                  <a:lnTo>
                    <a:pt x="10031" y="479"/>
                  </a:lnTo>
                  <a:lnTo>
                    <a:pt x="10053" y="463"/>
                  </a:lnTo>
                  <a:lnTo>
                    <a:pt x="10075" y="447"/>
                  </a:lnTo>
                  <a:lnTo>
                    <a:pt x="10099" y="433"/>
                  </a:lnTo>
                  <a:lnTo>
                    <a:pt x="10124" y="420"/>
                  </a:lnTo>
                  <a:lnTo>
                    <a:pt x="10149" y="409"/>
                  </a:lnTo>
                  <a:lnTo>
                    <a:pt x="10176" y="399"/>
                  </a:lnTo>
                  <a:lnTo>
                    <a:pt x="10203" y="388"/>
                  </a:lnTo>
                  <a:lnTo>
                    <a:pt x="10232" y="380"/>
                  </a:lnTo>
                  <a:lnTo>
                    <a:pt x="10261" y="373"/>
                  </a:lnTo>
                  <a:lnTo>
                    <a:pt x="10291" y="368"/>
                  </a:lnTo>
                  <a:lnTo>
                    <a:pt x="10322" y="363"/>
                  </a:lnTo>
                  <a:lnTo>
                    <a:pt x="10354" y="360"/>
                  </a:lnTo>
                  <a:lnTo>
                    <a:pt x="10386" y="358"/>
                  </a:lnTo>
                  <a:lnTo>
                    <a:pt x="10419" y="358"/>
                  </a:lnTo>
                  <a:lnTo>
                    <a:pt x="10445" y="358"/>
                  </a:lnTo>
                  <a:lnTo>
                    <a:pt x="10471" y="359"/>
                  </a:lnTo>
                  <a:lnTo>
                    <a:pt x="10496" y="360"/>
                  </a:lnTo>
                  <a:lnTo>
                    <a:pt x="10521" y="362"/>
                  </a:lnTo>
                  <a:lnTo>
                    <a:pt x="10544" y="365"/>
                  </a:lnTo>
                  <a:lnTo>
                    <a:pt x="10567" y="368"/>
                  </a:lnTo>
                  <a:lnTo>
                    <a:pt x="10591" y="372"/>
                  </a:lnTo>
                  <a:lnTo>
                    <a:pt x="10613" y="377"/>
                  </a:lnTo>
                  <a:lnTo>
                    <a:pt x="10634" y="382"/>
                  </a:lnTo>
                  <a:lnTo>
                    <a:pt x="10656" y="388"/>
                  </a:lnTo>
                  <a:lnTo>
                    <a:pt x="10676" y="395"/>
                  </a:lnTo>
                  <a:lnTo>
                    <a:pt x="10696" y="402"/>
                  </a:lnTo>
                  <a:lnTo>
                    <a:pt x="10716" y="409"/>
                  </a:lnTo>
                  <a:lnTo>
                    <a:pt x="10735" y="417"/>
                  </a:lnTo>
                  <a:lnTo>
                    <a:pt x="10754" y="425"/>
                  </a:lnTo>
                  <a:lnTo>
                    <a:pt x="10773" y="435"/>
                  </a:lnTo>
                  <a:lnTo>
                    <a:pt x="10790" y="444"/>
                  </a:lnTo>
                  <a:lnTo>
                    <a:pt x="10807" y="455"/>
                  </a:lnTo>
                  <a:lnTo>
                    <a:pt x="10825" y="466"/>
                  </a:lnTo>
                  <a:lnTo>
                    <a:pt x="10842" y="477"/>
                  </a:lnTo>
                  <a:lnTo>
                    <a:pt x="10858" y="489"/>
                  </a:lnTo>
                  <a:lnTo>
                    <a:pt x="10873" y="502"/>
                  </a:lnTo>
                  <a:lnTo>
                    <a:pt x="10890" y="515"/>
                  </a:lnTo>
                  <a:lnTo>
                    <a:pt x="10904" y="529"/>
                  </a:lnTo>
                  <a:lnTo>
                    <a:pt x="10919" y="543"/>
                  </a:lnTo>
                  <a:lnTo>
                    <a:pt x="10933" y="557"/>
                  </a:lnTo>
                  <a:lnTo>
                    <a:pt x="10948" y="572"/>
                  </a:lnTo>
                  <a:lnTo>
                    <a:pt x="10962" y="589"/>
                  </a:lnTo>
                  <a:lnTo>
                    <a:pt x="10975" y="605"/>
                  </a:lnTo>
                  <a:lnTo>
                    <a:pt x="10988" y="621"/>
                  </a:lnTo>
                  <a:lnTo>
                    <a:pt x="11002" y="639"/>
                  </a:lnTo>
                  <a:lnTo>
                    <a:pt x="11015" y="657"/>
                  </a:lnTo>
                  <a:lnTo>
                    <a:pt x="11327" y="4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3" name="Freeform 6"/>
            <p:cNvSpPr>
              <a:spLocks noEditPoints="1"/>
            </p:cNvSpPr>
            <p:nvPr userDrawn="1"/>
          </p:nvSpPr>
          <p:spPr bwMode="auto">
            <a:xfrm>
              <a:off x="490538" y="487363"/>
              <a:ext cx="466725" cy="455612"/>
            </a:xfrm>
            <a:custGeom>
              <a:avLst/>
              <a:gdLst>
                <a:gd name="T0" fmla="*/ 1853 w 3532"/>
                <a:gd name="T1" fmla="*/ 1336 h 3444"/>
                <a:gd name="T2" fmla="*/ 1828 w 3532"/>
                <a:gd name="T3" fmla="*/ 1351 h 3444"/>
                <a:gd name="T4" fmla="*/ 1795 w 3532"/>
                <a:gd name="T5" fmla="*/ 1349 h 3444"/>
                <a:gd name="T6" fmla="*/ 1104 w 3532"/>
                <a:gd name="T7" fmla="*/ 1069 h 3444"/>
                <a:gd name="T8" fmla="*/ 1071 w 3532"/>
                <a:gd name="T9" fmla="*/ 1010 h 3444"/>
                <a:gd name="T10" fmla="*/ 1204 w 3532"/>
                <a:gd name="T11" fmla="*/ 141 h 3444"/>
                <a:gd name="T12" fmla="*/ 1231 w 3532"/>
                <a:gd name="T13" fmla="*/ 77 h 3444"/>
                <a:gd name="T14" fmla="*/ 1287 w 3532"/>
                <a:gd name="T15" fmla="*/ 37 h 3444"/>
                <a:gd name="T16" fmla="*/ 2026 w 3532"/>
                <a:gd name="T17" fmla="*/ 0 h 3444"/>
                <a:gd name="T18" fmla="*/ 2055 w 3532"/>
                <a:gd name="T19" fmla="*/ 11 h 3444"/>
                <a:gd name="T20" fmla="*/ 2072 w 3532"/>
                <a:gd name="T21" fmla="*/ 37 h 3444"/>
                <a:gd name="T22" fmla="*/ 1399 w 3532"/>
                <a:gd name="T23" fmla="*/ 1554 h 3444"/>
                <a:gd name="T24" fmla="*/ 1417 w 3532"/>
                <a:gd name="T25" fmla="*/ 1578 h 3444"/>
                <a:gd name="T26" fmla="*/ 1414 w 3532"/>
                <a:gd name="T27" fmla="*/ 1610 h 3444"/>
                <a:gd name="T28" fmla="*/ 958 w 3532"/>
                <a:gd name="T29" fmla="*/ 2172 h 3444"/>
                <a:gd name="T30" fmla="*/ 893 w 3532"/>
                <a:gd name="T31" fmla="*/ 2208 h 3444"/>
                <a:gd name="T32" fmla="*/ 826 w 3532"/>
                <a:gd name="T33" fmla="*/ 2201 h 3444"/>
                <a:gd name="T34" fmla="*/ 45 w 3532"/>
                <a:gd name="T35" fmla="*/ 1796 h 3444"/>
                <a:gd name="T36" fmla="*/ 6 w 3532"/>
                <a:gd name="T37" fmla="*/ 1741 h 3444"/>
                <a:gd name="T38" fmla="*/ 4 w 3532"/>
                <a:gd name="T39" fmla="*/ 1664 h 3444"/>
                <a:gd name="T40" fmla="*/ 200 w 3532"/>
                <a:gd name="T41" fmla="*/ 976 h 3444"/>
                <a:gd name="T42" fmla="*/ 226 w 3532"/>
                <a:gd name="T43" fmla="*/ 959 h 3444"/>
                <a:gd name="T44" fmla="*/ 255 w 3532"/>
                <a:gd name="T45" fmla="*/ 963 h 3444"/>
                <a:gd name="T46" fmla="*/ 1491 w 3532"/>
                <a:gd name="T47" fmla="*/ 2055 h 3444"/>
                <a:gd name="T48" fmla="*/ 1521 w 3532"/>
                <a:gd name="T49" fmla="*/ 2057 h 3444"/>
                <a:gd name="T50" fmla="*/ 1546 w 3532"/>
                <a:gd name="T51" fmla="*/ 2077 h 3444"/>
                <a:gd name="T52" fmla="*/ 1940 w 3532"/>
                <a:gd name="T53" fmla="*/ 2711 h 3444"/>
                <a:gd name="T54" fmla="*/ 1933 w 3532"/>
                <a:gd name="T55" fmla="*/ 2779 h 3444"/>
                <a:gd name="T56" fmla="*/ 1315 w 3532"/>
                <a:gd name="T57" fmla="*/ 3402 h 3444"/>
                <a:gd name="T58" fmla="*/ 1256 w 3532"/>
                <a:gd name="T59" fmla="*/ 3439 h 3444"/>
                <a:gd name="T60" fmla="*/ 1187 w 3532"/>
                <a:gd name="T61" fmla="*/ 3439 h 3444"/>
                <a:gd name="T62" fmla="*/ 567 w 3532"/>
                <a:gd name="T63" fmla="*/ 3035 h 3444"/>
                <a:gd name="T64" fmla="*/ 549 w 3532"/>
                <a:gd name="T65" fmla="*/ 3009 h 3444"/>
                <a:gd name="T66" fmla="*/ 551 w 3532"/>
                <a:gd name="T67" fmla="*/ 2978 h 3444"/>
                <a:gd name="T68" fmla="*/ 1987 w 3532"/>
                <a:gd name="T69" fmla="*/ 2144 h 3444"/>
                <a:gd name="T70" fmla="*/ 1988 w 3532"/>
                <a:gd name="T71" fmla="*/ 2114 h 3444"/>
                <a:gd name="T72" fmla="*/ 2009 w 3532"/>
                <a:gd name="T73" fmla="*/ 2091 h 3444"/>
                <a:gd name="T74" fmla="*/ 2707 w 3532"/>
                <a:gd name="T75" fmla="*/ 1899 h 3444"/>
                <a:gd name="T76" fmla="*/ 2780 w 3532"/>
                <a:gd name="T77" fmla="*/ 1910 h 3444"/>
                <a:gd name="T78" fmla="*/ 2832 w 3532"/>
                <a:gd name="T79" fmla="*/ 1953 h 3444"/>
                <a:gd name="T80" fmla="*/ 3229 w 3532"/>
                <a:gd name="T81" fmla="*/ 2739 h 3444"/>
                <a:gd name="T82" fmla="*/ 3227 w 3532"/>
                <a:gd name="T83" fmla="*/ 2806 h 3444"/>
                <a:gd name="T84" fmla="*/ 3184 w 3532"/>
                <a:gd name="T85" fmla="*/ 2871 h 3444"/>
                <a:gd name="T86" fmla="*/ 2624 w 3532"/>
                <a:gd name="T87" fmla="*/ 3314 h 3444"/>
                <a:gd name="T88" fmla="*/ 2593 w 3532"/>
                <a:gd name="T89" fmla="*/ 3313 h 3444"/>
                <a:gd name="T90" fmla="*/ 2570 w 3532"/>
                <a:gd name="T91" fmla="*/ 3292 h 3444"/>
                <a:gd name="T92" fmla="*/ 2206 w 3532"/>
                <a:gd name="T93" fmla="*/ 1686 h 3444"/>
                <a:gd name="T94" fmla="*/ 2183 w 3532"/>
                <a:gd name="T95" fmla="*/ 1667 h 3444"/>
                <a:gd name="T96" fmla="*/ 2176 w 3532"/>
                <a:gd name="T97" fmla="*/ 1635 h 3444"/>
                <a:gd name="T98" fmla="*/ 2229 w 3532"/>
                <a:gd name="T99" fmla="*/ 892 h 3444"/>
                <a:gd name="T100" fmla="*/ 2275 w 3532"/>
                <a:gd name="T101" fmla="*/ 841 h 3444"/>
                <a:gd name="T102" fmla="*/ 3142 w 3532"/>
                <a:gd name="T103" fmla="*/ 700 h 3444"/>
                <a:gd name="T104" fmla="*/ 3211 w 3532"/>
                <a:gd name="T105" fmla="*/ 706 h 3444"/>
                <a:gd name="T106" fmla="*/ 3268 w 3532"/>
                <a:gd name="T107" fmla="*/ 746 h 3444"/>
                <a:gd name="T108" fmla="*/ 3530 w 3532"/>
                <a:gd name="T109" fmla="*/ 1438 h 3444"/>
                <a:gd name="T110" fmla="*/ 3529 w 3532"/>
                <a:gd name="T111" fmla="*/ 1469 h 3444"/>
                <a:gd name="T112" fmla="*/ 3510 w 3532"/>
                <a:gd name="T113" fmla="*/ 1493 h 3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32" h="3444">
                  <a:moveTo>
                    <a:pt x="2072" y="52"/>
                  </a:moveTo>
                  <a:lnTo>
                    <a:pt x="1861" y="1317"/>
                  </a:lnTo>
                  <a:lnTo>
                    <a:pt x="1860" y="1322"/>
                  </a:lnTo>
                  <a:lnTo>
                    <a:pt x="1858" y="1327"/>
                  </a:lnTo>
                  <a:lnTo>
                    <a:pt x="1856" y="1332"/>
                  </a:lnTo>
                  <a:lnTo>
                    <a:pt x="1853" y="1336"/>
                  </a:lnTo>
                  <a:lnTo>
                    <a:pt x="1849" y="1340"/>
                  </a:lnTo>
                  <a:lnTo>
                    <a:pt x="1846" y="1343"/>
                  </a:lnTo>
                  <a:lnTo>
                    <a:pt x="1842" y="1346"/>
                  </a:lnTo>
                  <a:lnTo>
                    <a:pt x="1837" y="1348"/>
                  </a:lnTo>
                  <a:lnTo>
                    <a:pt x="1833" y="1350"/>
                  </a:lnTo>
                  <a:lnTo>
                    <a:pt x="1828" y="1351"/>
                  </a:lnTo>
                  <a:lnTo>
                    <a:pt x="1822" y="1352"/>
                  </a:lnTo>
                  <a:lnTo>
                    <a:pt x="1817" y="1353"/>
                  </a:lnTo>
                  <a:lnTo>
                    <a:pt x="1811" y="1352"/>
                  </a:lnTo>
                  <a:lnTo>
                    <a:pt x="1806" y="1352"/>
                  </a:lnTo>
                  <a:lnTo>
                    <a:pt x="1801" y="1351"/>
                  </a:lnTo>
                  <a:lnTo>
                    <a:pt x="1795" y="1349"/>
                  </a:lnTo>
                  <a:lnTo>
                    <a:pt x="1163" y="1105"/>
                  </a:lnTo>
                  <a:lnTo>
                    <a:pt x="1149" y="1099"/>
                  </a:lnTo>
                  <a:lnTo>
                    <a:pt x="1136" y="1092"/>
                  </a:lnTo>
                  <a:lnTo>
                    <a:pt x="1125" y="1085"/>
                  </a:lnTo>
                  <a:lnTo>
                    <a:pt x="1114" y="1077"/>
                  </a:lnTo>
                  <a:lnTo>
                    <a:pt x="1104" y="1069"/>
                  </a:lnTo>
                  <a:lnTo>
                    <a:pt x="1096" y="1060"/>
                  </a:lnTo>
                  <a:lnTo>
                    <a:pt x="1089" y="1050"/>
                  </a:lnTo>
                  <a:lnTo>
                    <a:pt x="1083" y="1041"/>
                  </a:lnTo>
                  <a:lnTo>
                    <a:pt x="1078" y="1031"/>
                  </a:lnTo>
                  <a:lnTo>
                    <a:pt x="1074" y="1020"/>
                  </a:lnTo>
                  <a:lnTo>
                    <a:pt x="1071" y="1010"/>
                  </a:lnTo>
                  <a:lnTo>
                    <a:pt x="1068" y="999"/>
                  </a:lnTo>
                  <a:lnTo>
                    <a:pt x="1067" y="986"/>
                  </a:lnTo>
                  <a:lnTo>
                    <a:pt x="1067" y="975"/>
                  </a:lnTo>
                  <a:lnTo>
                    <a:pt x="1068" y="963"/>
                  </a:lnTo>
                  <a:lnTo>
                    <a:pt x="1069" y="951"/>
                  </a:lnTo>
                  <a:lnTo>
                    <a:pt x="1204" y="141"/>
                  </a:lnTo>
                  <a:lnTo>
                    <a:pt x="1206" y="130"/>
                  </a:lnTo>
                  <a:lnTo>
                    <a:pt x="1209" y="118"/>
                  </a:lnTo>
                  <a:lnTo>
                    <a:pt x="1213" y="107"/>
                  </a:lnTo>
                  <a:lnTo>
                    <a:pt x="1218" y="97"/>
                  </a:lnTo>
                  <a:lnTo>
                    <a:pt x="1224" y="86"/>
                  </a:lnTo>
                  <a:lnTo>
                    <a:pt x="1231" y="77"/>
                  </a:lnTo>
                  <a:lnTo>
                    <a:pt x="1238" y="69"/>
                  </a:lnTo>
                  <a:lnTo>
                    <a:pt x="1246" y="61"/>
                  </a:lnTo>
                  <a:lnTo>
                    <a:pt x="1255" y="54"/>
                  </a:lnTo>
                  <a:lnTo>
                    <a:pt x="1265" y="47"/>
                  </a:lnTo>
                  <a:lnTo>
                    <a:pt x="1275" y="42"/>
                  </a:lnTo>
                  <a:lnTo>
                    <a:pt x="1287" y="37"/>
                  </a:lnTo>
                  <a:lnTo>
                    <a:pt x="1300" y="33"/>
                  </a:lnTo>
                  <a:lnTo>
                    <a:pt x="1313" y="29"/>
                  </a:lnTo>
                  <a:lnTo>
                    <a:pt x="1327" y="27"/>
                  </a:lnTo>
                  <a:lnTo>
                    <a:pt x="1342" y="26"/>
                  </a:lnTo>
                  <a:lnTo>
                    <a:pt x="2020" y="0"/>
                  </a:lnTo>
                  <a:lnTo>
                    <a:pt x="2026" y="0"/>
                  </a:lnTo>
                  <a:lnTo>
                    <a:pt x="2031" y="1"/>
                  </a:lnTo>
                  <a:lnTo>
                    <a:pt x="2036" y="2"/>
                  </a:lnTo>
                  <a:lnTo>
                    <a:pt x="2042" y="3"/>
                  </a:lnTo>
                  <a:lnTo>
                    <a:pt x="2046" y="5"/>
                  </a:lnTo>
                  <a:lnTo>
                    <a:pt x="2051" y="8"/>
                  </a:lnTo>
                  <a:lnTo>
                    <a:pt x="2055" y="11"/>
                  </a:lnTo>
                  <a:lnTo>
                    <a:pt x="2059" y="14"/>
                  </a:lnTo>
                  <a:lnTo>
                    <a:pt x="2062" y="18"/>
                  </a:lnTo>
                  <a:lnTo>
                    <a:pt x="2066" y="22"/>
                  </a:lnTo>
                  <a:lnTo>
                    <a:pt x="2068" y="26"/>
                  </a:lnTo>
                  <a:lnTo>
                    <a:pt x="2070" y="32"/>
                  </a:lnTo>
                  <a:lnTo>
                    <a:pt x="2072" y="37"/>
                  </a:lnTo>
                  <a:lnTo>
                    <a:pt x="2072" y="42"/>
                  </a:lnTo>
                  <a:lnTo>
                    <a:pt x="2073" y="47"/>
                  </a:lnTo>
                  <a:lnTo>
                    <a:pt x="2072" y="52"/>
                  </a:lnTo>
                  <a:close/>
                  <a:moveTo>
                    <a:pt x="255" y="963"/>
                  </a:moveTo>
                  <a:lnTo>
                    <a:pt x="1394" y="1551"/>
                  </a:lnTo>
                  <a:lnTo>
                    <a:pt x="1399" y="1554"/>
                  </a:lnTo>
                  <a:lnTo>
                    <a:pt x="1403" y="1557"/>
                  </a:lnTo>
                  <a:lnTo>
                    <a:pt x="1408" y="1561"/>
                  </a:lnTo>
                  <a:lnTo>
                    <a:pt x="1411" y="1565"/>
                  </a:lnTo>
                  <a:lnTo>
                    <a:pt x="1413" y="1569"/>
                  </a:lnTo>
                  <a:lnTo>
                    <a:pt x="1415" y="1574"/>
                  </a:lnTo>
                  <a:lnTo>
                    <a:pt x="1417" y="1578"/>
                  </a:lnTo>
                  <a:lnTo>
                    <a:pt x="1418" y="1583"/>
                  </a:lnTo>
                  <a:lnTo>
                    <a:pt x="1418" y="1588"/>
                  </a:lnTo>
                  <a:lnTo>
                    <a:pt x="1418" y="1593"/>
                  </a:lnTo>
                  <a:lnTo>
                    <a:pt x="1417" y="1599"/>
                  </a:lnTo>
                  <a:lnTo>
                    <a:pt x="1416" y="1605"/>
                  </a:lnTo>
                  <a:lnTo>
                    <a:pt x="1414" y="1610"/>
                  </a:lnTo>
                  <a:lnTo>
                    <a:pt x="1412" y="1614"/>
                  </a:lnTo>
                  <a:lnTo>
                    <a:pt x="1409" y="1619"/>
                  </a:lnTo>
                  <a:lnTo>
                    <a:pt x="1405" y="1624"/>
                  </a:lnTo>
                  <a:lnTo>
                    <a:pt x="978" y="2151"/>
                  </a:lnTo>
                  <a:lnTo>
                    <a:pt x="969" y="2162"/>
                  </a:lnTo>
                  <a:lnTo>
                    <a:pt x="958" y="2172"/>
                  </a:lnTo>
                  <a:lnTo>
                    <a:pt x="948" y="2181"/>
                  </a:lnTo>
                  <a:lnTo>
                    <a:pt x="938" y="2188"/>
                  </a:lnTo>
                  <a:lnTo>
                    <a:pt x="926" y="2195"/>
                  </a:lnTo>
                  <a:lnTo>
                    <a:pt x="915" y="2200"/>
                  </a:lnTo>
                  <a:lnTo>
                    <a:pt x="904" y="2204"/>
                  </a:lnTo>
                  <a:lnTo>
                    <a:pt x="893" y="2208"/>
                  </a:lnTo>
                  <a:lnTo>
                    <a:pt x="882" y="2209"/>
                  </a:lnTo>
                  <a:lnTo>
                    <a:pt x="871" y="2210"/>
                  </a:lnTo>
                  <a:lnTo>
                    <a:pt x="859" y="2209"/>
                  </a:lnTo>
                  <a:lnTo>
                    <a:pt x="848" y="2208"/>
                  </a:lnTo>
                  <a:lnTo>
                    <a:pt x="837" y="2206"/>
                  </a:lnTo>
                  <a:lnTo>
                    <a:pt x="826" y="2201"/>
                  </a:lnTo>
                  <a:lnTo>
                    <a:pt x="815" y="2197"/>
                  </a:lnTo>
                  <a:lnTo>
                    <a:pt x="803" y="2192"/>
                  </a:lnTo>
                  <a:lnTo>
                    <a:pt x="74" y="1816"/>
                  </a:lnTo>
                  <a:lnTo>
                    <a:pt x="64" y="1810"/>
                  </a:lnTo>
                  <a:lnTo>
                    <a:pt x="54" y="1803"/>
                  </a:lnTo>
                  <a:lnTo>
                    <a:pt x="45" y="1796"/>
                  </a:lnTo>
                  <a:lnTo>
                    <a:pt x="37" y="1789"/>
                  </a:lnTo>
                  <a:lnTo>
                    <a:pt x="28" y="1779"/>
                  </a:lnTo>
                  <a:lnTo>
                    <a:pt x="21" y="1771"/>
                  </a:lnTo>
                  <a:lnTo>
                    <a:pt x="15" y="1761"/>
                  </a:lnTo>
                  <a:lnTo>
                    <a:pt x="10" y="1751"/>
                  </a:lnTo>
                  <a:lnTo>
                    <a:pt x="6" y="1741"/>
                  </a:lnTo>
                  <a:lnTo>
                    <a:pt x="3" y="1729"/>
                  </a:lnTo>
                  <a:lnTo>
                    <a:pt x="1" y="1717"/>
                  </a:lnTo>
                  <a:lnTo>
                    <a:pt x="0" y="1704"/>
                  </a:lnTo>
                  <a:lnTo>
                    <a:pt x="0" y="1691"/>
                  </a:lnTo>
                  <a:lnTo>
                    <a:pt x="1" y="1678"/>
                  </a:lnTo>
                  <a:lnTo>
                    <a:pt x="4" y="1664"/>
                  </a:lnTo>
                  <a:lnTo>
                    <a:pt x="7" y="1648"/>
                  </a:lnTo>
                  <a:lnTo>
                    <a:pt x="190" y="995"/>
                  </a:lnTo>
                  <a:lnTo>
                    <a:pt x="192" y="990"/>
                  </a:lnTo>
                  <a:lnTo>
                    <a:pt x="194" y="985"/>
                  </a:lnTo>
                  <a:lnTo>
                    <a:pt x="197" y="980"/>
                  </a:lnTo>
                  <a:lnTo>
                    <a:pt x="200" y="976"/>
                  </a:lnTo>
                  <a:lnTo>
                    <a:pt x="203" y="972"/>
                  </a:lnTo>
                  <a:lnTo>
                    <a:pt x="207" y="969"/>
                  </a:lnTo>
                  <a:lnTo>
                    <a:pt x="212" y="965"/>
                  </a:lnTo>
                  <a:lnTo>
                    <a:pt x="216" y="963"/>
                  </a:lnTo>
                  <a:lnTo>
                    <a:pt x="221" y="961"/>
                  </a:lnTo>
                  <a:lnTo>
                    <a:pt x="226" y="959"/>
                  </a:lnTo>
                  <a:lnTo>
                    <a:pt x="230" y="958"/>
                  </a:lnTo>
                  <a:lnTo>
                    <a:pt x="235" y="958"/>
                  </a:lnTo>
                  <a:lnTo>
                    <a:pt x="240" y="958"/>
                  </a:lnTo>
                  <a:lnTo>
                    <a:pt x="245" y="959"/>
                  </a:lnTo>
                  <a:lnTo>
                    <a:pt x="250" y="960"/>
                  </a:lnTo>
                  <a:lnTo>
                    <a:pt x="255" y="963"/>
                  </a:lnTo>
                  <a:close/>
                  <a:moveTo>
                    <a:pt x="560" y="2966"/>
                  </a:moveTo>
                  <a:lnTo>
                    <a:pt x="1474" y="2066"/>
                  </a:lnTo>
                  <a:lnTo>
                    <a:pt x="1478" y="2062"/>
                  </a:lnTo>
                  <a:lnTo>
                    <a:pt x="1482" y="2059"/>
                  </a:lnTo>
                  <a:lnTo>
                    <a:pt x="1487" y="2057"/>
                  </a:lnTo>
                  <a:lnTo>
                    <a:pt x="1491" y="2055"/>
                  </a:lnTo>
                  <a:lnTo>
                    <a:pt x="1496" y="2054"/>
                  </a:lnTo>
                  <a:lnTo>
                    <a:pt x="1501" y="2053"/>
                  </a:lnTo>
                  <a:lnTo>
                    <a:pt x="1506" y="2054"/>
                  </a:lnTo>
                  <a:lnTo>
                    <a:pt x="1511" y="2054"/>
                  </a:lnTo>
                  <a:lnTo>
                    <a:pt x="1516" y="2055"/>
                  </a:lnTo>
                  <a:lnTo>
                    <a:pt x="1521" y="2057"/>
                  </a:lnTo>
                  <a:lnTo>
                    <a:pt x="1526" y="2059"/>
                  </a:lnTo>
                  <a:lnTo>
                    <a:pt x="1531" y="2062"/>
                  </a:lnTo>
                  <a:lnTo>
                    <a:pt x="1535" y="2065"/>
                  </a:lnTo>
                  <a:lnTo>
                    <a:pt x="1539" y="2069"/>
                  </a:lnTo>
                  <a:lnTo>
                    <a:pt x="1543" y="2073"/>
                  </a:lnTo>
                  <a:lnTo>
                    <a:pt x="1546" y="2077"/>
                  </a:lnTo>
                  <a:lnTo>
                    <a:pt x="1914" y="2647"/>
                  </a:lnTo>
                  <a:lnTo>
                    <a:pt x="1922" y="2660"/>
                  </a:lnTo>
                  <a:lnTo>
                    <a:pt x="1928" y="2673"/>
                  </a:lnTo>
                  <a:lnTo>
                    <a:pt x="1933" y="2685"/>
                  </a:lnTo>
                  <a:lnTo>
                    <a:pt x="1937" y="2699"/>
                  </a:lnTo>
                  <a:lnTo>
                    <a:pt x="1940" y="2711"/>
                  </a:lnTo>
                  <a:lnTo>
                    <a:pt x="1941" y="2723"/>
                  </a:lnTo>
                  <a:lnTo>
                    <a:pt x="1942" y="2734"/>
                  </a:lnTo>
                  <a:lnTo>
                    <a:pt x="1941" y="2745"/>
                  </a:lnTo>
                  <a:lnTo>
                    <a:pt x="1939" y="2758"/>
                  </a:lnTo>
                  <a:lnTo>
                    <a:pt x="1936" y="2768"/>
                  </a:lnTo>
                  <a:lnTo>
                    <a:pt x="1933" y="2779"/>
                  </a:lnTo>
                  <a:lnTo>
                    <a:pt x="1928" y="2789"/>
                  </a:lnTo>
                  <a:lnTo>
                    <a:pt x="1922" y="2799"/>
                  </a:lnTo>
                  <a:lnTo>
                    <a:pt x="1915" y="2808"/>
                  </a:lnTo>
                  <a:lnTo>
                    <a:pt x="1908" y="2818"/>
                  </a:lnTo>
                  <a:lnTo>
                    <a:pt x="1900" y="2827"/>
                  </a:lnTo>
                  <a:lnTo>
                    <a:pt x="1315" y="3402"/>
                  </a:lnTo>
                  <a:lnTo>
                    <a:pt x="1307" y="3410"/>
                  </a:lnTo>
                  <a:lnTo>
                    <a:pt x="1297" y="3419"/>
                  </a:lnTo>
                  <a:lnTo>
                    <a:pt x="1288" y="3425"/>
                  </a:lnTo>
                  <a:lnTo>
                    <a:pt x="1277" y="3431"/>
                  </a:lnTo>
                  <a:lnTo>
                    <a:pt x="1267" y="3435"/>
                  </a:lnTo>
                  <a:lnTo>
                    <a:pt x="1256" y="3439"/>
                  </a:lnTo>
                  <a:lnTo>
                    <a:pt x="1245" y="3442"/>
                  </a:lnTo>
                  <a:lnTo>
                    <a:pt x="1234" y="3443"/>
                  </a:lnTo>
                  <a:lnTo>
                    <a:pt x="1222" y="3444"/>
                  </a:lnTo>
                  <a:lnTo>
                    <a:pt x="1211" y="3443"/>
                  </a:lnTo>
                  <a:lnTo>
                    <a:pt x="1199" y="3442"/>
                  </a:lnTo>
                  <a:lnTo>
                    <a:pt x="1187" y="3439"/>
                  </a:lnTo>
                  <a:lnTo>
                    <a:pt x="1174" y="3435"/>
                  </a:lnTo>
                  <a:lnTo>
                    <a:pt x="1161" y="3430"/>
                  </a:lnTo>
                  <a:lnTo>
                    <a:pt x="1148" y="3423"/>
                  </a:lnTo>
                  <a:lnTo>
                    <a:pt x="1136" y="3415"/>
                  </a:lnTo>
                  <a:lnTo>
                    <a:pt x="572" y="3038"/>
                  </a:lnTo>
                  <a:lnTo>
                    <a:pt x="567" y="3035"/>
                  </a:lnTo>
                  <a:lnTo>
                    <a:pt x="563" y="3031"/>
                  </a:lnTo>
                  <a:lnTo>
                    <a:pt x="559" y="3027"/>
                  </a:lnTo>
                  <a:lnTo>
                    <a:pt x="556" y="3023"/>
                  </a:lnTo>
                  <a:lnTo>
                    <a:pt x="553" y="3018"/>
                  </a:lnTo>
                  <a:lnTo>
                    <a:pt x="551" y="3014"/>
                  </a:lnTo>
                  <a:lnTo>
                    <a:pt x="549" y="3009"/>
                  </a:lnTo>
                  <a:lnTo>
                    <a:pt x="548" y="3004"/>
                  </a:lnTo>
                  <a:lnTo>
                    <a:pt x="548" y="2999"/>
                  </a:lnTo>
                  <a:lnTo>
                    <a:pt x="548" y="2994"/>
                  </a:lnTo>
                  <a:lnTo>
                    <a:pt x="548" y="2988"/>
                  </a:lnTo>
                  <a:lnTo>
                    <a:pt x="549" y="2983"/>
                  </a:lnTo>
                  <a:lnTo>
                    <a:pt x="551" y="2978"/>
                  </a:lnTo>
                  <a:lnTo>
                    <a:pt x="553" y="2974"/>
                  </a:lnTo>
                  <a:lnTo>
                    <a:pt x="556" y="2970"/>
                  </a:lnTo>
                  <a:lnTo>
                    <a:pt x="560" y="2966"/>
                  </a:lnTo>
                  <a:close/>
                  <a:moveTo>
                    <a:pt x="2570" y="3292"/>
                  </a:moveTo>
                  <a:lnTo>
                    <a:pt x="1990" y="2150"/>
                  </a:lnTo>
                  <a:lnTo>
                    <a:pt x="1987" y="2144"/>
                  </a:lnTo>
                  <a:lnTo>
                    <a:pt x="1986" y="2139"/>
                  </a:lnTo>
                  <a:lnTo>
                    <a:pt x="1985" y="2134"/>
                  </a:lnTo>
                  <a:lnTo>
                    <a:pt x="1985" y="2128"/>
                  </a:lnTo>
                  <a:lnTo>
                    <a:pt x="1986" y="2124"/>
                  </a:lnTo>
                  <a:lnTo>
                    <a:pt x="1987" y="2119"/>
                  </a:lnTo>
                  <a:lnTo>
                    <a:pt x="1988" y="2114"/>
                  </a:lnTo>
                  <a:lnTo>
                    <a:pt x="1990" y="2110"/>
                  </a:lnTo>
                  <a:lnTo>
                    <a:pt x="1993" y="2105"/>
                  </a:lnTo>
                  <a:lnTo>
                    <a:pt x="1996" y="2101"/>
                  </a:lnTo>
                  <a:lnTo>
                    <a:pt x="2000" y="2098"/>
                  </a:lnTo>
                  <a:lnTo>
                    <a:pt x="2003" y="2094"/>
                  </a:lnTo>
                  <a:lnTo>
                    <a:pt x="2009" y="2091"/>
                  </a:lnTo>
                  <a:lnTo>
                    <a:pt x="2013" y="2088"/>
                  </a:lnTo>
                  <a:lnTo>
                    <a:pt x="2018" y="2086"/>
                  </a:lnTo>
                  <a:lnTo>
                    <a:pt x="2024" y="2084"/>
                  </a:lnTo>
                  <a:lnTo>
                    <a:pt x="2678" y="1906"/>
                  </a:lnTo>
                  <a:lnTo>
                    <a:pt x="2693" y="1902"/>
                  </a:lnTo>
                  <a:lnTo>
                    <a:pt x="2707" y="1899"/>
                  </a:lnTo>
                  <a:lnTo>
                    <a:pt x="2720" y="1898"/>
                  </a:lnTo>
                  <a:lnTo>
                    <a:pt x="2734" y="1898"/>
                  </a:lnTo>
                  <a:lnTo>
                    <a:pt x="2746" y="1900"/>
                  </a:lnTo>
                  <a:lnTo>
                    <a:pt x="2758" y="1902"/>
                  </a:lnTo>
                  <a:lnTo>
                    <a:pt x="2769" y="1906"/>
                  </a:lnTo>
                  <a:lnTo>
                    <a:pt x="2780" y="1910"/>
                  </a:lnTo>
                  <a:lnTo>
                    <a:pt x="2791" y="1915"/>
                  </a:lnTo>
                  <a:lnTo>
                    <a:pt x="2800" y="1921"/>
                  </a:lnTo>
                  <a:lnTo>
                    <a:pt x="2809" y="1928"/>
                  </a:lnTo>
                  <a:lnTo>
                    <a:pt x="2817" y="1936"/>
                  </a:lnTo>
                  <a:lnTo>
                    <a:pt x="2825" y="1944"/>
                  </a:lnTo>
                  <a:lnTo>
                    <a:pt x="2832" y="1953"/>
                  </a:lnTo>
                  <a:lnTo>
                    <a:pt x="2838" y="1963"/>
                  </a:lnTo>
                  <a:lnTo>
                    <a:pt x="2845" y="1974"/>
                  </a:lnTo>
                  <a:lnTo>
                    <a:pt x="3216" y="2706"/>
                  </a:lnTo>
                  <a:lnTo>
                    <a:pt x="3221" y="2717"/>
                  </a:lnTo>
                  <a:lnTo>
                    <a:pt x="3225" y="2727"/>
                  </a:lnTo>
                  <a:lnTo>
                    <a:pt x="3229" y="2739"/>
                  </a:lnTo>
                  <a:lnTo>
                    <a:pt x="3231" y="2751"/>
                  </a:lnTo>
                  <a:lnTo>
                    <a:pt x="3232" y="2762"/>
                  </a:lnTo>
                  <a:lnTo>
                    <a:pt x="3233" y="2773"/>
                  </a:lnTo>
                  <a:lnTo>
                    <a:pt x="3232" y="2784"/>
                  </a:lnTo>
                  <a:lnTo>
                    <a:pt x="3230" y="2795"/>
                  </a:lnTo>
                  <a:lnTo>
                    <a:pt x="3227" y="2806"/>
                  </a:lnTo>
                  <a:lnTo>
                    <a:pt x="3223" y="2818"/>
                  </a:lnTo>
                  <a:lnTo>
                    <a:pt x="3218" y="2829"/>
                  </a:lnTo>
                  <a:lnTo>
                    <a:pt x="3212" y="2839"/>
                  </a:lnTo>
                  <a:lnTo>
                    <a:pt x="3204" y="2850"/>
                  </a:lnTo>
                  <a:lnTo>
                    <a:pt x="3194" y="2860"/>
                  </a:lnTo>
                  <a:lnTo>
                    <a:pt x="3184" y="2871"/>
                  </a:lnTo>
                  <a:lnTo>
                    <a:pt x="3173" y="2881"/>
                  </a:lnTo>
                  <a:lnTo>
                    <a:pt x="2643" y="3304"/>
                  </a:lnTo>
                  <a:lnTo>
                    <a:pt x="2638" y="3307"/>
                  </a:lnTo>
                  <a:lnTo>
                    <a:pt x="2633" y="3310"/>
                  </a:lnTo>
                  <a:lnTo>
                    <a:pt x="2629" y="3312"/>
                  </a:lnTo>
                  <a:lnTo>
                    <a:pt x="2624" y="3314"/>
                  </a:lnTo>
                  <a:lnTo>
                    <a:pt x="2619" y="3315"/>
                  </a:lnTo>
                  <a:lnTo>
                    <a:pt x="2613" y="3316"/>
                  </a:lnTo>
                  <a:lnTo>
                    <a:pt x="2608" y="3316"/>
                  </a:lnTo>
                  <a:lnTo>
                    <a:pt x="2603" y="3315"/>
                  </a:lnTo>
                  <a:lnTo>
                    <a:pt x="2598" y="3314"/>
                  </a:lnTo>
                  <a:lnTo>
                    <a:pt x="2593" y="3313"/>
                  </a:lnTo>
                  <a:lnTo>
                    <a:pt x="2588" y="3311"/>
                  </a:lnTo>
                  <a:lnTo>
                    <a:pt x="2584" y="3308"/>
                  </a:lnTo>
                  <a:lnTo>
                    <a:pt x="2580" y="3305"/>
                  </a:lnTo>
                  <a:lnTo>
                    <a:pt x="2576" y="3302"/>
                  </a:lnTo>
                  <a:lnTo>
                    <a:pt x="2573" y="3297"/>
                  </a:lnTo>
                  <a:lnTo>
                    <a:pt x="2570" y="3292"/>
                  </a:lnTo>
                  <a:close/>
                  <a:moveTo>
                    <a:pt x="3494" y="1498"/>
                  </a:moveTo>
                  <a:lnTo>
                    <a:pt x="2227" y="1688"/>
                  </a:lnTo>
                  <a:lnTo>
                    <a:pt x="2222" y="1688"/>
                  </a:lnTo>
                  <a:lnTo>
                    <a:pt x="2216" y="1688"/>
                  </a:lnTo>
                  <a:lnTo>
                    <a:pt x="2211" y="1687"/>
                  </a:lnTo>
                  <a:lnTo>
                    <a:pt x="2206" y="1686"/>
                  </a:lnTo>
                  <a:lnTo>
                    <a:pt x="2202" y="1684"/>
                  </a:lnTo>
                  <a:lnTo>
                    <a:pt x="2198" y="1681"/>
                  </a:lnTo>
                  <a:lnTo>
                    <a:pt x="2194" y="1678"/>
                  </a:lnTo>
                  <a:lnTo>
                    <a:pt x="2190" y="1675"/>
                  </a:lnTo>
                  <a:lnTo>
                    <a:pt x="2187" y="1671"/>
                  </a:lnTo>
                  <a:lnTo>
                    <a:pt x="2183" y="1667"/>
                  </a:lnTo>
                  <a:lnTo>
                    <a:pt x="2181" y="1661"/>
                  </a:lnTo>
                  <a:lnTo>
                    <a:pt x="2179" y="1657"/>
                  </a:lnTo>
                  <a:lnTo>
                    <a:pt x="2177" y="1652"/>
                  </a:lnTo>
                  <a:lnTo>
                    <a:pt x="2176" y="1646"/>
                  </a:lnTo>
                  <a:lnTo>
                    <a:pt x="2176" y="1641"/>
                  </a:lnTo>
                  <a:lnTo>
                    <a:pt x="2176" y="1635"/>
                  </a:lnTo>
                  <a:lnTo>
                    <a:pt x="2213" y="959"/>
                  </a:lnTo>
                  <a:lnTo>
                    <a:pt x="2214" y="944"/>
                  </a:lnTo>
                  <a:lnTo>
                    <a:pt x="2217" y="929"/>
                  </a:lnTo>
                  <a:lnTo>
                    <a:pt x="2220" y="915"/>
                  </a:lnTo>
                  <a:lnTo>
                    <a:pt x="2224" y="903"/>
                  </a:lnTo>
                  <a:lnTo>
                    <a:pt x="2229" y="892"/>
                  </a:lnTo>
                  <a:lnTo>
                    <a:pt x="2235" y="881"/>
                  </a:lnTo>
                  <a:lnTo>
                    <a:pt x="2241" y="871"/>
                  </a:lnTo>
                  <a:lnTo>
                    <a:pt x="2250" y="862"/>
                  </a:lnTo>
                  <a:lnTo>
                    <a:pt x="2257" y="854"/>
                  </a:lnTo>
                  <a:lnTo>
                    <a:pt x="2266" y="847"/>
                  </a:lnTo>
                  <a:lnTo>
                    <a:pt x="2275" y="841"/>
                  </a:lnTo>
                  <a:lnTo>
                    <a:pt x="2285" y="836"/>
                  </a:lnTo>
                  <a:lnTo>
                    <a:pt x="2296" y="831"/>
                  </a:lnTo>
                  <a:lnTo>
                    <a:pt x="2307" y="827"/>
                  </a:lnTo>
                  <a:lnTo>
                    <a:pt x="2319" y="824"/>
                  </a:lnTo>
                  <a:lnTo>
                    <a:pt x="2331" y="822"/>
                  </a:lnTo>
                  <a:lnTo>
                    <a:pt x="3142" y="700"/>
                  </a:lnTo>
                  <a:lnTo>
                    <a:pt x="3154" y="699"/>
                  </a:lnTo>
                  <a:lnTo>
                    <a:pt x="3166" y="699"/>
                  </a:lnTo>
                  <a:lnTo>
                    <a:pt x="3177" y="699"/>
                  </a:lnTo>
                  <a:lnTo>
                    <a:pt x="3189" y="700"/>
                  </a:lnTo>
                  <a:lnTo>
                    <a:pt x="3200" y="702"/>
                  </a:lnTo>
                  <a:lnTo>
                    <a:pt x="3211" y="706"/>
                  </a:lnTo>
                  <a:lnTo>
                    <a:pt x="3222" y="710"/>
                  </a:lnTo>
                  <a:lnTo>
                    <a:pt x="3232" y="715"/>
                  </a:lnTo>
                  <a:lnTo>
                    <a:pt x="3241" y="721"/>
                  </a:lnTo>
                  <a:lnTo>
                    <a:pt x="3250" y="728"/>
                  </a:lnTo>
                  <a:lnTo>
                    <a:pt x="3259" y="737"/>
                  </a:lnTo>
                  <a:lnTo>
                    <a:pt x="3268" y="746"/>
                  </a:lnTo>
                  <a:lnTo>
                    <a:pt x="3275" y="758"/>
                  </a:lnTo>
                  <a:lnTo>
                    <a:pt x="3282" y="769"/>
                  </a:lnTo>
                  <a:lnTo>
                    <a:pt x="3289" y="782"/>
                  </a:lnTo>
                  <a:lnTo>
                    <a:pt x="3294" y="796"/>
                  </a:lnTo>
                  <a:lnTo>
                    <a:pt x="3529" y="1433"/>
                  </a:lnTo>
                  <a:lnTo>
                    <a:pt x="3530" y="1438"/>
                  </a:lnTo>
                  <a:lnTo>
                    <a:pt x="3531" y="1443"/>
                  </a:lnTo>
                  <a:lnTo>
                    <a:pt x="3532" y="1449"/>
                  </a:lnTo>
                  <a:lnTo>
                    <a:pt x="3532" y="1454"/>
                  </a:lnTo>
                  <a:lnTo>
                    <a:pt x="3531" y="1459"/>
                  </a:lnTo>
                  <a:lnTo>
                    <a:pt x="3530" y="1464"/>
                  </a:lnTo>
                  <a:lnTo>
                    <a:pt x="3529" y="1469"/>
                  </a:lnTo>
                  <a:lnTo>
                    <a:pt x="3527" y="1474"/>
                  </a:lnTo>
                  <a:lnTo>
                    <a:pt x="3525" y="1478"/>
                  </a:lnTo>
                  <a:lnTo>
                    <a:pt x="3522" y="1483"/>
                  </a:lnTo>
                  <a:lnTo>
                    <a:pt x="3518" y="1487"/>
                  </a:lnTo>
                  <a:lnTo>
                    <a:pt x="3515" y="1490"/>
                  </a:lnTo>
                  <a:lnTo>
                    <a:pt x="3510" y="1493"/>
                  </a:lnTo>
                  <a:lnTo>
                    <a:pt x="3506" y="1495"/>
                  </a:lnTo>
                  <a:lnTo>
                    <a:pt x="3501" y="1497"/>
                  </a:lnTo>
                  <a:lnTo>
                    <a:pt x="3494" y="1498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020161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Вертикальный заголовок и текст"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3"/>
          <p:cNvSpPr>
            <a:spLocks noChangeAspect="1" noChangeArrowheads="1" noTextEdit="1"/>
          </p:cNvSpPr>
          <p:nvPr userDrawn="1"/>
        </p:nvSpPr>
        <p:spPr bwMode="auto">
          <a:xfrm>
            <a:off x="15" y="393700"/>
            <a:ext cx="9906000" cy="646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Freeform 6"/>
          <p:cNvSpPr>
            <a:spLocks/>
          </p:cNvSpPr>
          <p:nvPr userDrawn="1"/>
        </p:nvSpPr>
        <p:spPr bwMode="auto">
          <a:xfrm>
            <a:off x="6719242" y="2214742"/>
            <a:ext cx="990600" cy="2163763"/>
          </a:xfrm>
          <a:custGeom>
            <a:avLst/>
            <a:gdLst>
              <a:gd name="T0" fmla="*/ 1727 w 1727"/>
              <a:gd name="T1" fmla="*/ 4091 h 4091"/>
              <a:gd name="T2" fmla="*/ 356 w 1727"/>
              <a:gd name="T3" fmla="*/ 3560 h 4091"/>
              <a:gd name="T4" fmla="*/ 329 w 1727"/>
              <a:gd name="T5" fmla="*/ 3550 h 4091"/>
              <a:gd name="T6" fmla="*/ 304 w 1727"/>
              <a:gd name="T7" fmla="*/ 3538 h 4091"/>
              <a:gd name="T8" fmla="*/ 279 w 1727"/>
              <a:gd name="T9" fmla="*/ 3526 h 4091"/>
              <a:gd name="T10" fmla="*/ 256 w 1727"/>
              <a:gd name="T11" fmla="*/ 3514 h 4091"/>
              <a:gd name="T12" fmla="*/ 234 w 1727"/>
              <a:gd name="T13" fmla="*/ 3501 h 4091"/>
              <a:gd name="T14" fmla="*/ 213 w 1727"/>
              <a:gd name="T15" fmla="*/ 3487 h 4091"/>
              <a:gd name="T16" fmla="*/ 193 w 1727"/>
              <a:gd name="T17" fmla="*/ 3473 h 4091"/>
              <a:gd name="T18" fmla="*/ 174 w 1727"/>
              <a:gd name="T19" fmla="*/ 3458 h 4091"/>
              <a:gd name="T20" fmla="*/ 156 w 1727"/>
              <a:gd name="T21" fmla="*/ 3443 h 4091"/>
              <a:gd name="T22" fmla="*/ 140 w 1727"/>
              <a:gd name="T23" fmla="*/ 3428 h 4091"/>
              <a:gd name="T24" fmla="*/ 123 w 1727"/>
              <a:gd name="T25" fmla="*/ 3411 h 4091"/>
              <a:gd name="T26" fmla="*/ 108 w 1727"/>
              <a:gd name="T27" fmla="*/ 3394 h 4091"/>
              <a:gd name="T28" fmla="*/ 94 w 1727"/>
              <a:gd name="T29" fmla="*/ 3378 h 4091"/>
              <a:gd name="T30" fmla="*/ 81 w 1727"/>
              <a:gd name="T31" fmla="*/ 3360 h 4091"/>
              <a:gd name="T32" fmla="*/ 69 w 1727"/>
              <a:gd name="T33" fmla="*/ 3342 h 4091"/>
              <a:gd name="T34" fmla="*/ 59 w 1727"/>
              <a:gd name="T35" fmla="*/ 3324 h 4091"/>
              <a:gd name="T36" fmla="*/ 49 w 1727"/>
              <a:gd name="T37" fmla="*/ 3306 h 4091"/>
              <a:gd name="T38" fmla="*/ 40 w 1727"/>
              <a:gd name="T39" fmla="*/ 3286 h 4091"/>
              <a:gd name="T40" fmla="*/ 32 w 1727"/>
              <a:gd name="T41" fmla="*/ 3267 h 4091"/>
              <a:gd name="T42" fmla="*/ 25 w 1727"/>
              <a:gd name="T43" fmla="*/ 3247 h 4091"/>
              <a:gd name="T44" fmla="*/ 19 w 1727"/>
              <a:gd name="T45" fmla="*/ 3227 h 4091"/>
              <a:gd name="T46" fmla="*/ 13 w 1727"/>
              <a:gd name="T47" fmla="*/ 3207 h 4091"/>
              <a:gd name="T48" fmla="*/ 9 w 1727"/>
              <a:gd name="T49" fmla="*/ 3187 h 4091"/>
              <a:gd name="T50" fmla="*/ 6 w 1727"/>
              <a:gd name="T51" fmla="*/ 3165 h 4091"/>
              <a:gd name="T52" fmla="*/ 4 w 1727"/>
              <a:gd name="T53" fmla="*/ 3145 h 4091"/>
              <a:gd name="T54" fmla="*/ 1 w 1727"/>
              <a:gd name="T55" fmla="*/ 3123 h 4091"/>
              <a:gd name="T56" fmla="*/ 0 w 1727"/>
              <a:gd name="T57" fmla="*/ 3102 h 4091"/>
              <a:gd name="T58" fmla="*/ 0 w 1727"/>
              <a:gd name="T59" fmla="*/ 3080 h 4091"/>
              <a:gd name="T60" fmla="*/ 1 w 1727"/>
              <a:gd name="T61" fmla="*/ 3058 h 4091"/>
              <a:gd name="T62" fmla="*/ 4 w 1727"/>
              <a:gd name="T63" fmla="*/ 3036 h 4091"/>
              <a:gd name="T64" fmla="*/ 6 w 1727"/>
              <a:gd name="T65" fmla="*/ 3014 h 4091"/>
              <a:gd name="T66" fmla="*/ 9 w 1727"/>
              <a:gd name="T67" fmla="*/ 2991 h 4091"/>
              <a:gd name="T68" fmla="*/ 508 w 1727"/>
              <a:gd name="T69" fmla="*/ 0 h 4091"/>
              <a:gd name="T70" fmla="*/ 482 w 1727"/>
              <a:gd name="T71" fmla="*/ 2806 h 4091"/>
              <a:gd name="T72" fmla="*/ 483 w 1727"/>
              <a:gd name="T73" fmla="*/ 2832 h 4091"/>
              <a:gd name="T74" fmla="*/ 484 w 1727"/>
              <a:gd name="T75" fmla="*/ 2859 h 4091"/>
              <a:gd name="T76" fmla="*/ 487 w 1727"/>
              <a:gd name="T77" fmla="*/ 2885 h 4091"/>
              <a:gd name="T78" fmla="*/ 492 w 1727"/>
              <a:gd name="T79" fmla="*/ 2910 h 4091"/>
              <a:gd name="T80" fmla="*/ 497 w 1727"/>
              <a:gd name="T81" fmla="*/ 2937 h 4091"/>
              <a:gd name="T82" fmla="*/ 504 w 1727"/>
              <a:gd name="T83" fmla="*/ 2963 h 4091"/>
              <a:gd name="T84" fmla="*/ 511 w 1727"/>
              <a:gd name="T85" fmla="*/ 2989 h 4091"/>
              <a:gd name="T86" fmla="*/ 521 w 1727"/>
              <a:gd name="T87" fmla="*/ 3015 h 4091"/>
              <a:gd name="T88" fmla="*/ 531 w 1727"/>
              <a:gd name="T89" fmla="*/ 3039 h 4091"/>
              <a:gd name="T90" fmla="*/ 542 w 1727"/>
              <a:gd name="T91" fmla="*/ 3064 h 4091"/>
              <a:gd name="T92" fmla="*/ 555 w 1727"/>
              <a:gd name="T93" fmla="*/ 3086 h 4091"/>
              <a:gd name="T94" fmla="*/ 569 w 1727"/>
              <a:gd name="T95" fmla="*/ 3109 h 4091"/>
              <a:gd name="T96" fmla="*/ 585 w 1727"/>
              <a:gd name="T97" fmla="*/ 3131 h 4091"/>
              <a:gd name="T98" fmla="*/ 602 w 1727"/>
              <a:gd name="T99" fmla="*/ 3150 h 4091"/>
              <a:gd name="T100" fmla="*/ 619 w 1727"/>
              <a:gd name="T101" fmla="*/ 3168 h 4091"/>
              <a:gd name="T102" fmla="*/ 639 w 1727"/>
              <a:gd name="T103" fmla="*/ 3186 h 4091"/>
              <a:gd name="T104" fmla="*/ 1727 w 1727"/>
              <a:gd name="T105" fmla="*/ 4091 h 40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727" h="4091">
                <a:moveTo>
                  <a:pt x="1727" y="4091"/>
                </a:moveTo>
                <a:lnTo>
                  <a:pt x="356" y="3560"/>
                </a:lnTo>
                <a:lnTo>
                  <a:pt x="329" y="3550"/>
                </a:lnTo>
                <a:lnTo>
                  <a:pt x="304" y="3538"/>
                </a:lnTo>
                <a:lnTo>
                  <a:pt x="279" y="3526"/>
                </a:lnTo>
                <a:lnTo>
                  <a:pt x="256" y="3514"/>
                </a:lnTo>
                <a:lnTo>
                  <a:pt x="234" y="3501"/>
                </a:lnTo>
                <a:lnTo>
                  <a:pt x="213" y="3487"/>
                </a:lnTo>
                <a:lnTo>
                  <a:pt x="193" y="3473"/>
                </a:lnTo>
                <a:lnTo>
                  <a:pt x="174" y="3458"/>
                </a:lnTo>
                <a:lnTo>
                  <a:pt x="156" y="3443"/>
                </a:lnTo>
                <a:lnTo>
                  <a:pt x="140" y="3428"/>
                </a:lnTo>
                <a:lnTo>
                  <a:pt x="123" y="3411"/>
                </a:lnTo>
                <a:lnTo>
                  <a:pt x="108" y="3394"/>
                </a:lnTo>
                <a:lnTo>
                  <a:pt x="94" y="3378"/>
                </a:lnTo>
                <a:lnTo>
                  <a:pt x="81" y="3360"/>
                </a:lnTo>
                <a:lnTo>
                  <a:pt x="69" y="3342"/>
                </a:lnTo>
                <a:lnTo>
                  <a:pt x="59" y="3324"/>
                </a:lnTo>
                <a:lnTo>
                  <a:pt x="49" y="3306"/>
                </a:lnTo>
                <a:lnTo>
                  <a:pt x="40" y="3286"/>
                </a:lnTo>
                <a:lnTo>
                  <a:pt x="32" y="3267"/>
                </a:lnTo>
                <a:lnTo>
                  <a:pt x="25" y="3247"/>
                </a:lnTo>
                <a:lnTo>
                  <a:pt x="19" y="3227"/>
                </a:lnTo>
                <a:lnTo>
                  <a:pt x="13" y="3207"/>
                </a:lnTo>
                <a:lnTo>
                  <a:pt x="9" y="3187"/>
                </a:lnTo>
                <a:lnTo>
                  <a:pt x="6" y="3165"/>
                </a:lnTo>
                <a:lnTo>
                  <a:pt x="4" y="3145"/>
                </a:lnTo>
                <a:lnTo>
                  <a:pt x="1" y="3123"/>
                </a:lnTo>
                <a:lnTo>
                  <a:pt x="0" y="3102"/>
                </a:lnTo>
                <a:lnTo>
                  <a:pt x="0" y="3080"/>
                </a:lnTo>
                <a:lnTo>
                  <a:pt x="1" y="3058"/>
                </a:lnTo>
                <a:lnTo>
                  <a:pt x="4" y="3036"/>
                </a:lnTo>
                <a:lnTo>
                  <a:pt x="6" y="3014"/>
                </a:lnTo>
                <a:lnTo>
                  <a:pt x="9" y="2991"/>
                </a:lnTo>
                <a:lnTo>
                  <a:pt x="508" y="0"/>
                </a:lnTo>
                <a:lnTo>
                  <a:pt x="482" y="2806"/>
                </a:lnTo>
                <a:lnTo>
                  <a:pt x="483" y="2832"/>
                </a:lnTo>
                <a:lnTo>
                  <a:pt x="484" y="2859"/>
                </a:lnTo>
                <a:lnTo>
                  <a:pt x="487" y="2885"/>
                </a:lnTo>
                <a:lnTo>
                  <a:pt x="492" y="2910"/>
                </a:lnTo>
                <a:lnTo>
                  <a:pt x="497" y="2937"/>
                </a:lnTo>
                <a:lnTo>
                  <a:pt x="504" y="2963"/>
                </a:lnTo>
                <a:lnTo>
                  <a:pt x="511" y="2989"/>
                </a:lnTo>
                <a:lnTo>
                  <a:pt x="521" y="3015"/>
                </a:lnTo>
                <a:lnTo>
                  <a:pt x="531" y="3039"/>
                </a:lnTo>
                <a:lnTo>
                  <a:pt x="542" y="3064"/>
                </a:lnTo>
                <a:lnTo>
                  <a:pt x="555" y="3086"/>
                </a:lnTo>
                <a:lnTo>
                  <a:pt x="569" y="3109"/>
                </a:lnTo>
                <a:lnTo>
                  <a:pt x="585" y="3131"/>
                </a:lnTo>
                <a:lnTo>
                  <a:pt x="602" y="3150"/>
                </a:lnTo>
                <a:lnTo>
                  <a:pt x="619" y="3168"/>
                </a:lnTo>
                <a:lnTo>
                  <a:pt x="639" y="3186"/>
                </a:lnTo>
                <a:lnTo>
                  <a:pt x="1727" y="4091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Freeform 8"/>
          <p:cNvSpPr>
            <a:spLocks/>
          </p:cNvSpPr>
          <p:nvPr userDrawn="1"/>
        </p:nvSpPr>
        <p:spPr bwMode="auto">
          <a:xfrm>
            <a:off x="9102939" y="3473452"/>
            <a:ext cx="803143" cy="1114425"/>
          </a:xfrm>
          <a:custGeom>
            <a:avLst/>
            <a:gdLst>
              <a:gd name="T0" fmla="*/ 0 w 1401"/>
              <a:gd name="T1" fmla="*/ 2106 h 2106"/>
              <a:gd name="T2" fmla="*/ 81 w 1401"/>
              <a:gd name="T3" fmla="*/ 638 h 2106"/>
              <a:gd name="T4" fmla="*/ 82 w 1401"/>
              <a:gd name="T5" fmla="*/ 609 h 2106"/>
              <a:gd name="T6" fmla="*/ 86 w 1401"/>
              <a:gd name="T7" fmla="*/ 581 h 2106"/>
              <a:gd name="T8" fmla="*/ 90 w 1401"/>
              <a:gd name="T9" fmla="*/ 555 h 2106"/>
              <a:gd name="T10" fmla="*/ 94 w 1401"/>
              <a:gd name="T11" fmla="*/ 529 h 2106"/>
              <a:gd name="T12" fmla="*/ 100 w 1401"/>
              <a:gd name="T13" fmla="*/ 504 h 2106"/>
              <a:gd name="T14" fmla="*/ 106 w 1401"/>
              <a:gd name="T15" fmla="*/ 480 h 2106"/>
              <a:gd name="T16" fmla="*/ 114 w 1401"/>
              <a:gd name="T17" fmla="*/ 456 h 2106"/>
              <a:gd name="T18" fmla="*/ 122 w 1401"/>
              <a:gd name="T19" fmla="*/ 433 h 2106"/>
              <a:gd name="T20" fmla="*/ 131 w 1401"/>
              <a:gd name="T21" fmla="*/ 412 h 2106"/>
              <a:gd name="T22" fmla="*/ 141 w 1401"/>
              <a:gd name="T23" fmla="*/ 391 h 2106"/>
              <a:gd name="T24" fmla="*/ 151 w 1401"/>
              <a:gd name="T25" fmla="*/ 371 h 2106"/>
              <a:gd name="T26" fmla="*/ 162 w 1401"/>
              <a:gd name="T27" fmla="*/ 351 h 2106"/>
              <a:gd name="T28" fmla="*/ 174 w 1401"/>
              <a:gd name="T29" fmla="*/ 333 h 2106"/>
              <a:gd name="T30" fmla="*/ 187 w 1401"/>
              <a:gd name="T31" fmla="*/ 316 h 2106"/>
              <a:gd name="T32" fmla="*/ 200 w 1401"/>
              <a:gd name="T33" fmla="*/ 299 h 2106"/>
              <a:gd name="T34" fmla="*/ 214 w 1401"/>
              <a:gd name="T35" fmla="*/ 283 h 2106"/>
              <a:gd name="T36" fmla="*/ 229 w 1401"/>
              <a:gd name="T37" fmla="*/ 268 h 2106"/>
              <a:gd name="T38" fmla="*/ 244 w 1401"/>
              <a:gd name="T39" fmla="*/ 253 h 2106"/>
              <a:gd name="T40" fmla="*/ 259 w 1401"/>
              <a:gd name="T41" fmla="*/ 240 h 2106"/>
              <a:gd name="T42" fmla="*/ 277 w 1401"/>
              <a:gd name="T43" fmla="*/ 227 h 2106"/>
              <a:gd name="T44" fmla="*/ 294 w 1401"/>
              <a:gd name="T45" fmla="*/ 215 h 2106"/>
              <a:gd name="T46" fmla="*/ 311 w 1401"/>
              <a:gd name="T47" fmla="*/ 203 h 2106"/>
              <a:gd name="T48" fmla="*/ 330 w 1401"/>
              <a:gd name="T49" fmla="*/ 194 h 2106"/>
              <a:gd name="T50" fmla="*/ 348 w 1401"/>
              <a:gd name="T51" fmla="*/ 184 h 2106"/>
              <a:gd name="T52" fmla="*/ 367 w 1401"/>
              <a:gd name="T53" fmla="*/ 174 h 2106"/>
              <a:gd name="T54" fmla="*/ 387 w 1401"/>
              <a:gd name="T55" fmla="*/ 167 h 2106"/>
              <a:gd name="T56" fmla="*/ 407 w 1401"/>
              <a:gd name="T57" fmla="*/ 159 h 2106"/>
              <a:gd name="T58" fmla="*/ 428 w 1401"/>
              <a:gd name="T59" fmla="*/ 153 h 2106"/>
              <a:gd name="T60" fmla="*/ 450 w 1401"/>
              <a:gd name="T61" fmla="*/ 146 h 2106"/>
              <a:gd name="T62" fmla="*/ 471 w 1401"/>
              <a:gd name="T63" fmla="*/ 141 h 2106"/>
              <a:gd name="T64" fmla="*/ 493 w 1401"/>
              <a:gd name="T65" fmla="*/ 136 h 2106"/>
              <a:gd name="T66" fmla="*/ 515 w 1401"/>
              <a:gd name="T67" fmla="*/ 133 h 2106"/>
              <a:gd name="T68" fmla="*/ 1401 w 1401"/>
              <a:gd name="T69" fmla="*/ 0 h 2106"/>
              <a:gd name="T70" fmla="*/ 1401 w 1401"/>
              <a:gd name="T71" fmla="*/ 348 h 2106"/>
              <a:gd name="T72" fmla="*/ 837 w 1401"/>
              <a:gd name="T73" fmla="*/ 525 h 2106"/>
              <a:gd name="T74" fmla="*/ 813 w 1401"/>
              <a:gd name="T75" fmla="*/ 534 h 2106"/>
              <a:gd name="T76" fmla="*/ 789 w 1401"/>
              <a:gd name="T77" fmla="*/ 543 h 2106"/>
              <a:gd name="T78" fmla="*/ 765 w 1401"/>
              <a:gd name="T79" fmla="*/ 554 h 2106"/>
              <a:gd name="T80" fmla="*/ 740 w 1401"/>
              <a:gd name="T81" fmla="*/ 566 h 2106"/>
              <a:gd name="T82" fmla="*/ 717 w 1401"/>
              <a:gd name="T83" fmla="*/ 580 h 2106"/>
              <a:gd name="T84" fmla="*/ 695 w 1401"/>
              <a:gd name="T85" fmla="*/ 594 h 2106"/>
              <a:gd name="T86" fmla="*/ 672 w 1401"/>
              <a:gd name="T87" fmla="*/ 609 h 2106"/>
              <a:gd name="T88" fmla="*/ 650 w 1401"/>
              <a:gd name="T89" fmla="*/ 627 h 2106"/>
              <a:gd name="T90" fmla="*/ 631 w 1401"/>
              <a:gd name="T91" fmla="*/ 644 h 2106"/>
              <a:gd name="T92" fmla="*/ 612 w 1401"/>
              <a:gd name="T93" fmla="*/ 662 h 2106"/>
              <a:gd name="T94" fmla="*/ 593 w 1401"/>
              <a:gd name="T95" fmla="*/ 682 h 2106"/>
              <a:gd name="T96" fmla="*/ 576 w 1401"/>
              <a:gd name="T97" fmla="*/ 702 h 2106"/>
              <a:gd name="T98" fmla="*/ 561 w 1401"/>
              <a:gd name="T99" fmla="*/ 724 h 2106"/>
              <a:gd name="T100" fmla="*/ 547 w 1401"/>
              <a:gd name="T101" fmla="*/ 745 h 2106"/>
              <a:gd name="T102" fmla="*/ 535 w 1401"/>
              <a:gd name="T103" fmla="*/ 768 h 2106"/>
              <a:gd name="T104" fmla="*/ 524 w 1401"/>
              <a:gd name="T105" fmla="*/ 792 h 2106"/>
              <a:gd name="T106" fmla="*/ 0 w 1401"/>
              <a:gd name="T107" fmla="*/ 2106 h 2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401" h="2106">
                <a:moveTo>
                  <a:pt x="0" y="2106"/>
                </a:moveTo>
                <a:lnTo>
                  <a:pt x="81" y="638"/>
                </a:lnTo>
                <a:lnTo>
                  <a:pt x="82" y="609"/>
                </a:lnTo>
                <a:lnTo>
                  <a:pt x="86" y="581"/>
                </a:lnTo>
                <a:lnTo>
                  <a:pt x="90" y="555"/>
                </a:lnTo>
                <a:lnTo>
                  <a:pt x="94" y="529"/>
                </a:lnTo>
                <a:lnTo>
                  <a:pt x="100" y="504"/>
                </a:lnTo>
                <a:lnTo>
                  <a:pt x="106" y="480"/>
                </a:lnTo>
                <a:lnTo>
                  <a:pt x="114" y="456"/>
                </a:lnTo>
                <a:lnTo>
                  <a:pt x="122" y="433"/>
                </a:lnTo>
                <a:lnTo>
                  <a:pt x="131" y="412"/>
                </a:lnTo>
                <a:lnTo>
                  <a:pt x="141" y="391"/>
                </a:lnTo>
                <a:lnTo>
                  <a:pt x="151" y="371"/>
                </a:lnTo>
                <a:lnTo>
                  <a:pt x="162" y="351"/>
                </a:lnTo>
                <a:lnTo>
                  <a:pt x="174" y="333"/>
                </a:lnTo>
                <a:lnTo>
                  <a:pt x="187" y="316"/>
                </a:lnTo>
                <a:lnTo>
                  <a:pt x="200" y="299"/>
                </a:lnTo>
                <a:lnTo>
                  <a:pt x="214" y="283"/>
                </a:lnTo>
                <a:lnTo>
                  <a:pt x="229" y="268"/>
                </a:lnTo>
                <a:lnTo>
                  <a:pt x="244" y="253"/>
                </a:lnTo>
                <a:lnTo>
                  <a:pt x="259" y="240"/>
                </a:lnTo>
                <a:lnTo>
                  <a:pt x="277" y="227"/>
                </a:lnTo>
                <a:lnTo>
                  <a:pt x="294" y="215"/>
                </a:lnTo>
                <a:lnTo>
                  <a:pt x="311" y="203"/>
                </a:lnTo>
                <a:lnTo>
                  <a:pt x="330" y="194"/>
                </a:lnTo>
                <a:lnTo>
                  <a:pt x="348" y="184"/>
                </a:lnTo>
                <a:lnTo>
                  <a:pt x="367" y="174"/>
                </a:lnTo>
                <a:lnTo>
                  <a:pt x="387" y="167"/>
                </a:lnTo>
                <a:lnTo>
                  <a:pt x="407" y="159"/>
                </a:lnTo>
                <a:lnTo>
                  <a:pt x="428" y="153"/>
                </a:lnTo>
                <a:lnTo>
                  <a:pt x="450" y="146"/>
                </a:lnTo>
                <a:lnTo>
                  <a:pt x="471" y="141"/>
                </a:lnTo>
                <a:lnTo>
                  <a:pt x="493" y="136"/>
                </a:lnTo>
                <a:lnTo>
                  <a:pt x="515" y="133"/>
                </a:lnTo>
                <a:lnTo>
                  <a:pt x="1401" y="0"/>
                </a:lnTo>
                <a:lnTo>
                  <a:pt x="1401" y="348"/>
                </a:lnTo>
                <a:lnTo>
                  <a:pt x="837" y="525"/>
                </a:lnTo>
                <a:lnTo>
                  <a:pt x="813" y="534"/>
                </a:lnTo>
                <a:lnTo>
                  <a:pt x="789" y="543"/>
                </a:lnTo>
                <a:lnTo>
                  <a:pt x="765" y="554"/>
                </a:lnTo>
                <a:lnTo>
                  <a:pt x="740" y="566"/>
                </a:lnTo>
                <a:lnTo>
                  <a:pt x="717" y="580"/>
                </a:lnTo>
                <a:lnTo>
                  <a:pt x="695" y="594"/>
                </a:lnTo>
                <a:lnTo>
                  <a:pt x="672" y="609"/>
                </a:lnTo>
                <a:lnTo>
                  <a:pt x="650" y="627"/>
                </a:lnTo>
                <a:lnTo>
                  <a:pt x="631" y="644"/>
                </a:lnTo>
                <a:lnTo>
                  <a:pt x="612" y="662"/>
                </a:lnTo>
                <a:lnTo>
                  <a:pt x="593" y="682"/>
                </a:lnTo>
                <a:lnTo>
                  <a:pt x="576" y="702"/>
                </a:lnTo>
                <a:lnTo>
                  <a:pt x="561" y="724"/>
                </a:lnTo>
                <a:lnTo>
                  <a:pt x="547" y="745"/>
                </a:lnTo>
                <a:lnTo>
                  <a:pt x="535" y="768"/>
                </a:lnTo>
                <a:lnTo>
                  <a:pt x="524" y="792"/>
                </a:lnTo>
                <a:lnTo>
                  <a:pt x="0" y="2106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1" name="Freeform 10"/>
          <p:cNvSpPr>
            <a:spLocks/>
          </p:cNvSpPr>
          <p:nvPr userDrawn="1"/>
        </p:nvSpPr>
        <p:spPr bwMode="auto">
          <a:xfrm>
            <a:off x="9321287" y="5721350"/>
            <a:ext cx="584729" cy="179388"/>
          </a:xfrm>
          <a:custGeom>
            <a:avLst/>
            <a:gdLst>
              <a:gd name="T0" fmla="*/ 0 w 1021"/>
              <a:gd name="T1" fmla="*/ 278 h 338"/>
              <a:gd name="T2" fmla="*/ 1021 w 1021"/>
              <a:gd name="T3" fmla="*/ 0 h 338"/>
              <a:gd name="T4" fmla="*/ 1021 w 1021"/>
              <a:gd name="T5" fmla="*/ 338 h 338"/>
              <a:gd name="T6" fmla="*/ 0 w 1021"/>
              <a:gd name="T7" fmla="*/ 278 h 3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21" h="338">
                <a:moveTo>
                  <a:pt x="0" y="278"/>
                </a:moveTo>
                <a:lnTo>
                  <a:pt x="1021" y="0"/>
                </a:lnTo>
                <a:lnTo>
                  <a:pt x="1021" y="338"/>
                </a:lnTo>
                <a:lnTo>
                  <a:pt x="0" y="278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3" name="Freeform 12"/>
          <p:cNvSpPr>
            <a:spLocks/>
          </p:cNvSpPr>
          <p:nvPr userDrawn="1"/>
        </p:nvSpPr>
        <p:spPr bwMode="auto">
          <a:xfrm>
            <a:off x="8057225" y="6461304"/>
            <a:ext cx="278606" cy="396875"/>
          </a:xfrm>
          <a:custGeom>
            <a:avLst/>
            <a:gdLst>
              <a:gd name="T0" fmla="*/ 0 w 484"/>
              <a:gd name="T1" fmla="*/ 0 h 749"/>
              <a:gd name="T2" fmla="*/ 484 w 484"/>
              <a:gd name="T3" fmla="*/ 749 h 749"/>
              <a:gd name="T4" fmla="*/ 191 w 484"/>
              <a:gd name="T5" fmla="*/ 749 h 749"/>
              <a:gd name="T6" fmla="*/ 0 w 484"/>
              <a:gd name="T7" fmla="*/ 0 h 7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4" h="749">
                <a:moveTo>
                  <a:pt x="0" y="0"/>
                </a:moveTo>
                <a:lnTo>
                  <a:pt x="484" y="749"/>
                </a:lnTo>
                <a:lnTo>
                  <a:pt x="191" y="749"/>
                </a:lnTo>
                <a:lnTo>
                  <a:pt x="0" y="0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5" name="Freeform 14"/>
          <p:cNvSpPr>
            <a:spLocks/>
          </p:cNvSpPr>
          <p:nvPr userDrawn="1"/>
        </p:nvSpPr>
        <p:spPr bwMode="auto">
          <a:xfrm>
            <a:off x="4617648" y="5487988"/>
            <a:ext cx="2445544" cy="769938"/>
          </a:xfrm>
          <a:custGeom>
            <a:avLst/>
            <a:gdLst>
              <a:gd name="T0" fmla="*/ 4268 w 4268"/>
              <a:gd name="T1" fmla="*/ 95 h 1455"/>
              <a:gd name="T2" fmla="*/ 3342 w 4268"/>
              <a:gd name="T3" fmla="*/ 1237 h 1455"/>
              <a:gd name="T4" fmla="*/ 3324 w 4268"/>
              <a:gd name="T5" fmla="*/ 1259 h 1455"/>
              <a:gd name="T6" fmla="*/ 3305 w 4268"/>
              <a:gd name="T7" fmla="*/ 1280 h 1455"/>
              <a:gd name="T8" fmla="*/ 3287 w 4268"/>
              <a:gd name="T9" fmla="*/ 1300 h 1455"/>
              <a:gd name="T10" fmla="*/ 3268 w 4268"/>
              <a:gd name="T11" fmla="*/ 1317 h 1455"/>
              <a:gd name="T12" fmla="*/ 3248 w 4268"/>
              <a:gd name="T13" fmla="*/ 1334 h 1455"/>
              <a:gd name="T14" fmla="*/ 3229 w 4268"/>
              <a:gd name="T15" fmla="*/ 1351 h 1455"/>
              <a:gd name="T16" fmla="*/ 3209 w 4268"/>
              <a:gd name="T17" fmla="*/ 1366 h 1455"/>
              <a:gd name="T18" fmla="*/ 3190 w 4268"/>
              <a:gd name="T19" fmla="*/ 1379 h 1455"/>
              <a:gd name="T20" fmla="*/ 3169 w 4268"/>
              <a:gd name="T21" fmla="*/ 1392 h 1455"/>
              <a:gd name="T22" fmla="*/ 3150 w 4268"/>
              <a:gd name="T23" fmla="*/ 1402 h 1455"/>
              <a:gd name="T24" fmla="*/ 3129 w 4268"/>
              <a:gd name="T25" fmla="*/ 1412 h 1455"/>
              <a:gd name="T26" fmla="*/ 3109 w 4268"/>
              <a:gd name="T27" fmla="*/ 1422 h 1455"/>
              <a:gd name="T28" fmla="*/ 3088 w 4268"/>
              <a:gd name="T29" fmla="*/ 1429 h 1455"/>
              <a:gd name="T30" fmla="*/ 3068 w 4268"/>
              <a:gd name="T31" fmla="*/ 1436 h 1455"/>
              <a:gd name="T32" fmla="*/ 3047 w 4268"/>
              <a:gd name="T33" fmla="*/ 1442 h 1455"/>
              <a:gd name="T34" fmla="*/ 3027 w 4268"/>
              <a:gd name="T35" fmla="*/ 1447 h 1455"/>
              <a:gd name="T36" fmla="*/ 3006 w 4268"/>
              <a:gd name="T37" fmla="*/ 1451 h 1455"/>
              <a:gd name="T38" fmla="*/ 2985 w 4268"/>
              <a:gd name="T39" fmla="*/ 1453 h 1455"/>
              <a:gd name="T40" fmla="*/ 2964 w 4268"/>
              <a:gd name="T41" fmla="*/ 1455 h 1455"/>
              <a:gd name="T42" fmla="*/ 2944 w 4268"/>
              <a:gd name="T43" fmla="*/ 1455 h 1455"/>
              <a:gd name="T44" fmla="*/ 2922 w 4268"/>
              <a:gd name="T45" fmla="*/ 1455 h 1455"/>
              <a:gd name="T46" fmla="*/ 2902 w 4268"/>
              <a:gd name="T47" fmla="*/ 1454 h 1455"/>
              <a:gd name="T48" fmla="*/ 2881 w 4268"/>
              <a:gd name="T49" fmla="*/ 1452 h 1455"/>
              <a:gd name="T50" fmla="*/ 2859 w 4268"/>
              <a:gd name="T51" fmla="*/ 1449 h 1455"/>
              <a:gd name="T52" fmla="*/ 2839 w 4268"/>
              <a:gd name="T53" fmla="*/ 1444 h 1455"/>
              <a:gd name="T54" fmla="*/ 2818 w 4268"/>
              <a:gd name="T55" fmla="*/ 1440 h 1455"/>
              <a:gd name="T56" fmla="*/ 2797 w 4268"/>
              <a:gd name="T57" fmla="*/ 1434 h 1455"/>
              <a:gd name="T58" fmla="*/ 2776 w 4268"/>
              <a:gd name="T59" fmla="*/ 1427 h 1455"/>
              <a:gd name="T60" fmla="*/ 2756 w 4268"/>
              <a:gd name="T61" fmla="*/ 1420 h 1455"/>
              <a:gd name="T62" fmla="*/ 2735 w 4268"/>
              <a:gd name="T63" fmla="*/ 1411 h 1455"/>
              <a:gd name="T64" fmla="*/ 2715 w 4268"/>
              <a:gd name="T65" fmla="*/ 1402 h 1455"/>
              <a:gd name="T66" fmla="*/ 2694 w 4268"/>
              <a:gd name="T67" fmla="*/ 1393 h 1455"/>
              <a:gd name="T68" fmla="*/ 0 w 4268"/>
              <a:gd name="T69" fmla="*/ 0 h 1455"/>
              <a:gd name="T70" fmla="*/ 2664 w 4268"/>
              <a:gd name="T71" fmla="*/ 885 h 1455"/>
              <a:gd name="T72" fmla="*/ 2688 w 4268"/>
              <a:gd name="T73" fmla="*/ 893 h 1455"/>
              <a:gd name="T74" fmla="*/ 2714 w 4268"/>
              <a:gd name="T75" fmla="*/ 899 h 1455"/>
              <a:gd name="T76" fmla="*/ 2740 w 4268"/>
              <a:gd name="T77" fmla="*/ 905 h 1455"/>
              <a:gd name="T78" fmla="*/ 2767 w 4268"/>
              <a:gd name="T79" fmla="*/ 909 h 1455"/>
              <a:gd name="T80" fmla="*/ 2792 w 4268"/>
              <a:gd name="T81" fmla="*/ 911 h 1455"/>
              <a:gd name="T82" fmla="*/ 2819 w 4268"/>
              <a:gd name="T83" fmla="*/ 913 h 1455"/>
              <a:gd name="T84" fmla="*/ 2846 w 4268"/>
              <a:gd name="T85" fmla="*/ 913 h 1455"/>
              <a:gd name="T86" fmla="*/ 2873 w 4268"/>
              <a:gd name="T87" fmla="*/ 913 h 1455"/>
              <a:gd name="T88" fmla="*/ 2900 w 4268"/>
              <a:gd name="T89" fmla="*/ 910 h 1455"/>
              <a:gd name="T90" fmla="*/ 2927 w 4268"/>
              <a:gd name="T91" fmla="*/ 907 h 1455"/>
              <a:gd name="T92" fmla="*/ 2953 w 4268"/>
              <a:gd name="T93" fmla="*/ 901 h 1455"/>
              <a:gd name="T94" fmla="*/ 2979 w 4268"/>
              <a:gd name="T95" fmla="*/ 895 h 1455"/>
              <a:gd name="T96" fmla="*/ 3004 w 4268"/>
              <a:gd name="T97" fmla="*/ 887 h 1455"/>
              <a:gd name="T98" fmla="*/ 3028 w 4268"/>
              <a:gd name="T99" fmla="*/ 878 h 1455"/>
              <a:gd name="T100" fmla="*/ 3051 w 4268"/>
              <a:gd name="T101" fmla="*/ 866 h 1455"/>
              <a:gd name="T102" fmla="*/ 3073 w 4268"/>
              <a:gd name="T103" fmla="*/ 853 h 1455"/>
              <a:gd name="T104" fmla="*/ 4268 w 4268"/>
              <a:gd name="T105" fmla="*/ 95 h 14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268" h="1455">
                <a:moveTo>
                  <a:pt x="4268" y="95"/>
                </a:moveTo>
                <a:lnTo>
                  <a:pt x="3342" y="1237"/>
                </a:lnTo>
                <a:lnTo>
                  <a:pt x="3324" y="1259"/>
                </a:lnTo>
                <a:lnTo>
                  <a:pt x="3305" y="1280"/>
                </a:lnTo>
                <a:lnTo>
                  <a:pt x="3287" y="1300"/>
                </a:lnTo>
                <a:lnTo>
                  <a:pt x="3268" y="1317"/>
                </a:lnTo>
                <a:lnTo>
                  <a:pt x="3248" y="1334"/>
                </a:lnTo>
                <a:lnTo>
                  <a:pt x="3229" y="1351"/>
                </a:lnTo>
                <a:lnTo>
                  <a:pt x="3209" y="1366"/>
                </a:lnTo>
                <a:lnTo>
                  <a:pt x="3190" y="1379"/>
                </a:lnTo>
                <a:lnTo>
                  <a:pt x="3169" y="1392"/>
                </a:lnTo>
                <a:lnTo>
                  <a:pt x="3150" y="1402"/>
                </a:lnTo>
                <a:lnTo>
                  <a:pt x="3129" y="1412"/>
                </a:lnTo>
                <a:lnTo>
                  <a:pt x="3109" y="1422"/>
                </a:lnTo>
                <a:lnTo>
                  <a:pt x="3088" y="1429"/>
                </a:lnTo>
                <a:lnTo>
                  <a:pt x="3068" y="1436"/>
                </a:lnTo>
                <a:lnTo>
                  <a:pt x="3047" y="1442"/>
                </a:lnTo>
                <a:lnTo>
                  <a:pt x="3027" y="1447"/>
                </a:lnTo>
                <a:lnTo>
                  <a:pt x="3006" y="1451"/>
                </a:lnTo>
                <a:lnTo>
                  <a:pt x="2985" y="1453"/>
                </a:lnTo>
                <a:lnTo>
                  <a:pt x="2964" y="1455"/>
                </a:lnTo>
                <a:lnTo>
                  <a:pt x="2944" y="1455"/>
                </a:lnTo>
                <a:lnTo>
                  <a:pt x="2922" y="1455"/>
                </a:lnTo>
                <a:lnTo>
                  <a:pt x="2902" y="1454"/>
                </a:lnTo>
                <a:lnTo>
                  <a:pt x="2881" y="1452"/>
                </a:lnTo>
                <a:lnTo>
                  <a:pt x="2859" y="1449"/>
                </a:lnTo>
                <a:lnTo>
                  <a:pt x="2839" y="1444"/>
                </a:lnTo>
                <a:lnTo>
                  <a:pt x="2818" y="1440"/>
                </a:lnTo>
                <a:lnTo>
                  <a:pt x="2797" y="1434"/>
                </a:lnTo>
                <a:lnTo>
                  <a:pt x="2776" y="1427"/>
                </a:lnTo>
                <a:lnTo>
                  <a:pt x="2756" y="1420"/>
                </a:lnTo>
                <a:lnTo>
                  <a:pt x="2735" y="1411"/>
                </a:lnTo>
                <a:lnTo>
                  <a:pt x="2715" y="1402"/>
                </a:lnTo>
                <a:lnTo>
                  <a:pt x="2694" y="1393"/>
                </a:lnTo>
                <a:lnTo>
                  <a:pt x="0" y="0"/>
                </a:lnTo>
                <a:lnTo>
                  <a:pt x="2664" y="885"/>
                </a:lnTo>
                <a:lnTo>
                  <a:pt x="2688" y="893"/>
                </a:lnTo>
                <a:lnTo>
                  <a:pt x="2714" y="899"/>
                </a:lnTo>
                <a:lnTo>
                  <a:pt x="2740" y="905"/>
                </a:lnTo>
                <a:lnTo>
                  <a:pt x="2767" y="909"/>
                </a:lnTo>
                <a:lnTo>
                  <a:pt x="2792" y="911"/>
                </a:lnTo>
                <a:lnTo>
                  <a:pt x="2819" y="913"/>
                </a:lnTo>
                <a:lnTo>
                  <a:pt x="2846" y="913"/>
                </a:lnTo>
                <a:lnTo>
                  <a:pt x="2873" y="913"/>
                </a:lnTo>
                <a:lnTo>
                  <a:pt x="2900" y="910"/>
                </a:lnTo>
                <a:lnTo>
                  <a:pt x="2927" y="907"/>
                </a:lnTo>
                <a:lnTo>
                  <a:pt x="2953" y="901"/>
                </a:lnTo>
                <a:lnTo>
                  <a:pt x="2979" y="895"/>
                </a:lnTo>
                <a:lnTo>
                  <a:pt x="3004" y="887"/>
                </a:lnTo>
                <a:lnTo>
                  <a:pt x="3028" y="878"/>
                </a:lnTo>
                <a:lnTo>
                  <a:pt x="3051" y="866"/>
                </a:lnTo>
                <a:lnTo>
                  <a:pt x="3073" y="853"/>
                </a:lnTo>
                <a:lnTo>
                  <a:pt x="4268" y="95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6" name="Группа 15"/>
          <p:cNvGrpSpPr/>
          <p:nvPr userDrawn="1"/>
        </p:nvGrpSpPr>
        <p:grpSpPr>
          <a:xfrm>
            <a:off x="4459430" y="1936750"/>
            <a:ext cx="5446581" cy="4921250"/>
            <a:chOff x="4116388" y="1936750"/>
            <a:chExt cx="5027613" cy="4921250"/>
          </a:xfrm>
        </p:grpSpPr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6203950" y="1936750"/>
              <a:ext cx="1966913" cy="2646363"/>
            </a:xfrm>
            <a:custGeom>
              <a:avLst/>
              <a:gdLst>
                <a:gd name="T0" fmla="*/ 2936 w 3717"/>
                <a:gd name="T1" fmla="*/ 4866 h 5000"/>
                <a:gd name="T2" fmla="*/ 2932 w 3717"/>
                <a:gd name="T3" fmla="*/ 4886 h 5000"/>
                <a:gd name="T4" fmla="*/ 2924 w 3717"/>
                <a:gd name="T5" fmla="*/ 4905 h 5000"/>
                <a:gd name="T6" fmla="*/ 2915 w 3717"/>
                <a:gd name="T7" fmla="*/ 4922 h 5000"/>
                <a:gd name="T8" fmla="*/ 2905 w 3717"/>
                <a:gd name="T9" fmla="*/ 4938 h 5000"/>
                <a:gd name="T10" fmla="*/ 2893 w 3717"/>
                <a:gd name="T11" fmla="*/ 4952 h 5000"/>
                <a:gd name="T12" fmla="*/ 2879 w 3717"/>
                <a:gd name="T13" fmla="*/ 4964 h 5000"/>
                <a:gd name="T14" fmla="*/ 2847 w 3717"/>
                <a:gd name="T15" fmla="*/ 4983 h 5000"/>
                <a:gd name="T16" fmla="*/ 2811 w 3717"/>
                <a:gd name="T17" fmla="*/ 4996 h 5000"/>
                <a:gd name="T18" fmla="*/ 2773 w 3717"/>
                <a:gd name="T19" fmla="*/ 5000 h 5000"/>
                <a:gd name="T20" fmla="*/ 2733 w 3717"/>
                <a:gd name="T21" fmla="*/ 4998 h 5000"/>
                <a:gd name="T22" fmla="*/ 2693 w 3717"/>
                <a:gd name="T23" fmla="*/ 4987 h 5000"/>
                <a:gd name="T24" fmla="*/ 329 w 3717"/>
                <a:gd name="T25" fmla="*/ 4073 h 5000"/>
                <a:gd name="T26" fmla="*/ 279 w 3717"/>
                <a:gd name="T27" fmla="*/ 4049 h 5000"/>
                <a:gd name="T28" fmla="*/ 233 w 3717"/>
                <a:gd name="T29" fmla="*/ 4024 h 5000"/>
                <a:gd name="T30" fmla="*/ 192 w 3717"/>
                <a:gd name="T31" fmla="*/ 3996 h 5000"/>
                <a:gd name="T32" fmla="*/ 155 w 3717"/>
                <a:gd name="T33" fmla="*/ 3966 h 5000"/>
                <a:gd name="T34" fmla="*/ 122 w 3717"/>
                <a:gd name="T35" fmla="*/ 3934 h 5000"/>
                <a:gd name="T36" fmla="*/ 93 w 3717"/>
                <a:gd name="T37" fmla="*/ 3900 h 5000"/>
                <a:gd name="T38" fmla="*/ 70 w 3717"/>
                <a:gd name="T39" fmla="*/ 3865 h 5000"/>
                <a:gd name="T40" fmla="*/ 48 w 3717"/>
                <a:gd name="T41" fmla="*/ 3829 h 5000"/>
                <a:gd name="T42" fmla="*/ 32 w 3717"/>
                <a:gd name="T43" fmla="*/ 3790 h 5000"/>
                <a:gd name="T44" fmla="*/ 18 w 3717"/>
                <a:gd name="T45" fmla="*/ 3750 h 5000"/>
                <a:gd name="T46" fmla="*/ 8 w 3717"/>
                <a:gd name="T47" fmla="*/ 3710 h 5000"/>
                <a:gd name="T48" fmla="*/ 3 w 3717"/>
                <a:gd name="T49" fmla="*/ 3668 h 5000"/>
                <a:gd name="T50" fmla="*/ 0 w 3717"/>
                <a:gd name="T51" fmla="*/ 3625 h 5000"/>
                <a:gd name="T52" fmla="*/ 0 w 3717"/>
                <a:gd name="T53" fmla="*/ 3581 h 5000"/>
                <a:gd name="T54" fmla="*/ 5 w 3717"/>
                <a:gd name="T55" fmla="*/ 3537 h 5000"/>
                <a:gd name="T56" fmla="*/ 507 w 3717"/>
                <a:gd name="T57" fmla="*/ 523 h 5000"/>
                <a:gd name="T58" fmla="*/ 516 w 3717"/>
                <a:gd name="T59" fmla="*/ 479 h 5000"/>
                <a:gd name="T60" fmla="*/ 527 w 3717"/>
                <a:gd name="T61" fmla="*/ 437 h 5000"/>
                <a:gd name="T62" fmla="*/ 541 w 3717"/>
                <a:gd name="T63" fmla="*/ 396 h 5000"/>
                <a:gd name="T64" fmla="*/ 560 w 3717"/>
                <a:gd name="T65" fmla="*/ 357 h 5000"/>
                <a:gd name="T66" fmla="*/ 580 w 3717"/>
                <a:gd name="T67" fmla="*/ 320 h 5000"/>
                <a:gd name="T68" fmla="*/ 604 w 3717"/>
                <a:gd name="T69" fmla="*/ 286 h 5000"/>
                <a:gd name="T70" fmla="*/ 631 w 3717"/>
                <a:gd name="T71" fmla="*/ 254 h 5000"/>
                <a:gd name="T72" fmla="*/ 661 w 3717"/>
                <a:gd name="T73" fmla="*/ 224 h 5000"/>
                <a:gd name="T74" fmla="*/ 694 w 3717"/>
                <a:gd name="T75" fmla="*/ 198 h 5000"/>
                <a:gd name="T76" fmla="*/ 730 w 3717"/>
                <a:gd name="T77" fmla="*/ 173 h 5000"/>
                <a:gd name="T78" fmla="*/ 770 w 3717"/>
                <a:gd name="T79" fmla="*/ 153 h 5000"/>
                <a:gd name="T80" fmla="*/ 814 w 3717"/>
                <a:gd name="T81" fmla="*/ 135 h 5000"/>
                <a:gd name="T82" fmla="*/ 859 w 3717"/>
                <a:gd name="T83" fmla="*/ 121 h 5000"/>
                <a:gd name="T84" fmla="*/ 909 w 3717"/>
                <a:gd name="T85" fmla="*/ 109 h 5000"/>
                <a:gd name="T86" fmla="*/ 962 w 3717"/>
                <a:gd name="T87" fmla="*/ 101 h 5000"/>
                <a:gd name="T88" fmla="*/ 1019 w 3717"/>
                <a:gd name="T89" fmla="*/ 97 h 5000"/>
                <a:gd name="T90" fmla="*/ 3544 w 3717"/>
                <a:gd name="T91" fmla="*/ 0 h 5000"/>
                <a:gd name="T92" fmla="*/ 3584 w 3717"/>
                <a:gd name="T93" fmla="*/ 6 h 5000"/>
                <a:gd name="T94" fmla="*/ 3622 w 3717"/>
                <a:gd name="T95" fmla="*/ 20 h 5000"/>
                <a:gd name="T96" fmla="*/ 3654 w 3717"/>
                <a:gd name="T97" fmla="*/ 41 h 5000"/>
                <a:gd name="T98" fmla="*/ 3680 w 3717"/>
                <a:gd name="T99" fmla="*/ 67 h 5000"/>
                <a:gd name="T100" fmla="*/ 3696 w 3717"/>
                <a:gd name="T101" fmla="*/ 89 h 5000"/>
                <a:gd name="T102" fmla="*/ 3705 w 3717"/>
                <a:gd name="T103" fmla="*/ 106 h 5000"/>
                <a:gd name="T104" fmla="*/ 3710 w 3717"/>
                <a:gd name="T105" fmla="*/ 124 h 5000"/>
                <a:gd name="T106" fmla="*/ 3715 w 3717"/>
                <a:gd name="T107" fmla="*/ 142 h 5000"/>
                <a:gd name="T108" fmla="*/ 3717 w 3717"/>
                <a:gd name="T109" fmla="*/ 162 h 5000"/>
                <a:gd name="T110" fmla="*/ 3716 w 3717"/>
                <a:gd name="T111" fmla="*/ 182 h 5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717" h="5000">
                  <a:moveTo>
                    <a:pt x="3715" y="192"/>
                  </a:moveTo>
                  <a:lnTo>
                    <a:pt x="2936" y="4866"/>
                  </a:lnTo>
                  <a:lnTo>
                    <a:pt x="2934" y="4876"/>
                  </a:lnTo>
                  <a:lnTo>
                    <a:pt x="2932" y="4886"/>
                  </a:lnTo>
                  <a:lnTo>
                    <a:pt x="2928" y="4895"/>
                  </a:lnTo>
                  <a:lnTo>
                    <a:pt x="2924" y="4905"/>
                  </a:lnTo>
                  <a:lnTo>
                    <a:pt x="2921" y="4914"/>
                  </a:lnTo>
                  <a:lnTo>
                    <a:pt x="2915" y="4922"/>
                  </a:lnTo>
                  <a:lnTo>
                    <a:pt x="2911" y="4930"/>
                  </a:lnTo>
                  <a:lnTo>
                    <a:pt x="2905" y="4938"/>
                  </a:lnTo>
                  <a:lnTo>
                    <a:pt x="2899" y="4945"/>
                  </a:lnTo>
                  <a:lnTo>
                    <a:pt x="2893" y="4952"/>
                  </a:lnTo>
                  <a:lnTo>
                    <a:pt x="2886" y="4958"/>
                  </a:lnTo>
                  <a:lnTo>
                    <a:pt x="2879" y="4964"/>
                  </a:lnTo>
                  <a:lnTo>
                    <a:pt x="2863" y="4974"/>
                  </a:lnTo>
                  <a:lnTo>
                    <a:pt x="2847" y="4983"/>
                  </a:lnTo>
                  <a:lnTo>
                    <a:pt x="2829" y="4991"/>
                  </a:lnTo>
                  <a:lnTo>
                    <a:pt x="2811" y="4996"/>
                  </a:lnTo>
                  <a:lnTo>
                    <a:pt x="2792" y="4999"/>
                  </a:lnTo>
                  <a:lnTo>
                    <a:pt x="2773" y="5000"/>
                  </a:lnTo>
                  <a:lnTo>
                    <a:pt x="2752" y="5000"/>
                  </a:lnTo>
                  <a:lnTo>
                    <a:pt x="2733" y="4998"/>
                  </a:lnTo>
                  <a:lnTo>
                    <a:pt x="2713" y="4994"/>
                  </a:lnTo>
                  <a:lnTo>
                    <a:pt x="2693" y="4987"/>
                  </a:lnTo>
                  <a:lnTo>
                    <a:pt x="355" y="4083"/>
                  </a:lnTo>
                  <a:lnTo>
                    <a:pt x="329" y="4073"/>
                  </a:lnTo>
                  <a:lnTo>
                    <a:pt x="303" y="4061"/>
                  </a:lnTo>
                  <a:lnTo>
                    <a:pt x="279" y="4049"/>
                  </a:lnTo>
                  <a:lnTo>
                    <a:pt x="255" y="4037"/>
                  </a:lnTo>
                  <a:lnTo>
                    <a:pt x="233" y="4024"/>
                  </a:lnTo>
                  <a:lnTo>
                    <a:pt x="212" y="4010"/>
                  </a:lnTo>
                  <a:lnTo>
                    <a:pt x="192" y="3996"/>
                  </a:lnTo>
                  <a:lnTo>
                    <a:pt x="173" y="3981"/>
                  </a:lnTo>
                  <a:lnTo>
                    <a:pt x="155" y="3966"/>
                  </a:lnTo>
                  <a:lnTo>
                    <a:pt x="139" y="3951"/>
                  </a:lnTo>
                  <a:lnTo>
                    <a:pt x="122" y="3934"/>
                  </a:lnTo>
                  <a:lnTo>
                    <a:pt x="107" y="3917"/>
                  </a:lnTo>
                  <a:lnTo>
                    <a:pt x="93" y="3900"/>
                  </a:lnTo>
                  <a:lnTo>
                    <a:pt x="81" y="3883"/>
                  </a:lnTo>
                  <a:lnTo>
                    <a:pt x="70" y="3865"/>
                  </a:lnTo>
                  <a:lnTo>
                    <a:pt x="58" y="3847"/>
                  </a:lnTo>
                  <a:lnTo>
                    <a:pt x="48" y="3829"/>
                  </a:lnTo>
                  <a:lnTo>
                    <a:pt x="39" y="3809"/>
                  </a:lnTo>
                  <a:lnTo>
                    <a:pt x="32" y="3790"/>
                  </a:lnTo>
                  <a:lnTo>
                    <a:pt x="24" y="3770"/>
                  </a:lnTo>
                  <a:lnTo>
                    <a:pt x="18" y="3750"/>
                  </a:lnTo>
                  <a:lnTo>
                    <a:pt x="12" y="3730"/>
                  </a:lnTo>
                  <a:lnTo>
                    <a:pt x="8" y="3710"/>
                  </a:lnTo>
                  <a:lnTo>
                    <a:pt x="5" y="3688"/>
                  </a:lnTo>
                  <a:lnTo>
                    <a:pt x="3" y="3668"/>
                  </a:lnTo>
                  <a:lnTo>
                    <a:pt x="0" y="3646"/>
                  </a:lnTo>
                  <a:lnTo>
                    <a:pt x="0" y="3625"/>
                  </a:lnTo>
                  <a:lnTo>
                    <a:pt x="0" y="3603"/>
                  </a:lnTo>
                  <a:lnTo>
                    <a:pt x="0" y="3581"/>
                  </a:lnTo>
                  <a:lnTo>
                    <a:pt x="3" y="3559"/>
                  </a:lnTo>
                  <a:lnTo>
                    <a:pt x="5" y="3537"/>
                  </a:lnTo>
                  <a:lnTo>
                    <a:pt x="8" y="3514"/>
                  </a:lnTo>
                  <a:lnTo>
                    <a:pt x="507" y="523"/>
                  </a:lnTo>
                  <a:lnTo>
                    <a:pt x="510" y="501"/>
                  </a:lnTo>
                  <a:lnTo>
                    <a:pt x="516" y="479"/>
                  </a:lnTo>
                  <a:lnTo>
                    <a:pt x="521" y="457"/>
                  </a:lnTo>
                  <a:lnTo>
                    <a:pt x="527" y="437"/>
                  </a:lnTo>
                  <a:lnTo>
                    <a:pt x="534" y="416"/>
                  </a:lnTo>
                  <a:lnTo>
                    <a:pt x="541" y="396"/>
                  </a:lnTo>
                  <a:lnTo>
                    <a:pt x="550" y="376"/>
                  </a:lnTo>
                  <a:lnTo>
                    <a:pt x="560" y="357"/>
                  </a:lnTo>
                  <a:lnTo>
                    <a:pt x="570" y="339"/>
                  </a:lnTo>
                  <a:lnTo>
                    <a:pt x="580" y="320"/>
                  </a:lnTo>
                  <a:lnTo>
                    <a:pt x="592" y="303"/>
                  </a:lnTo>
                  <a:lnTo>
                    <a:pt x="604" y="286"/>
                  </a:lnTo>
                  <a:lnTo>
                    <a:pt x="617" y="270"/>
                  </a:lnTo>
                  <a:lnTo>
                    <a:pt x="631" y="254"/>
                  </a:lnTo>
                  <a:lnTo>
                    <a:pt x="646" y="239"/>
                  </a:lnTo>
                  <a:lnTo>
                    <a:pt x="661" y="224"/>
                  </a:lnTo>
                  <a:lnTo>
                    <a:pt x="678" y="211"/>
                  </a:lnTo>
                  <a:lnTo>
                    <a:pt x="694" y="198"/>
                  </a:lnTo>
                  <a:lnTo>
                    <a:pt x="712" y="185"/>
                  </a:lnTo>
                  <a:lnTo>
                    <a:pt x="730" y="173"/>
                  </a:lnTo>
                  <a:lnTo>
                    <a:pt x="750" y="163"/>
                  </a:lnTo>
                  <a:lnTo>
                    <a:pt x="770" y="153"/>
                  </a:lnTo>
                  <a:lnTo>
                    <a:pt x="791" y="143"/>
                  </a:lnTo>
                  <a:lnTo>
                    <a:pt x="814" y="135"/>
                  </a:lnTo>
                  <a:lnTo>
                    <a:pt x="836" y="127"/>
                  </a:lnTo>
                  <a:lnTo>
                    <a:pt x="859" y="121"/>
                  </a:lnTo>
                  <a:lnTo>
                    <a:pt x="884" y="114"/>
                  </a:lnTo>
                  <a:lnTo>
                    <a:pt x="909" y="109"/>
                  </a:lnTo>
                  <a:lnTo>
                    <a:pt x="936" y="104"/>
                  </a:lnTo>
                  <a:lnTo>
                    <a:pt x="962" y="101"/>
                  </a:lnTo>
                  <a:lnTo>
                    <a:pt x="990" y="99"/>
                  </a:lnTo>
                  <a:lnTo>
                    <a:pt x="1019" y="97"/>
                  </a:lnTo>
                  <a:lnTo>
                    <a:pt x="3523" y="0"/>
                  </a:lnTo>
                  <a:lnTo>
                    <a:pt x="3544" y="0"/>
                  </a:lnTo>
                  <a:lnTo>
                    <a:pt x="3564" y="2"/>
                  </a:lnTo>
                  <a:lnTo>
                    <a:pt x="3584" y="6"/>
                  </a:lnTo>
                  <a:lnTo>
                    <a:pt x="3603" y="13"/>
                  </a:lnTo>
                  <a:lnTo>
                    <a:pt x="3622" y="20"/>
                  </a:lnTo>
                  <a:lnTo>
                    <a:pt x="3638" y="30"/>
                  </a:lnTo>
                  <a:lnTo>
                    <a:pt x="3654" y="41"/>
                  </a:lnTo>
                  <a:lnTo>
                    <a:pt x="3668" y="53"/>
                  </a:lnTo>
                  <a:lnTo>
                    <a:pt x="3680" y="67"/>
                  </a:lnTo>
                  <a:lnTo>
                    <a:pt x="3692" y="82"/>
                  </a:lnTo>
                  <a:lnTo>
                    <a:pt x="3696" y="89"/>
                  </a:lnTo>
                  <a:lnTo>
                    <a:pt x="3700" y="98"/>
                  </a:lnTo>
                  <a:lnTo>
                    <a:pt x="3705" y="106"/>
                  </a:lnTo>
                  <a:lnTo>
                    <a:pt x="3708" y="115"/>
                  </a:lnTo>
                  <a:lnTo>
                    <a:pt x="3710" y="124"/>
                  </a:lnTo>
                  <a:lnTo>
                    <a:pt x="3713" y="132"/>
                  </a:lnTo>
                  <a:lnTo>
                    <a:pt x="3715" y="142"/>
                  </a:lnTo>
                  <a:lnTo>
                    <a:pt x="3716" y="152"/>
                  </a:lnTo>
                  <a:lnTo>
                    <a:pt x="3717" y="162"/>
                  </a:lnTo>
                  <a:lnTo>
                    <a:pt x="3717" y="171"/>
                  </a:lnTo>
                  <a:lnTo>
                    <a:pt x="3716" y="182"/>
                  </a:lnTo>
                  <a:lnTo>
                    <a:pt x="3715" y="192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8372475" y="3473450"/>
              <a:ext cx="771525" cy="1765300"/>
            </a:xfrm>
            <a:custGeom>
              <a:avLst/>
              <a:gdLst>
                <a:gd name="T0" fmla="*/ 1458 w 1458"/>
                <a:gd name="T1" fmla="*/ 3144 h 3336"/>
                <a:gd name="T2" fmla="*/ 190 w 1458"/>
                <a:gd name="T3" fmla="*/ 3335 h 3336"/>
                <a:gd name="T4" fmla="*/ 180 w 1458"/>
                <a:gd name="T5" fmla="*/ 3336 h 3336"/>
                <a:gd name="T6" fmla="*/ 170 w 1458"/>
                <a:gd name="T7" fmla="*/ 3336 h 3336"/>
                <a:gd name="T8" fmla="*/ 160 w 1458"/>
                <a:gd name="T9" fmla="*/ 3336 h 3336"/>
                <a:gd name="T10" fmla="*/ 150 w 1458"/>
                <a:gd name="T11" fmla="*/ 3336 h 3336"/>
                <a:gd name="T12" fmla="*/ 140 w 1458"/>
                <a:gd name="T13" fmla="*/ 3334 h 3336"/>
                <a:gd name="T14" fmla="*/ 131 w 1458"/>
                <a:gd name="T15" fmla="*/ 3333 h 3336"/>
                <a:gd name="T16" fmla="*/ 122 w 1458"/>
                <a:gd name="T17" fmla="*/ 3329 h 3336"/>
                <a:gd name="T18" fmla="*/ 112 w 1458"/>
                <a:gd name="T19" fmla="*/ 3327 h 3336"/>
                <a:gd name="T20" fmla="*/ 104 w 1458"/>
                <a:gd name="T21" fmla="*/ 3323 h 3336"/>
                <a:gd name="T22" fmla="*/ 96 w 1458"/>
                <a:gd name="T23" fmla="*/ 3320 h 3336"/>
                <a:gd name="T24" fmla="*/ 87 w 1458"/>
                <a:gd name="T25" fmla="*/ 3315 h 3336"/>
                <a:gd name="T26" fmla="*/ 80 w 1458"/>
                <a:gd name="T27" fmla="*/ 3310 h 3336"/>
                <a:gd name="T28" fmla="*/ 65 w 1458"/>
                <a:gd name="T29" fmla="*/ 3299 h 3336"/>
                <a:gd name="T30" fmla="*/ 52 w 1458"/>
                <a:gd name="T31" fmla="*/ 3286 h 3336"/>
                <a:gd name="T32" fmla="*/ 39 w 1458"/>
                <a:gd name="T33" fmla="*/ 3271 h 3336"/>
                <a:gd name="T34" fmla="*/ 28 w 1458"/>
                <a:gd name="T35" fmla="*/ 3256 h 3336"/>
                <a:gd name="T36" fmla="*/ 19 w 1458"/>
                <a:gd name="T37" fmla="*/ 3239 h 3336"/>
                <a:gd name="T38" fmla="*/ 12 w 1458"/>
                <a:gd name="T39" fmla="*/ 3220 h 3336"/>
                <a:gd name="T40" fmla="*/ 6 w 1458"/>
                <a:gd name="T41" fmla="*/ 3202 h 3336"/>
                <a:gd name="T42" fmla="*/ 2 w 1458"/>
                <a:gd name="T43" fmla="*/ 3181 h 3336"/>
                <a:gd name="T44" fmla="*/ 0 w 1458"/>
                <a:gd name="T45" fmla="*/ 3162 h 3336"/>
                <a:gd name="T46" fmla="*/ 0 w 1458"/>
                <a:gd name="T47" fmla="*/ 3140 h 3336"/>
                <a:gd name="T48" fmla="*/ 138 w 1458"/>
                <a:gd name="T49" fmla="*/ 638 h 3336"/>
                <a:gd name="T50" fmla="*/ 139 w 1458"/>
                <a:gd name="T51" fmla="*/ 609 h 3336"/>
                <a:gd name="T52" fmla="*/ 143 w 1458"/>
                <a:gd name="T53" fmla="*/ 582 h 3336"/>
                <a:gd name="T54" fmla="*/ 147 w 1458"/>
                <a:gd name="T55" fmla="*/ 555 h 3336"/>
                <a:gd name="T56" fmla="*/ 151 w 1458"/>
                <a:gd name="T57" fmla="*/ 529 h 3336"/>
                <a:gd name="T58" fmla="*/ 157 w 1458"/>
                <a:gd name="T59" fmla="*/ 504 h 3336"/>
                <a:gd name="T60" fmla="*/ 163 w 1458"/>
                <a:gd name="T61" fmla="*/ 480 h 3336"/>
                <a:gd name="T62" fmla="*/ 171 w 1458"/>
                <a:gd name="T63" fmla="*/ 456 h 3336"/>
                <a:gd name="T64" fmla="*/ 179 w 1458"/>
                <a:gd name="T65" fmla="*/ 433 h 3336"/>
                <a:gd name="T66" fmla="*/ 188 w 1458"/>
                <a:gd name="T67" fmla="*/ 412 h 3336"/>
                <a:gd name="T68" fmla="*/ 198 w 1458"/>
                <a:gd name="T69" fmla="*/ 391 h 3336"/>
                <a:gd name="T70" fmla="*/ 208 w 1458"/>
                <a:gd name="T71" fmla="*/ 371 h 3336"/>
                <a:gd name="T72" fmla="*/ 219 w 1458"/>
                <a:gd name="T73" fmla="*/ 351 h 3336"/>
                <a:gd name="T74" fmla="*/ 231 w 1458"/>
                <a:gd name="T75" fmla="*/ 333 h 3336"/>
                <a:gd name="T76" fmla="*/ 244 w 1458"/>
                <a:gd name="T77" fmla="*/ 316 h 3336"/>
                <a:gd name="T78" fmla="*/ 257 w 1458"/>
                <a:gd name="T79" fmla="*/ 299 h 3336"/>
                <a:gd name="T80" fmla="*/ 271 w 1458"/>
                <a:gd name="T81" fmla="*/ 283 h 3336"/>
                <a:gd name="T82" fmla="*/ 286 w 1458"/>
                <a:gd name="T83" fmla="*/ 268 h 3336"/>
                <a:gd name="T84" fmla="*/ 301 w 1458"/>
                <a:gd name="T85" fmla="*/ 253 h 3336"/>
                <a:gd name="T86" fmla="*/ 318 w 1458"/>
                <a:gd name="T87" fmla="*/ 240 h 3336"/>
                <a:gd name="T88" fmla="*/ 334 w 1458"/>
                <a:gd name="T89" fmla="*/ 227 h 3336"/>
                <a:gd name="T90" fmla="*/ 351 w 1458"/>
                <a:gd name="T91" fmla="*/ 215 h 3336"/>
                <a:gd name="T92" fmla="*/ 368 w 1458"/>
                <a:gd name="T93" fmla="*/ 203 h 3336"/>
                <a:gd name="T94" fmla="*/ 387 w 1458"/>
                <a:gd name="T95" fmla="*/ 194 h 3336"/>
                <a:gd name="T96" fmla="*/ 405 w 1458"/>
                <a:gd name="T97" fmla="*/ 184 h 3336"/>
                <a:gd name="T98" fmla="*/ 424 w 1458"/>
                <a:gd name="T99" fmla="*/ 174 h 3336"/>
                <a:gd name="T100" fmla="*/ 444 w 1458"/>
                <a:gd name="T101" fmla="*/ 167 h 3336"/>
                <a:gd name="T102" fmla="*/ 464 w 1458"/>
                <a:gd name="T103" fmla="*/ 159 h 3336"/>
                <a:gd name="T104" fmla="*/ 485 w 1458"/>
                <a:gd name="T105" fmla="*/ 153 h 3336"/>
                <a:gd name="T106" fmla="*/ 507 w 1458"/>
                <a:gd name="T107" fmla="*/ 146 h 3336"/>
                <a:gd name="T108" fmla="*/ 528 w 1458"/>
                <a:gd name="T109" fmla="*/ 141 h 3336"/>
                <a:gd name="T110" fmla="*/ 550 w 1458"/>
                <a:gd name="T111" fmla="*/ 136 h 3336"/>
                <a:gd name="T112" fmla="*/ 572 w 1458"/>
                <a:gd name="T113" fmla="*/ 133 h 3336"/>
                <a:gd name="T114" fmla="*/ 1458 w 1458"/>
                <a:gd name="T115" fmla="*/ 0 h 3336"/>
                <a:gd name="T116" fmla="*/ 1458 w 1458"/>
                <a:gd name="T117" fmla="*/ 3144 h 3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58" h="3336">
                  <a:moveTo>
                    <a:pt x="1458" y="3144"/>
                  </a:moveTo>
                  <a:lnTo>
                    <a:pt x="190" y="3335"/>
                  </a:lnTo>
                  <a:lnTo>
                    <a:pt x="180" y="3336"/>
                  </a:lnTo>
                  <a:lnTo>
                    <a:pt x="170" y="3336"/>
                  </a:lnTo>
                  <a:lnTo>
                    <a:pt x="160" y="3336"/>
                  </a:lnTo>
                  <a:lnTo>
                    <a:pt x="150" y="3336"/>
                  </a:lnTo>
                  <a:lnTo>
                    <a:pt x="140" y="3334"/>
                  </a:lnTo>
                  <a:lnTo>
                    <a:pt x="131" y="3333"/>
                  </a:lnTo>
                  <a:lnTo>
                    <a:pt x="122" y="3329"/>
                  </a:lnTo>
                  <a:lnTo>
                    <a:pt x="112" y="3327"/>
                  </a:lnTo>
                  <a:lnTo>
                    <a:pt x="104" y="3323"/>
                  </a:lnTo>
                  <a:lnTo>
                    <a:pt x="96" y="3320"/>
                  </a:lnTo>
                  <a:lnTo>
                    <a:pt x="87" y="3315"/>
                  </a:lnTo>
                  <a:lnTo>
                    <a:pt x="80" y="3310"/>
                  </a:lnTo>
                  <a:lnTo>
                    <a:pt x="65" y="3299"/>
                  </a:lnTo>
                  <a:lnTo>
                    <a:pt x="52" y="3286"/>
                  </a:lnTo>
                  <a:lnTo>
                    <a:pt x="39" y="3271"/>
                  </a:lnTo>
                  <a:lnTo>
                    <a:pt x="28" y="3256"/>
                  </a:lnTo>
                  <a:lnTo>
                    <a:pt x="19" y="3239"/>
                  </a:lnTo>
                  <a:lnTo>
                    <a:pt x="12" y="3220"/>
                  </a:lnTo>
                  <a:lnTo>
                    <a:pt x="6" y="3202"/>
                  </a:lnTo>
                  <a:lnTo>
                    <a:pt x="2" y="3181"/>
                  </a:lnTo>
                  <a:lnTo>
                    <a:pt x="0" y="3162"/>
                  </a:lnTo>
                  <a:lnTo>
                    <a:pt x="0" y="3140"/>
                  </a:lnTo>
                  <a:lnTo>
                    <a:pt x="138" y="638"/>
                  </a:lnTo>
                  <a:lnTo>
                    <a:pt x="139" y="609"/>
                  </a:lnTo>
                  <a:lnTo>
                    <a:pt x="143" y="582"/>
                  </a:lnTo>
                  <a:lnTo>
                    <a:pt x="147" y="555"/>
                  </a:lnTo>
                  <a:lnTo>
                    <a:pt x="151" y="529"/>
                  </a:lnTo>
                  <a:lnTo>
                    <a:pt x="157" y="504"/>
                  </a:lnTo>
                  <a:lnTo>
                    <a:pt x="163" y="480"/>
                  </a:lnTo>
                  <a:lnTo>
                    <a:pt x="171" y="456"/>
                  </a:lnTo>
                  <a:lnTo>
                    <a:pt x="179" y="433"/>
                  </a:lnTo>
                  <a:lnTo>
                    <a:pt x="188" y="412"/>
                  </a:lnTo>
                  <a:lnTo>
                    <a:pt x="198" y="391"/>
                  </a:lnTo>
                  <a:lnTo>
                    <a:pt x="208" y="371"/>
                  </a:lnTo>
                  <a:lnTo>
                    <a:pt x="219" y="351"/>
                  </a:lnTo>
                  <a:lnTo>
                    <a:pt x="231" y="333"/>
                  </a:lnTo>
                  <a:lnTo>
                    <a:pt x="244" y="316"/>
                  </a:lnTo>
                  <a:lnTo>
                    <a:pt x="257" y="299"/>
                  </a:lnTo>
                  <a:lnTo>
                    <a:pt x="271" y="283"/>
                  </a:lnTo>
                  <a:lnTo>
                    <a:pt x="286" y="268"/>
                  </a:lnTo>
                  <a:lnTo>
                    <a:pt x="301" y="253"/>
                  </a:lnTo>
                  <a:lnTo>
                    <a:pt x="318" y="240"/>
                  </a:lnTo>
                  <a:lnTo>
                    <a:pt x="334" y="227"/>
                  </a:lnTo>
                  <a:lnTo>
                    <a:pt x="351" y="215"/>
                  </a:lnTo>
                  <a:lnTo>
                    <a:pt x="368" y="203"/>
                  </a:lnTo>
                  <a:lnTo>
                    <a:pt x="387" y="194"/>
                  </a:lnTo>
                  <a:lnTo>
                    <a:pt x="405" y="184"/>
                  </a:lnTo>
                  <a:lnTo>
                    <a:pt x="424" y="174"/>
                  </a:lnTo>
                  <a:lnTo>
                    <a:pt x="444" y="167"/>
                  </a:lnTo>
                  <a:lnTo>
                    <a:pt x="464" y="159"/>
                  </a:lnTo>
                  <a:lnTo>
                    <a:pt x="485" y="153"/>
                  </a:lnTo>
                  <a:lnTo>
                    <a:pt x="507" y="146"/>
                  </a:lnTo>
                  <a:lnTo>
                    <a:pt x="528" y="141"/>
                  </a:lnTo>
                  <a:lnTo>
                    <a:pt x="550" y="136"/>
                  </a:lnTo>
                  <a:lnTo>
                    <a:pt x="572" y="133"/>
                  </a:lnTo>
                  <a:lnTo>
                    <a:pt x="1458" y="0"/>
                  </a:lnTo>
                  <a:lnTo>
                    <a:pt x="1458" y="3144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7999413" y="5721350"/>
              <a:ext cx="1144588" cy="1136650"/>
            </a:xfrm>
            <a:custGeom>
              <a:avLst/>
              <a:gdLst>
                <a:gd name="T0" fmla="*/ 705 w 2162"/>
                <a:gd name="T1" fmla="*/ 2147 h 2147"/>
                <a:gd name="T2" fmla="*/ 17 w 2162"/>
                <a:gd name="T3" fmla="*/ 792 h 2147"/>
                <a:gd name="T4" fmla="*/ 13 w 2162"/>
                <a:gd name="T5" fmla="*/ 782 h 2147"/>
                <a:gd name="T6" fmla="*/ 8 w 2162"/>
                <a:gd name="T7" fmla="*/ 773 h 2147"/>
                <a:gd name="T8" fmla="*/ 5 w 2162"/>
                <a:gd name="T9" fmla="*/ 764 h 2147"/>
                <a:gd name="T10" fmla="*/ 3 w 2162"/>
                <a:gd name="T11" fmla="*/ 754 h 2147"/>
                <a:gd name="T12" fmla="*/ 1 w 2162"/>
                <a:gd name="T13" fmla="*/ 744 h 2147"/>
                <a:gd name="T14" fmla="*/ 0 w 2162"/>
                <a:gd name="T15" fmla="*/ 735 h 2147"/>
                <a:gd name="T16" fmla="*/ 0 w 2162"/>
                <a:gd name="T17" fmla="*/ 726 h 2147"/>
                <a:gd name="T18" fmla="*/ 0 w 2162"/>
                <a:gd name="T19" fmla="*/ 716 h 2147"/>
                <a:gd name="T20" fmla="*/ 0 w 2162"/>
                <a:gd name="T21" fmla="*/ 707 h 2147"/>
                <a:gd name="T22" fmla="*/ 1 w 2162"/>
                <a:gd name="T23" fmla="*/ 698 h 2147"/>
                <a:gd name="T24" fmla="*/ 3 w 2162"/>
                <a:gd name="T25" fmla="*/ 688 h 2147"/>
                <a:gd name="T26" fmla="*/ 5 w 2162"/>
                <a:gd name="T27" fmla="*/ 680 h 2147"/>
                <a:gd name="T28" fmla="*/ 12 w 2162"/>
                <a:gd name="T29" fmla="*/ 662 h 2147"/>
                <a:gd name="T30" fmla="*/ 19 w 2162"/>
                <a:gd name="T31" fmla="*/ 645 h 2147"/>
                <a:gd name="T32" fmla="*/ 29 w 2162"/>
                <a:gd name="T33" fmla="*/ 629 h 2147"/>
                <a:gd name="T34" fmla="*/ 41 w 2162"/>
                <a:gd name="T35" fmla="*/ 614 h 2147"/>
                <a:gd name="T36" fmla="*/ 54 w 2162"/>
                <a:gd name="T37" fmla="*/ 600 h 2147"/>
                <a:gd name="T38" fmla="*/ 69 w 2162"/>
                <a:gd name="T39" fmla="*/ 587 h 2147"/>
                <a:gd name="T40" fmla="*/ 85 w 2162"/>
                <a:gd name="T41" fmla="*/ 576 h 2147"/>
                <a:gd name="T42" fmla="*/ 102 w 2162"/>
                <a:gd name="T43" fmla="*/ 565 h 2147"/>
                <a:gd name="T44" fmla="*/ 121 w 2162"/>
                <a:gd name="T45" fmla="*/ 558 h 2147"/>
                <a:gd name="T46" fmla="*/ 141 w 2162"/>
                <a:gd name="T47" fmla="*/ 551 h 2147"/>
                <a:gd name="T48" fmla="*/ 2162 w 2162"/>
                <a:gd name="T49" fmla="*/ 0 h 2147"/>
                <a:gd name="T50" fmla="*/ 2162 w 2162"/>
                <a:gd name="T51" fmla="*/ 2147 h 2147"/>
                <a:gd name="T52" fmla="*/ 705 w 2162"/>
                <a:gd name="T53" fmla="*/ 2147 h 2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162" h="2147">
                  <a:moveTo>
                    <a:pt x="705" y="2147"/>
                  </a:moveTo>
                  <a:lnTo>
                    <a:pt x="17" y="792"/>
                  </a:lnTo>
                  <a:lnTo>
                    <a:pt x="13" y="782"/>
                  </a:lnTo>
                  <a:lnTo>
                    <a:pt x="8" y="773"/>
                  </a:lnTo>
                  <a:lnTo>
                    <a:pt x="5" y="764"/>
                  </a:lnTo>
                  <a:lnTo>
                    <a:pt x="3" y="754"/>
                  </a:lnTo>
                  <a:lnTo>
                    <a:pt x="1" y="744"/>
                  </a:lnTo>
                  <a:lnTo>
                    <a:pt x="0" y="735"/>
                  </a:lnTo>
                  <a:lnTo>
                    <a:pt x="0" y="726"/>
                  </a:lnTo>
                  <a:lnTo>
                    <a:pt x="0" y="716"/>
                  </a:lnTo>
                  <a:lnTo>
                    <a:pt x="0" y="707"/>
                  </a:lnTo>
                  <a:lnTo>
                    <a:pt x="1" y="698"/>
                  </a:lnTo>
                  <a:lnTo>
                    <a:pt x="3" y="688"/>
                  </a:lnTo>
                  <a:lnTo>
                    <a:pt x="5" y="680"/>
                  </a:lnTo>
                  <a:lnTo>
                    <a:pt x="12" y="662"/>
                  </a:lnTo>
                  <a:lnTo>
                    <a:pt x="19" y="645"/>
                  </a:lnTo>
                  <a:lnTo>
                    <a:pt x="29" y="629"/>
                  </a:lnTo>
                  <a:lnTo>
                    <a:pt x="41" y="614"/>
                  </a:lnTo>
                  <a:lnTo>
                    <a:pt x="54" y="600"/>
                  </a:lnTo>
                  <a:lnTo>
                    <a:pt x="69" y="587"/>
                  </a:lnTo>
                  <a:lnTo>
                    <a:pt x="85" y="576"/>
                  </a:lnTo>
                  <a:lnTo>
                    <a:pt x="102" y="565"/>
                  </a:lnTo>
                  <a:lnTo>
                    <a:pt x="121" y="558"/>
                  </a:lnTo>
                  <a:lnTo>
                    <a:pt x="141" y="551"/>
                  </a:lnTo>
                  <a:lnTo>
                    <a:pt x="2162" y="0"/>
                  </a:lnTo>
                  <a:lnTo>
                    <a:pt x="2162" y="2147"/>
                  </a:lnTo>
                  <a:lnTo>
                    <a:pt x="705" y="2147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2" name="Freeform 11"/>
            <p:cNvSpPr>
              <a:spLocks/>
            </p:cNvSpPr>
            <p:nvPr userDrawn="1"/>
          </p:nvSpPr>
          <p:spPr bwMode="auto">
            <a:xfrm>
              <a:off x="6105525" y="5953125"/>
              <a:ext cx="1589088" cy="904875"/>
            </a:xfrm>
            <a:custGeom>
              <a:avLst/>
              <a:gdLst>
                <a:gd name="T0" fmla="*/ 0 w 3003"/>
                <a:gd name="T1" fmla="*/ 1709 h 1709"/>
                <a:gd name="T2" fmla="*/ 1688 w 3003"/>
                <a:gd name="T3" fmla="*/ 45 h 1709"/>
                <a:gd name="T4" fmla="*/ 1695 w 3003"/>
                <a:gd name="T5" fmla="*/ 39 h 1709"/>
                <a:gd name="T6" fmla="*/ 1704 w 3003"/>
                <a:gd name="T7" fmla="*/ 32 h 1709"/>
                <a:gd name="T8" fmla="*/ 1711 w 3003"/>
                <a:gd name="T9" fmla="*/ 26 h 1709"/>
                <a:gd name="T10" fmla="*/ 1720 w 3003"/>
                <a:gd name="T11" fmla="*/ 20 h 1709"/>
                <a:gd name="T12" fmla="*/ 1729 w 3003"/>
                <a:gd name="T13" fmla="*/ 16 h 1709"/>
                <a:gd name="T14" fmla="*/ 1737 w 3003"/>
                <a:gd name="T15" fmla="*/ 12 h 1709"/>
                <a:gd name="T16" fmla="*/ 1746 w 3003"/>
                <a:gd name="T17" fmla="*/ 8 h 1709"/>
                <a:gd name="T18" fmla="*/ 1755 w 3003"/>
                <a:gd name="T19" fmla="*/ 6 h 1709"/>
                <a:gd name="T20" fmla="*/ 1764 w 3003"/>
                <a:gd name="T21" fmla="*/ 3 h 1709"/>
                <a:gd name="T22" fmla="*/ 1773 w 3003"/>
                <a:gd name="T23" fmla="*/ 2 h 1709"/>
                <a:gd name="T24" fmla="*/ 1783 w 3003"/>
                <a:gd name="T25" fmla="*/ 1 h 1709"/>
                <a:gd name="T26" fmla="*/ 1791 w 3003"/>
                <a:gd name="T27" fmla="*/ 0 h 1709"/>
                <a:gd name="T28" fmla="*/ 1811 w 3003"/>
                <a:gd name="T29" fmla="*/ 0 h 1709"/>
                <a:gd name="T30" fmla="*/ 1829 w 3003"/>
                <a:gd name="T31" fmla="*/ 3 h 1709"/>
                <a:gd name="T32" fmla="*/ 1847 w 3003"/>
                <a:gd name="T33" fmla="*/ 7 h 1709"/>
                <a:gd name="T34" fmla="*/ 1865 w 3003"/>
                <a:gd name="T35" fmla="*/ 14 h 1709"/>
                <a:gd name="T36" fmla="*/ 1882 w 3003"/>
                <a:gd name="T37" fmla="*/ 22 h 1709"/>
                <a:gd name="T38" fmla="*/ 1899 w 3003"/>
                <a:gd name="T39" fmla="*/ 32 h 1709"/>
                <a:gd name="T40" fmla="*/ 1914 w 3003"/>
                <a:gd name="T41" fmla="*/ 44 h 1709"/>
                <a:gd name="T42" fmla="*/ 1930 w 3003"/>
                <a:gd name="T43" fmla="*/ 58 h 1709"/>
                <a:gd name="T44" fmla="*/ 1944 w 3003"/>
                <a:gd name="T45" fmla="*/ 73 h 1709"/>
                <a:gd name="T46" fmla="*/ 1955 w 3003"/>
                <a:gd name="T47" fmla="*/ 90 h 1709"/>
                <a:gd name="T48" fmla="*/ 3003 w 3003"/>
                <a:gd name="T49" fmla="*/ 1709 h 1709"/>
                <a:gd name="T50" fmla="*/ 0 w 3003"/>
                <a:gd name="T51" fmla="*/ 1709 h 1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03" h="1709">
                  <a:moveTo>
                    <a:pt x="0" y="1709"/>
                  </a:moveTo>
                  <a:lnTo>
                    <a:pt x="1688" y="45"/>
                  </a:lnTo>
                  <a:lnTo>
                    <a:pt x="1695" y="39"/>
                  </a:lnTo>
                  <a:lnTo>
                    <a:pt x="1704" y="32"/>
                  </a:lnTo>
                  <a:lnTo>
                    <a:pt x="1711" y="26"/>
                  </a:lnTo>
                  <a:lnTo>
                    <a:pt x="1720" y="20"/>
                  </a:lnTo>
                  <a:lnTo>
                    <a:pt x="1729" y="16"/>
                  </a:lnTo>
                  <a:lnTo>
                    <a:pt x="1737" y="12"/>
                  </a:lnTo>
                  <a:lnTo>
                    <a:pt x="1746" y="8"/>
                  </a:lnTo>
                  <a:lnTo>
                    <a:pt x="1755" y="6"/>
                  </a:lnTo>
                  <a:lnTo>
                    <a:pt x="1764" y="3"/>
                  </a:lnTo>
                  <a:lnTo>
                    <a:pt x="1773" y="2"/>
                  </a:lnTo>
                  <a:lnTo>
                    <a:pt x="1783" y="1"/>
                  </a:lnTo>
                  <a:lnTo>
                    <a:pt x="1791" y="0"/>
                  </a:lnTo>
                  <a:lnTo>
                    <a:pt x="1811" y="0"/>
                  </a:lnTo>
                  <a:lnTo>
                    <a:pt x="1829" y="3"/>
                  </a:lnTo>
                  <a:lnTo>
                    <a:pt x="1847" y="7"/>
                  </a:lnTo>
                  <a:lnTo>
                    <a:pt x="1865" y="14"/>
                  </a:lnTo>
                  <a:lnTo>
                    <a:pt x="1882" y="22"/>
                  </a:lnTo>
                  <a:lnTo>
                    <a:pt x="1899" y="32"/>
                  </a:lnTo>
                  <a:lnTo>
                    <a:pt x="1914" y="44"/>
                  </a:lnTo>
                  <a:lnTo>
                    <a:pt x="1930" y="58"/>
                  </a:lnTo>
                  <a:lnTo>
                    <a:pt x="1944" y="73"/>
                  </a:lnTo>
                  <a:lnTo>
                    <a:pt x="1955" y="90"/>
                  </a:lnTo>
                  <a:lnTo>
                    <a:pt x="3003" y="1709"/>
                  </a:lnTo>
                  <a:lnTo>
                    <a:pt x="0" y="1709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4" name="Freeform 13"/>
            <p:cNvSpPr>
              <a:spLocks/>
            </p:cNvSpPr>
            <p:nvPr userDrawn="1"/>
          </p:nvSpPr>
          <p:spPr bwMode="auto">
            <a:xfrm>
              <a:off x="4116388" y="3810000"/>
              <a:ext cx="2773363" cy="2447925"/>
            </a:xfrm>
            <a:custGeom>
              <a:avLst/>
              <a:gdLst>
                <a:gd name="T0" fmla="*/ 5156 w 5241"/>
                <a:gd name="T1" fmla="*/ 2193 h 4627"/>
                <a:gd name="T2" fmla="*/ 5173 w 5241"/>
                <a:gd name="T3" fmla="*/ 2204 h 4627"/>
                <a:gd name="T4" fmla="*/ 5190 w 5241"/>
                <a:gd name="T5" fmla="*/ 2216 h 4627"/>
                <a:gd name="T6" fmla="*/ 5203 w 5241"/>
                <a:gd name="T7" fmla="*/ 2230 h 4627"/>
                <a:gd name="T8" fmla="*/ 5214 w 5241"/>
                <a:gd name="T9" fmla="*/ 2244 h 4627"/>
                <a:gd name="T10" fmla="*/ 5224 w 5241"/>
                <a:gd name="T11" fmla="*/ 2260 h 4627"/>
                <a:gd name="T12" fmla="*/ 5232 w 5241"/>
                <a:gd name="T13" fmla="*/ 2278 h 4627"/>
                <a:gd name="T14" fmla="*/ 5240 w 5241"/>
                <a:gd name="T15" fmla="*/ 2314 h 4627"/>
                <a:gd name="T16" fmla="*/ 5241 w 5241"/>
                <a:gd name="T17" fmla="*/ 2352 h 4627"/>
                <a:gd name="T18" fmla="*/ 5234 w 5241"/>
                <a:gd name="T19" fmla="*/ 2390 h 4627"/>
                <a:gd name="T20" fmla="*/ 5219 w 5241"/>
                <a:gd name="T21" fmla="*/ 2427 h 4627"/>
                <a:gd name="T22" fmla="*/ 5196 w 5241"/>
                <a:gd name="T23" fmla="*/ 2461 h 4627"/>
                <a:gd name="T24" fmla="*/ 3600 w 5241"/>
                <a:gd name="T25" fmla="*/ 4431 h 4627"/>
                <a:gd name="T26" fmla="*/ 3563 w 5241"/>
                <a:gd name="T27" fmla="*/ 4471 h 4627"/>
                <a:gd name="T28" fmla="*/ 3524 w 5241"/>
                <a:gd name="T29" fmla="*/ 4506 h 4627"/>
                <a:gd name="T30" fmla="*/ 3485 w 5241"/>
                <a:gd name="T31" fmla="*/ 4537 h 4627"/>
                <a:gd name="T32" fmla="*/ 3445 w 5241"/>
                <a:gd name="T33" fmla="*/ 4562 h 4627"/>
                <a:gd name="T34" fmla="*/ 3405 w 5241"/>
                <a:gd name="T35" fmla="*/ 4584 h 4627"/>
                <a:gd name="T36" fmla="*/ 3364 w 5241"/>
                <a:gd name="T37" fmla="*/ 4601 h 4627"/>
                <a:gd name="T38" fmla="*/ 3323 w 5241"/>
                <a:gd name="T39" fmla="*/ 4614 h 4627"/>
                <a:gd name="T40" fmla="*/ 3281 w 5241"/>
                <a:gd name="T41" fmla="*/ 4623 h 4627"/>
                <a:gd name="T42" fmla="*/ 3240 w 5241"/>
                <a:gd name="T43" fmla="*/ 4627 h 4627"/>
                <a:gd name="T44" fmla="*/ 3198 w 5241"/>
                <a:gd name="T45" fmla="*/ 4627 h 4627"/>
                <a:gd name="T46" fmla="*/ 3157 w 5241"/>
                <a:gd name="T47" fmla="*/ 4624 h 4627"/>
                <a:gd name="T48" fmla="*/ 3115 w 5241"/>
                <a:gd name="T49" fmla="*/ 4616 h 4627"/>
                <a:gd name="T50" fmla="*/ 3073 w 5241"/>
                <a:gd name="T51" fmla="*/ 4606 h 4627"/>
                <a:gd name="T52" fmla="*/ 3032 w 5241"/>
                <a:gd name="T53" fmla="*/ 4592 h 4627"/>
                <a:gd name="T54" fmla="*/ 2991 w 5241"/>
                <a:gd name="T55" fmla="*/ 4574 h 4627"/>
                <a:gd name="T56" fmla="*/ 277 w 5241"/>
                <a:gd name="T57" fmla="*/ 3172 h 4627"/>
                <a:gd name="T58" fmla="*/ 237 w 5241"/>
                <a:gd name="T59" fmla="*/ 3150 h 4627"/>
                <a:gd name="T60" fmla="*/ 200 w 5241"/>
                <a:gd name="T61" fmla="*/ 3125 h 4627"/>
                <a:gd name="T62" fmla="*/ 166 w 5241"/>
                <a:gd name="T63" fmla="*/ 3099 h 4627"/>
                <a:gd name="T64" fmla="*/ 134 w 5241"/>
                <a:gd name="T65" fmla="*/ 3070 h 4627"/>
                <a:gd name="T66" fmla="*/ 106 w 5241"/>
                <a:gd name="T67" fmla="*/ 3039 h 4627"/>
                <a:gd name="T68" fmla="*/ 81 w 5241"/>
                <a:gd name="T69" fmla="*/ 3006 h 4627"/>
                <a:gd name="T70" fmla="*/ 58 w 5241"/>
                <a:gd name="T71" fmla="*/ 2971 h 4627"/>
                <a:gd name="T72" fmla="*/ 40 w 5241"/>
                <a:gd name="T73" fmla="*/ 2933 h 4627"/>
                <a:gd name="T74" fmla="*/ 24 w 5241"/>
                <a:gd name="T75" fmla="*/ 2893 h 4627"/>
                <a:gd name="T76" fmla="*/ 13 w 5241"/>
                <a:gd name="T77" fmla="*/ 2851 h 4627"/>
                <a:gd name="T78" fmla="*/ 4 w 5241"/>
                <a:gd name="T79" fmla="*/ 2807 h 4627"/>
                <a:gd name="T80" fmla="*/ 1 w 5241"/>
                <a:gd name="T81" fmla="*/ 2761 h 4627"/>
                <a:gd name="T82" fmla="*/ 1 w 5241"/>
                <a:gd name="T83" fmla="*/ 2713 h 4627"/>
                <a:gd name="T84" fmla="*/ 6 w 5241"/>
                <a:gd name="T85" fmla="*/ 2662 h 4627"/>
                <a:gd name="T86" fmla="*/ 14 w 5241"/>
                <a:gd name="T87" fmla="*/ 2609 h 4627"/>
                <a:gd name="T88" fmla="*/ 28 w 5241"/>
                <a:gd name="T89" fmla="*/ 2554 h 4627"/>
                <a:gd name="T90" fmla="*/ 711 w 5241"/>
                <a:gd name="T91" fmla="*/ 121 h 4627"/>
                <a:gd name="T92" fmla="*/ 729 w 5241"/>
                <a:gd name="T93" fmla="*/ 84 h 4627"/>
                <a:gd name="T94" fmla="*/ 753 w 5241"/>
                <a:gd name="T95" fmla="*/ 54 h 4627"/>
                <a:gd name="T96" fmla="*/ 782 w 5241"/>
                <a:gd name="T97" fmla="*/ 29 h 4627"/>
                <a:gd name="T98" fmla="*/ 816 w 5241"/>
                <a:gd name="T99" fmla="*/ 11 h 4627"/>
                <a:gd name="T100" fmla="*/ 843 w 5241"/>
                <a:gd name="T101" fmla="*/ 3 h 4627"/>
                <a:gd name="T102" fmla="*/ 861 w 5241"/>
                <a:gd name="T103" fmla="*/ 1 h 4627"/>
                <a:gd name="T104" fmla="*/ 879 w 5241"/>
                <a:gd name="T105" fmla="*/ 0 h 4627"/>
                <a:gd name="T106" fmla="*/ 899 w 5241"/>
                <a:gd name="T107" fmla="*/ 2 h 4627"/>
                <a:gd name="T108" fmla="*/ 917 w 5241"/>
                <a:gd name="T109" fmla="*/ 7 h 4627"/>
                <a:gd name="T110" fmla="*/ 937 w 5241"/>
                <a:gd name="T111" fmla="*/ 13 h 4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241" h="4627">
                  <a:moveTo>
                    <a:pt x="946" y="19"/>
                  </a:moveTo>
                  <a:lnTo>
                    <a:pt x="5156" y="2193"/>
                  </a:lnTo>
                  <a:lnTo>
                    <a:pt x="5165" y="2199"/>
                  </a:lnTo>
                  <a:lnTo>
                    <a:pt x="5173" y="2204"/>
                  </a:lnTo>
                  <a:lnTo>
                    <a:pt x="5182" y="2210"/>
                  </a:lnTo>
                  <a:lnTo>
                    <a:pt x="5190" y="2216"/>
                  </a:lnTo>
                  <a:lnTo>
                    <a:pt x="5196" y="2223"/>
                  </a:lnTo>
                  <a:lnTo>
                    <a:pt x="5203" y="2230"/>
                  </a:lnTo>
                  <a:lnTo>
                    <a:pt x="5209" y="2237"/>
                  </a:lnTo>
                  <a:lnTo>
                    <a:pt x="5214" y="2244"/>
                  </a:lnTo>
                  <a:lnTo>
                    <a:pt x="5220" y="2253"/>
                  </a:lnTo>
                  <a:lnTo>
                    <a:pt x="5224" y="2260"/>
                  </a:lnTo>
                  <a:lnTo>
                    <a:pt x="5228" y="2269"/>
                  </a:lnTo>
                  <a:lnTo>
                    <a:pt x="5232" y="2278"/>
                  </a:lnTo>
                  <a:lnTo>
                    <a:pt x="5237" y="2296"/>
                  </a:lnTo>
                  <a:lnTo>
                    <a:pt x="5240" y="2314"/>
                  </a:lnTo>
                  <a:lnTo>
                    <a:pt x="5241" y="2333"/>
                  </a:lnTo>
                  <a:lnTo>
                    <a:pt x="5241" y="2352"/>
                  </a:lnTo>
                  <a:lnTo>
                    <a:pt x="5238" y="2370"/>
                  </a:lnTo>
                  <a:lnTo>
                    <a:pt x="5234" y="2390"/>
                  </a:lnTo>
                  <a:lnTo>
                    <a:pt x="5227" y="2408"/>
                  </a:lnTo>
                  <a:lnTo>
                    <a:pt x="5219" y="2427"/>
                  </a:lnTo>
                  <a:lnTo>
                    <a:pt x="5209" y="2445"/>
                  </a:lnTo>
                  <a:lnTo>
                    <a:pt x="5196" y="2461"/>
                  </a:lnTo>
                  <a:lnTo>
                    <a:pt x="3619" y="4409"/>
                  </a:lnTo>
                  <a:lnTo>
                    <a:pt x="3600" y="4431"/>
                  </a:lnTo>
                  <a:lnTo>
                    <a:pt x="3581" y="4451"/>
                  </a:lnTo>
                  <a:lnTo>
                    <a:pt x="3563" y="4471"/>
                  </a:lnTo>
                  <a:lnTo>
                    <a:pt x="3544" y="4489"/>
                  </a:lnTo>
                  <a:lnTo>
                    <a:pt x="3524" y="4506"/>
                  </a:lnTo>
                  <a:lnTo>
                    <a:pt x="3505" y="4523"/>
                  </a:lnTo>
                  <a:lnTo>
                    <a:pt x="3485" y="4537"/>
                  </a:lnTo>
                  <a:lnTo>
                    <a:pt x="3466" y="4551"/>
                  </a:lnTo>
                  <a:lnTo>
                    <a:pt x="3445" y="4562"/>
                  </a:lnTo>
                  <a:lnTo>
                    <a:pt x="3426" y="4574"/>
                  </a:lnTo>
                  <a:lnTo>
                    <a:pt x="3405" y="4584"/>
                  </a:lnTo>
                  <a:lnTo>
                    <a:pt x="3385" y="4594"/>
                  </a:lnTo>
                  <a:lnTo>
                    <a:pt x="3364" y="4601"/>
                  </a:lnTo>
                  <a:lnTo>
                    <a:pt x="3344" y="4608"/>
                  </a:lnTo>
                  <a:lnTo>
                    <a:pt x="3323" y="4614"/>
                  </a:lnTo>
                  <a:lnTo>
                    <a:pt x="3303" y="4619"/>
                  </a:lnTo>
                  <a:lnTo>
                    <a:pt x="3281" y="4623"/>
                  </a:lnTo>
                  <a:lnTo>
                    <a:pt x="3261" y="4625"/>
                  </a:lnTo>
                  <a:lnTo>
                    <a:pt x="3240" y="4627"/>
                  </a:lnTo>
                  <a:lnTo>
                    <a:pt x="3220" y="4627"/>
                  </a:lnTo>
                  <a:lnTo>
                    <a:pt x="3198" y="4627"/>
                  </a:lnTo>
                  <a:lnTo>
                    <a:pt x="3178" y="4626"/>
                  </a:lnTo>
                  <a:lnTo>
                    <a:pt x="3157" y="4624"/>
                  </a:lnTo>
                  <a:lnTo>
                    <a:pt x="3135" y="4621"/>
                  </a:lnTo>
                  <a:lnTo>
                    <a:pt x="3115" y="4616"/>
                  </a:lnTo>
                  <a:lnTo>
                    <a:pt x="3094" y="4612"/>
                  </a:lnTo>
                  <a:lnTo>
                    <a:pt x="3073" y="4606"/>
                  </a:lnTo>
                  <a:lnTo>
                    <a:pt x="3052" y="4599"/>
                  </a:lnTo>
                  <a:lnTo>
                    <a:pt x="3032" y="4592"/>
                  </a:lnTo>
                  <a:lnTo>
                    <a:pt x="3011" y="4583"/>
                  </a:lnTo>
                  <a:lnTo>
                    <a:pt x="2991" y="4574"/>
                  </a:lnTo>
                  <a:lnTo>
                    <a:pt x="2970" y="4564"/>
                  </a:lnTo>
                  <a:lnTo>
                    <a:pt x="277" y="3172"/>
                  </a:lnTo>
                  <a:lnTo>
                    <a:pt x="256" y="3161"/>
                  </a:lnTo>
                  <a:lnTo>
                    <a:pt x="237" y="3150"/>
                  </a:lnTo>
                  <a:lnTo>
                    <a:pt x="218" y="3138"/>
                  </a:lnTo>
                  <a:lnTo>
                    <a:pt x="200" y="3125"/>
                  </a:lnTo>
                  <a:lnTo>
                    <a:pt x="183" y="3112"/>
                  </a:lnTo>
                  <a:lnTo>
                    <a:pt x="166" y="3099"/>
                  </a:lnTo>
                  <a:lnTo>
                    <a:pt x="150" y="3085"/>
                  </a:lnTo>
                  <a:lnTo>
                    <a:pt x="134" y="3070"/>
                  </a:lnTo>
                  <a:lnTo>
                    <a:pt x="120" y="3055"/>
                  </a:lnTo>
                  <a:lnTo>
                    <a:pt x="106" y="3039"/>
                  </a:lnTo>
                  <a:lnTo>
                    <a:pt x="93" y="3023"/>
                  </a:lnTo>
                  <a:lnTo>
                    <a:pt x="81" y="3006"/>
                  </a:lnTo>
                  <a:lnTo>
                    <a:pt x="69" y="2989"/>
                  </a:lnTo>
                  <a:lnTo>
                    <a:pt x="58" y="2971"/>
                  </a:lnTo>
                  <a:lnTo>
                    <a:pt x="49" y="2952"/>
                  </a:lnTo>
                  <a:lnTo>
                    <a:pt x="40" y="2933"/>
                  </a:lnTo>
                  <a:lnTo>
                    <a:pt x="31" y="2914"/>
                  </a:lnTo>
                  <a:lnTo>
                    <a:pt x="24" y="2893"/>
                  </a:lnTo>
                  <a:lnTo>
                    <a:pt x="17" y="2873"/>
                  </a:lnTo>
                  <a:lnTo>
                    <a:pt x="13" y="2851"/>
                  </a:lnTo>
                  <a:lnTo>
                    <a:pt x="8" y="2829"/>
                  </a:lnTo>
                  <a:lnTo>
                    <a:pt x="4" y="2807"/>
                  </a:lnTo>
                  <a:lnTo>
                    <a:pt x="2" y="2784"/>
                  </a:lnTo>
                  <a:lnTo>
                    <a:pt x="1" y="2761"/>
                  </a:lnTo>
                  <a:lnTo>
                    <a:pt x="0" y="2737"/>
                  </a:lnTo>
                  <a:lnTo>
                    <a:pt x="1" y="2713"/>
                  </a:lnTo>
                  <a:lnTo>
                    <a:pt x="2" y="2687"/>
                  </a:lnTo>
                  <a:lnTo>
                    <a:pt x="6" y="2662"/>
                  </a:lnTo>
                  <a:lnTo>
                    <a:pt x="10" y="2635"/>
                  </a:lnTo>
                  <a:lnTo>
                    <a:pt x="14" y="2609"/>
                  </a:lnTo>
                  <a:lnTo>
                    <a:pt x="21" y="2582"/>
                  </a:lnTo>
                  <a:lnTo>
                    <a:pt x="28" y="2554"/>
                  </a:lnTo>
                  <a:lnTo>
                    <a:pt x="704" y="141"/>
                  </a:lnTo>
                  <a:lnTo>
                    <a:pt x="711" y="121"/>
                  </a:lnTo>
                  <a:lnTo>
                    <a:pt x="718" y="102"/>
                  </a:lnTo>
                  <a:lnTo>
                    <a:pt x="729" y="84"/>
                  </a:lnTo>
                  <a:lnTo>
                    <a:pt x="740" y="68"/>
                  </a:lnTo>
                  <a:lnTo>
                    <a:pt x="753" y="54"/>
                  </a:lnTo>
                  <a:lnTo>
                    <a:pt x="767" y="40"/>
                  </a:lnTo>
                  <a:lnTo>
                    <a:pt x="782" y="29"/>
                  </a:lnTo>
                  <a:lnTo>
                    <a:pt x="798" y="20"/>
                  </a:lnTo>
                  <a:lnTo>
                    <a:pt x="816" y="11"/>
                  </a:lnTo>
                  <a:lnTo>
                    <a:pt x="833" y="6"/>
                  </a:lnTo>
                  <a:lnTo>
                    <a:pt x="843" y="3"/>
                  </a:lnTo>
                  <a:lnTo>
                    <a:pt x="851" y="2"/>
                  </a:lnTo>
                  <a:lnTo>
                    <a:pt x="861" y="1"/>
                  </a:lnTo>
                  <a:lnTo>
                    <a:pt x="871" y="0"/>
                  </a:lnTo>
                  <a:lnTo>
                    <a:pt x="879" y="0"/>
                  </a:lnTo>
                  <a:lnTo>
                    <a:pt x="889" y="1"/>
                  </a:lnTo>
                  <a:lnTo>
                    <a:pt x="899" y="2"/>
                  </a:lnTo>
                  <a:lnTo>
                    <a:pt x="908" y="5"/>
                  </a:lnTo>
                  <a:lnTo>
                    <a:pt x="917" y="7"/>
                  </a:lnTo>
                  <a:lnTo>
                    <a:pt x="927" y="10"/>
                  </a:lnTo>
                  <a:lnTo>
                    <a:pt x="937" y="13"/>
                  </a:lnTo>
                  <a:lnTo>
                    <a:pt x="946" y="19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  <p:grpSp>
        <p:nvGrpSpPr>
          <p:cNvPr id="20" name="Группа 19"/>
          <p:cNvGrpSpPr/>
          <p:nvPr userDrawn="1"/>
        </p:nvGrpSpPr>
        <p:grpSpPr>
          <a:xfrm>
            <a:off x="531416" y="487363"/>
            <a:ext cx="2332038" cy="455612"/>
            <a:chOff x="490538" y="487363"/>
            <a:chExt cx="2152650" cy="455612"/>
          </a:xfrm>
        </p:grpSpPr>
        <p:sp>
          <p:nvSpPr>
            <p:cNvPr id="21" name="Freeform 5"/>
            <p:cNvSpPr>
              <a:spLocks noEditPoints="1"/>
            </p:cNvSpPr>
            <p:nvPr userDrawn="1"/>
          </p:nvSpPr>
          <p:spPr bwMode="auto">
            <a:xfrm>
              <a:off x="1144588" y="590550"/>
              <a:ext cx="1498600" cy="247650"/>
            </a:xfrm>
            <a:custGeom>
              <a:avLst/>
              <a:gdLst>
                <a:gd name="T0" fmla="*/ 2465 w 11327"/>
                <a:gd name="T1" fmla="*/ 803 h 1868"/>
                <a:gd name="T2" fmla="*/ 2667 w 11327"/>
                <a:gd name="T3" fmla="*/ 466 h 1868"/>
                <a:gd name="T4" fmla="*/ 3049 w 11327"/>
                <a:gd name="T5" fmla="*/ 345 h 1868"/>
                <a:gd name="T6" fmla="*/ 3430 w 11327"/>
                <a:gd name="T7" fmla="*/ 466 h 1868"/>
                <a:gd name="T8" fmla="*/ 3632 w 11327"/>
                <a:gd name="T9" fmla="*/ 803 h 1868"/>
                <a:gd name="T10" fmla="*/ 3574 w 11327"/>
                <a:gd name="T11" fmla="*/ 1233 h 1868"/>
                <a:gd name="T12" fmla="*/ 3284 w 11327"/>
                <a:gd name="T13" fmla="*/ 1483 h 1868"/>
                <a:gd name="T14" fmla="*/ 2870 w 11327"/>
                <a:gd name="T15" fmla="*/ 1500 h 1868"/>
                <a:gd name="T16" fmla="*/ 2553 w 11327"/>
                <a:gd name="T17" fmla="*/ 1281 h 1868"/>
                <a:gd name="T18" fmla="*/ 4046 w 11327"/>
                <a:gd name="T19" fmla="*/ 882 h 1868"/>
                <a:gd name="T20" fmla="*/ 3784 w 11327"/>
                <a:gd name="T21" fmla="*/ 289 h 1868"/>
                <a:gd name="T22" fmla="*/ 3199 w 11327"/>
                <a:gd name="T23" fmla="*/ 10 h 1868"/>
                <a:gd name="T24" fmla="*/ 2536 w 11327"/>
                <a:gd name="T25" fmla="*/ 125 h 1868"/>
                <a:gd name="T26" fmla="*/ 2113 w 11327"/>
                <a:gd name="T27" fmla="*/ 595 h 1868"/>
                <a:gd name="T28" fmla="*/ 2113 w 11327"/>
                <a:gd name="T29" fmla="*/ 1273 h 1868"/>
                <a:gd name="T30" fmla="*/ 2536 w 11327"/>
                <a:gd name="T31" fmla="*/ 1743 h 1868"/>
                <a:gd name="T32" fmla="*/ 3199 w 11327"/>
                <a:gd name="T33" fmla="*/ 1858 h 1868"/>
                <a:gd name="T34" fmla="*/ 3784 w 11327"/>
                <a:gd name="T35" fmla="*/ 1579 h 1868"/>
                <a:gd name="T36" fmla="*/ 4046 w 11327"/>
                <a:gd name="T37" fmla="*/ 985 h 1868"/>
                <a:gd name="T38" fmla="*/ 4444 w 11327"/>
                <a:gd name="T39" fmla="*/ 1443 h 1868"/>
                <a:gd name="T40" fmla="*/ 4540 w 11327"/>
                <a:gd name="T41" fmla="*/ 1808 h 1868"/>
                <a:gd name="T42" fmla="*/ 4811 w 11327"/>
                <a:gd name="T43" fmla="*/ 1650 h 1868"/>
                <a:gd name="T44" fmla="*/ 5796 w 11327"/>
                <a:gd name="T45" fmla="*/ 403 h 1868"/>
                <a:gd name="T46" fmla="*/ 7304 w 11327"/>
                <a:gd name="T47" fmla="*/ 1292 h 1868"/>
                <a:gd name="T48" fmla="*/ 7673 w 11327"/>
                <a:gd name="T49" fmla="*/ 1730 h 1868"/>
                <a:gd name="T50" fmla="*/ 8267 w 11327"/>
                <a:gd name="T51" fmla="*/ 1867 h 1868"/>
                <a:gd name="T52" fmla="*/ 8871 w 11327"/>
                <a:gd name="T53" fmla="*/ 1653 h 1868"/>
                <a:gd name="T54" fmla="*/ 9178 w 11327"/>
                <a:gd name="T55" fmla="*/ 1094 h 1868"/>
                <a:gd name="T56" fmla="*/ 9049 w 11327"/>
                <a:gd name="T57" fmla="*/ 414 h 1868"/>
                <a:gd name="T58" fmla="*/ 8552 w 11327"/>
                <a:gd name="T59" fmla="*/ 48 h 1868"/>
                <a:gd name="T60" fmla="*/ 7924 w 11327"/>
                <a:gd name="T61" fmla="*/ 36 h 1868"/>
                <a:gd name="T62" fmla="*/ 7459 w 11327"/>
                <a:gd name="T63" fmla="*/ 313 h 1868"/>
                <a:gd name="T64" fmla="*/ 6585 w 11327"/>
                <a:gd name="T65" fmla="*/ 42 h 1868"/>
                <a:gd name="T66" fmla="*/ 7740 w 11327"/>
                <a:gd name="T67" fmla="*/ 563 h 1868"/>
                <a:gd name="T68" fmla="*/ 8053 w 11327"/>
                <a:gd name="T69" fmla="*/ 361 h 1868"/>
                <a:gd name="T70" fmla="*/ 8492 w 11327"/>
                <a:gd name="T71" fmla="*/ 396 h 1868"/>
                <a:gd name="T72" fmla="*/ 8744 w 11327"/>
                <a:gd name="T73" fmla="*/ 660 h 1868"/>
                <a:gd name="T74" fmla="*/ 8775 w 11327"/>
                <a:gd name="T75" fmla="*/ 1095 h 1868"/>
                <a:gd name="T76" fmla="*/ 8585 w 11327"/>
                <a:gd name="T77" fmla="*/ 1418 h 1868"/>
                <a:gd name="T78" fmla="*/ 8182 w 11327"/>
                <a:gd name="T79" fmla="*/ 1522 h 1868"/>
                <a:gd name="T80" fmla="*/ 7807 w 11327"/>
                <a:gd name="T81" fmla="*/ 1385 h 1868"/>
                <a:gd name="T82" fmla="*/ 7649 w 11327"/>
                <a:gd name="T83" fmla="*/ 1033 h 1868"/>
                <a:gd name="T84" fmla="*/ 11121 w 11327"/>
                <a:gd name="T85" fmla="*/ 228 h 1868"/>
                <a:gd name="T86" fmla="*/ 10716 w 11327"/>
                <a:gd name="T87" fmla="*/ 30 h 1868"/>
                <a:gd name="T88" fmla="*/ 10126 w 11327"/>
                <a:gd name="T89" fmla="*/ 37 h 1868"/>
                <a:gd name="T90" fmla="*/ 9598 w 11327"/>
                <a:gd name="T91" fmla="*/ 385 h 1868"/>
                <a:gd name="T92" fmla="*/ 9435 w 11327"/>
                <a:gd name="T93" fmla="*/ 1039 h 1868"/>
                <a:gd name="T94" fmla="*/ 9714 w 11327"/>
                <a:gd name="T95" fmla="*/ 1617 h 1868"/>
                <a:gd name="T96" fmla="*/ 10320 w 11327"/>
                <a:gd name="T97" fmla="*/ 1863 h 1868"/>
                <a:gd name="T98" fmla="*/ 10845 w 11327"/>
                <a:gd name="T99" fmla="*/ 1799 h 1868"/>
                <a:gd name="T100" fmla="*/ 11211 w 11327"/>
                <a:gd name="T101" fmla="*/ 1551 h 1868"/>
                <a:gd name="T102" fmla="*/ 10919 w 11327"/>
                <a:gd name="T103" fmla="*/ 1325 h 1868"/>
                <a:gd name="T104" fmla="*/ 10676 w 11327"/>
                <a:gd name="T105" fmla="*/ 1473 h 1868"/>
                <a:gd name="T106" fmla="*/ 10324 w 11327"/>
                <a:gd name="T107" fmla="*/ 1504 h 1868"/>
                <a:gd name="T108" fmla="*/ 9975 w 11327"/>
                <a:gd name="T109" fmla="*/ 1332 h 1868"/>
                <a:gd name="T110" fmla="*/ 9831 w 11327"/>
                <a:gd name="T111" fmla="*/ 966 h 1868"/>
                <a:gd name="T112" fmla="*/ 9938 w 11327"/>
                <a:gd name="T113" fmla="*/ 575 h 1868"/>
                <a:gd name="T114" fmla="*/ 10261 w 11327"/>
                <a:gd name="T115" fmla="*/ 373 h 1868"/>
                <a:gd name="T116" fmla="*/ 10634 w 11327"/>
                <a:gd name="T117" fmla="*/ 382 h 1868"/>
                <a:gd name="T118" fmla="*/ 10890 w 11327"/>
                <a:gd name="T119" fmla="*/ 515 h 1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27" h="1868">
                  <a:moveTo>
                    <a:pt x="0" y="42"/>
                  </a:moveTo>
                  <a:lnTo>
                    <a:pt x="0" y="1822"/>
                  </a:lnTo>
                  <a:lnTo>
                    <a:pt x="399" y="1822"/>
                  </a:lnTo>
                  <a:lnTo>
                    <a:pt x="399" y="400"/>
                  </a:lnTo>
                  <a:lnTo>
                    <a:pt x="1352" y="400"/>
                  </a:lnTo>
                  <a:lnTo>
                    <a:pt x="1352" y="1822"/>
                  </a:lnTo>
                  <a:lnTo>
                    <a:pt x="1755" y="1822"/>
                  </a:lnTo>
                  <a:lnTo>
                    <a:pt x="1755" y="42"/>
                  </a:lnTo>
                  <a:lnTo>
                    <a:pt x="0" y="42"/>
                  </a:lnTo>
                  <a:close/>
                  <a:moveTo>
                    <a:pt x="2454" y="933"/>
                  </a:moveTo>
                  <a:lnTo>
                    <a:pt x="2454" y="900"/>
                  </a:lnTo>
                  <a:lnTo>
                    <a:pt x="2457" y="866"/>
                  </a:lnTo>
                  <a:lnTo>
                    <a:pt x="2460" y="835"/>
                  </a:lnTo>
                  <a:lnTo>
                    <a:pt x="2465" y="803"/>
                  </a:lnTo>
                  <a:lnTo>
                    <a:pt x="2472" y="773"/>
                  </a:lnTo>
                  <a:lnTo>
                    <a:pt x="2480" y="743"/>
                  </a:lnTo>
                  <a:lnTo>
                    <a:pt x="2489" y="715"/>
                  </a:lnTo>
                  <a:lnTo>
                    <a:pt x="2499" y="686"/>
                  </a:lnTo>
                  <a:lnTo>
                    <a:pt x="2511" y="660"/>
                  </a:lnTo>
                  <a:lnTo>
                    <a:pt x="2524" y="634"/>
                  </a:lnTo>
                  <a:lnTo>
                    <a:pt x="2538" y="610"/>
                  </a:lnTo>
                  <a:lnTo>
                    <a:pt x="2553" y="586"/>
                  </a:lnTo>
                  <a:lnTo>
                    <a:pt x="2570" y="563"/>
                  </a:lnTo>
                  <a:lnTo>
                    <a:pt x="2588" y="542"/>
                  </a:lnTo>
                  <a:lnTo>
                    <a:pt x="2606" y="521"/>
                  </a:lnTo>
                  <a:lnTo>
                    <a:pt x="2626" y="501"/>
                  </a:lnTo>
                  <a:lnTo>
                    <a:pt x="2646" y="483"/>
                  </a:lnTo>
                  <a:lnTo>
                    <a:pt x="2667" y="466"/>
                  </a:lnTo>
                  <a:lnTo>
                    <a:pt x="2691" y="449"/>
                  </a:lnTo>
                  <a:lnTo>
                    <a:pt x="2713" y="434"/>
                  </a:lnTo>
                  <a:lnTo>
                    <a:pt x="2737" y="420"/>
                  </a:lnTo>
                  <a:lnTo>
                    <a:pt x="2763" y="408"/>
                  </a:lnTo>
                  <a:lnTo>
                    <a:pt x="2788" y="396"/>
                  </a:lnTo>
                  <a:lnTo>
                    <a:pt x="2815" y="385"/>
                  </a:lnTo>
                  <a:lnTo>
                    <a:pt x="2842" y="375"/>
                  </a:lnTo>
                  <a:lnTo>
                    <a:pt x="2870" y="367"/>
                  </a:lnTo>
                  <a:lnTo>
                    <a:pt x="2898" y="361"/>
                  </a:lnTo>
                  <a:lnTo>
                    <a:pt x="2928" y="355"/>
                  </a:lnTo>
                  <a:lnTo>
                    <a:pt x="2957" y="351"/>
                  </a:lnTo>
                  <a:lnTo>
                    <a:pt x="2988" y="347"/>
                  </a:lnTo>
                  <a:lnTo>
                    <a:pt x="3018" y="345"/>
                  </a:lnTo>
                  <a:lnTo>
                    <a:pt x="3049" y="345"/>
                  </a:lnTo>
                  <a:lnTo>
                    <a:pt x="3080" y="345"/>
                  </a:lnTo>
                  <a:lnTo>
                    <a:pt x="3111" y="347"/>
                  </a:lnTo>
                  <a:lnTo>
                    <a:pt x="3141" y="351"/>
                  </a:lnTo>
                  <a:lnTo>
                    <a:pt x="3171" y="355"/>
                  </a:lnTo>
                  <a:lnTo>
                    <a:pt x="3200" y="361"/>
                  </a:lnTo>
                  <a:lnTo>
                    <a:pt x="3229" y="367"/>
                  </a:lnTo>
                  <a:lnTo>
                    <a:pt x="3256" y="375"/>
                  </a:lnTo>
                  <a:lnTo>
                    <a:pt x="3284" y="385"/>
                  </a:lnTo>
                  <a:lnTo>
                    <a:pt x="3310" y="396"/>
                  </a:lnTo>
                  <a:lnTo>
                    <a:pt x="3335" y="408"/>
                  </a:lnTo>
                  <a:lnTo>
                    <a:pt x="3361" y="420"/>
                  </a:lnTo>
                  <a:lnTo>
                    <a:pt x="3384" y="434"/>
                  </a:lnTo>
                  <a:lnTo>
                    <a:pt x="3408" y="449"/>
                  </a:lnTo>
                  <a:lnTo>
                    <a:pt x="3430" y="466"/>
                  </a:lnTo>
                  <a:lnTo>
                    <a:pt x="3452" y="483"/>
                  </a:lnTo>
                  <a:lnTo>
                    <a:pt x="3473" y="501"/>
                  </a:lnTo>
                  <a:lnTo>
                    <a:pt x="3492" y="521"/>
                  </a:lnTo>
                  <a:lnTo>
                    <a:pt x="3510" y="542"/>
                  </a:lnTo>
                  <a:lnTo>
                    <a:pt x="3528" y="563"/>
                  </a:lnTo>
                  <a:lnTo>
                    <a:pt x="3545" y="586"/>
                  </a:lnTo>
                  <a:lnTo>
                    <a:pt x="3560" y="610"/>
                  </a:lnTo>
                  <a:lnTo>
                    <a:pt x="3574" y="634"/>
                  </a:lnTo>
                  <a:lnTo>
                    <a:pt x="3587" y="660"/>
                  </a:lnTo>
                  <a:lnTo>
                    <a:pt x="3599" y="686"/>
                  </a:lnTo>
                  <a:lnTo>
                    <a:pt x="3609" y="715"/>
                  </a:lnTo>
                  <a:lnTo>
                    <a:pt x="3618" y="743"/>
                  </a:lnTo>
                  <a:lnTo>
                    <a:pt x="3626" y="773"/>
                  </a:lnTo>
                  <a:lnTo>
                    <a:pt x="3632" y="803"/>
                  </a:lnTo>
                  <a:lnTo>
                    <a:pt x="3637" y="835"/>
                  </a:lnTo>
                  <a:lnTo>
                    <a:pt x="3642" y="866"/>
                  </a:lnTo>
                  <a:lnTo>
                    <a:pt x="3644" y="900"/>
                  </a:lnTo>
                  <a:lnTo>
                    <a:pt x="3645" y="933"/>
                  </a:lnTo>
                  <a:lnTo>
                    <a:pt x="3644" y="968"/>
                  </a:lnTo>
                  <a:lnTo>
                    <a:pt x="3642" y="1001"/>
                  </a:lnTo>
                  <a:lnTo>
                    <a:pt x="3637" y="1033"/>
                  </a:lnTo>
                  <a:lnTo>
                    <a:pt x="3632" y="1065"/>
                  </a:lnTo>
                  <a:lnTo>
                    <a:pt x="3626" y="1095"/>
                  </a:lnTo>
                  <a:lnTo>
                    <a:pt x="3618" y="1125"/>
                  </a:lnTo>
                  <a:lnTo>
                    <a:pt x="3609" y="1153"/>
                  </a:lnTo>
                  <a:lnTo>
                    <a:pt x="3599" y="1181"/>
                  </a:lnTo>
                  <a:lnTo>
                    <a:pt x="3587" y="1207"/>
                  </a:lnTo>
                  <a:lnTo>
                    <a:pt x="3574" y="1233"/>
                  </a:lnTo>
                  <a:lnTo>
                    <a:pt x="3560" y="1258"/>
                  </a:lnTo>
                  <a:lnTo>
                    <a:pt x="3545" y="1281"/>
                  </a:lnTo>
                  <a:lnTo>
                    <a:pt x="3528" y="1305"/>
                  </a:lnTo>
                  <a:lnTo>
                    <a:pt x="3510" y="1326"/>
                  </a:lnTo>
                  <a:lnTo>
                    <a:pt x="3492" y="1346"/>
                  </a:lnTo>
                  <a:lnTo>
                    <a:pt x="3473" y="1366"/>
                  </a:lnTo>
                  <a:lnTo>
                    <a:pt x="3452" y="1385"/>
                  </a:lnTo>
                  <a:lnTo>
                    <a:pt x="3430" y="1402"/>
                  </a:lnTo>
                  <a:lnTo>
                    <a:pt x="3408" y="1418"/>
                  </a:lnTo>
                  <a:lnTo>
                    <a:pt x="3384" y="1434"/>
                  </a:lnTo>
                  <a:lnTo>
                    <a:pt x="3361" y="1447"/>
                  </a:lnTo>
                  <a:lnTo>
                    <a:pt x="3335" y="1460"/>
                  </a:lnTo>
                  <a:lnTo>
                    <a:pt x="3310" y="1472"/>
                  </a:lnTo>
                  <a:lnTo>
                    <a:pt x="3284" y="1483"/>
                  </a:lnTo>
                  <a:lnTo>
                    <a:pt x="3256" y="1492"/>
                  </a:lnTo>
                  <a:lnTo>
                    <a:pt x="3229" y="1500"/>
                  </a:lnTo>
                  <a:lnTo>
                    <a:pt x="3200" y="1507"/>
                  </a:lnTo>
                  <a:lnTo>
                    <a:pt x="3171" y="1513"/>
                  </a:lnTo>
                  <a:lnTo>
                    <a:pt x="3141" y="1517"/>
                  </a:lnTo>
                  <a:lnTo>
                    <a:pt x="3111" y="1520"/>
                  </a:lnTo>
                  <a:lnTo>
                    <a:pt x="3080" y="1522"/>
                  </a:lnTo>
                  <a:lnTo>
                    <a:pt x="3049" y="1523"/>
                  </a:lnTo>
                  <a:lnTo>
                    <a:pt x="3018" y="1522"/>
                  </a:lnTo>
                  <a:lnTo>
                    <a:pt x="2988" y="1520"/>
                  </a:lnTo>
                  <a:lnTo>
                    <a:pt x="2957" y="1517"/>
                  </a:lnTo>
                  <a:lnTo>
                    <a:pt x="2928" y="1513"/>
                  </a:lnTo>
                  <a:lnTo>
                    <a:pt x="2898" y="1507"/>
                  </a:lnTo>
                  <a:lnTo>
                    <a:pt x="2870" y="1500"/>
                  </a:lnTo>
                  <a:lnTo>
                    <a:pt x="2842" y="1492"/>
                  </a:lnTo>
                  <a:lnTo>
                    <a:pt x="2815" y="1483"/>
                  </a:lnTo>
                  <a:lnTo>
                    <a:pt x="2788" y="1472"/>
                  </a:lnTo>
                  <a:lnTo>
                    <a:pt x="2763" y="1460"/>
                  </a:lnTo>
                  <a:lnTo>
                    <a:pt x="2737" y="1447"/>
                  </a:lnTo>
                  <a:lnTo>
                    <a:pt x="2713" y="1434"/>
                  </a:lnTo>
                  <a:lnTo>
                    <a:pt x="2691" y="1418"/>
                  </a:lnTo>
                  <a:lnTo>
                    <a:pt x="2667" y="1402"/>
                  </a:lnTo>
                  <a:lnTo>
                    <a:pt x="2646" y="1385"/>
                  </a:lnTo>
                  <a:lnTo>
                    <a:pt x="2626" y="1366"/>
                  </a:lnTo>
                  <a:lnTo>
                    <a:pt x="2606" y="1346"/>
                  </a:lnTo>
                  <a:lnTo>
                    <a:pt x="2588" y="1326"/>
                  </a:lnTo>
                  <a:lnTo>
                    <a:pt x="2570" y="1305"/>
                  </a:lnTo>
                  <a:lnTo>
                    <a:pt x="2553" y="1281"/>
                  </a:lnTo>
                  <a:lnTo>
                    <a:pt x="2538" y="1258"/>
                  </a:lnTo>
                  <a:lnTo>
                    <a:pt x="2524" y="1233"/>
                  </a:lnTo>
                  <a:lnTo>
                    <a:pt x="2511" y="1207"/>
                  </a:lnTo>
                  <a:lnTo>
                    <a:pt x="2499" y="1181"/>
                  </a:lnTo>
                  <a:lnTo>
                    <a:pt x="2489" y="1153"/>
                  </a:lnTo>
                  <a:lnTo>
                    <a:pt x="2480" y="1125"/>
                  </a:lnTo>
                  <a:lnTo>
                    <a:pt x="2472" y="1095"/>
                  </a:lnTo>
                  <a:lnTo>
                    <a:pt x="2465" y="1065"/>
                  </a:lnTo>
                  <a:lnTo>
                    <a:pt x="2460" y="1033"/>
                  </a:lnTo>
                  <a:lnTo>
                    <a:pt x="2457" y="1001"/>
                  </a:lnTo>
                  <a:lnTo>
                    <a:pt x="2454" y="968"/>
                  </a:lnTo>
                  <a:lnTo>
                    <a:pt x="2454" y="933"/>
                  </a:lnTo>
                  <a:close/>
                  <a:moveTo>
                    <a:pt x="4047" y="933"/>
                  </a:moveTo>
                  <a:lnTo>
                    <a:pt x="4046" y="882"/>
                  </a:lnTo>
                  <a:lnTo>
                    <a:pt x="4042" y="831"/>
                  </a:lnTo>
                  <a:lnTo>
                    <a:pt x="4035" y="781"/>
                  </a:lnTo>
                  <a:lnTo>
                    <a:pt x="4026" y="733"/>
                  </a:lnTo>
                  <a:lnTo>
                    <a:pt x="4015" y="685"/>
                  </a:lnTo>
                  <a:lnTo>
                    <a:pt x="4002" y="640"/>
                  </a:lnTo>
                  <a:lnTo>
                    <a:pt x="3985" y="595"/>
                  </a:lnTo>
                  <a:lnTo>
                    <a:pt x="3967" y="551"/>
                  </a:lnTo>
                  <a:lnTo>
                    <a:pt x="3947" y="509"/>
                  </a:lnTo>
                  <a:lnTo>
                    <a:pt x="3924" y="469"/>
                  </a:lnTo>
                  <a:lnTo>
                    <a:pt x="3900" y="430"/>
                  </a:lnTo>
                  <a:lnTo>
                    <a:pt x="3874" y="392"/>
                  </a:lnTo>
                  <a:lnTo>
                    <a:pt x="3846" y="356"/>
                  </a:lnTo>
                  <a:lnTo>
                    <a:pt x="3815" y="321"/>
                  </a:lnTo>
                  <a:lnTo>
                    <a:pt x="3784" y="289"/>
                  </a:lnTo>
                  <a:lnTo>
                    <a:pt x="3751" y="257"/>
                  </a:lnTo>
                  <a:lnTo>
                    <a:pt x="3716" y="227"/>
                  </a:lnTo>
                  <a:lnTo>
                    <a:pt x="3679" y="199"/>
                  </a:lnTo>
                  <a:lnTo>
                    <a:pt x="3642" y="173"/>
                  </a:lnTo>
                  <a:lnTo>
                    <a:pt x="3603" y="147"/>
                  </a:lnTo>
                  <a:lnTo>
                    <a:pt x="3562" y="125"/>
                  </a:lnTo>
                  <a:lnTo>
                    <a:pt x="3521" y="104"/>
                  </a:lnTo>
                  <a:lnTo>
                    <a:pt x="3477" y="84"/>
                  </a:lnTo>
                  <a:lnTo>
                    <a:pt x="3433" y="67"/>
                  </a:lnTo>
                  <a:lnTo>
                    <a:pt x="3388" y="52"/>
                  </a:lnTo>
                  <a:lnTo>
                    <a:pt x="3342" y="39"/>
                  </a:lnTo>
                  <a:lnTo>
                    <a:pt x="3295" y="26"/>
                  </a:lnTo>
                  <a:lnTo>
                    <a:pt x="3247" y="17"/>
                  </a:lnTo>
                  <a:lnTo>
                    <a:pt x="3199" y="10"/>
                  </a:lnTo>
                  <a:lnTo>
                    <a:pt x="3149" y="4"/>
                  </a:lnTo>
                  <a:lnTo>
                    <a:pt x="3099" y="1"/>
                  </a:lnTo>
                  <a:lnTo>
                    <a:pt x="3049" y="0"/>
                  </a:lnTo>
                  <a:lnTo>
                    <a:pt x="2999" y="1"/>
                  </a:lnTo>
                  <a:lnTo>
                    <a:pt x="2949" y="4"/>
                  </a:lnTo>
                  <a:lnTo>
                    <a:pt x="2899" y="10"/>
                  </a:lnTo>
                  <a:lnTo>
                    <a:pt x="2851" y="17"/>
                  </a:lnTo>
                  <a:lnTo>
                    <a:pt x="2804" y="26"/>
                  </a:lnTo>
                  <a:lnTo>
                    <a:pt x="2756" y="39"/>
                  </a:lnTo>
                  <a:lnTo>
                    <a:pt x="2710" y="52"/>
                  </a:lnTo>
                  <a:lnTo>
                    <a:pt x="2665" y="67"/>
                  </a:lnTo>
                  <a:lnTo>
                    <a:pt x="2620" y="84"/>
                  </a:lnTo>
                  <a:lnTo>
                    <a:pt x="2578" y="104"/>
                  </a:lnTo>
                  <a:lnTo>
                    <a:pt x="2536" y="125"/>
                  </a:lnTo>
                  <a:lnTo>
                    <a:pt x="2495" y="147"/>
                  </a:lnTo>
                  <a:lnTo>
                    <a:pt x="2457" y="173"/>
                  </a:lnTo>
                  <a:lnTo>
                    <a:pt x="2418" y="199"/>
                  </a:lnTo>
                  <a:lnTo>
                    <a:pt x="2382" y="227"/>
                  </a:lnTo>
                  <a:lnTo>
                    <a:pt x="2347" y="257"/>
                  </a:lnTo>
                  <a:lnTo>
                    <a:pt x="2313" y="289"/>
                  </a:lnTo>
                  <a:lnTo>
                    <a:pt x="2282" y="321"/>
                  </a:lnTo>
                  <a:lnTo>
                    <a:pt x="2252" y="356"/>
                  </a:lnTo>
                  <a:lnTo>
                    <a:pt x="2224" y="392"/>
                  </a:lnTo>
                  <a:lnTo>
                    <a:pt x="2197" y="430"/>
                  </a:lnTo>
                  <a:lnTo>
                    <a:pt x="2173" y="469"/>
                  </a:lnTo>
                  <a:lnTo>
                    <a:pt x="2152" y="509"/>
                  </a:lnTo>
                  <a:lnTo>
                    <a:pt x="2131" y="551"/>
                  </a:lnTo>
                  <a:lnTo>
                    <a:pt x="2113" y="595"/>
                  </a:lnTo>
                  <a:lnTo>
                    <a:pt x="2097" y="640"/>
                  </a:lnTo>
                  <a:lnTo>
                    <a:pt x="2083" y="685"/>
                  </a:lnTo>
                  <a:lnTo>
                    <a:pt x="2071" y="733"/>
                  </a:lnTo>
                  <a:lnTo>
                    <a:pt x="2063" y="781"/>
                  </a:lnTo>
                  <a:lnTo>
                    <a:pt x="2056" y="831"/>
                  </a:lnTo>
                  <a:lnTo>
                    <a:pt x="2052" y="882"/>
                  </a:lnTo>
                  <a:lnTo>
                    <a:pt x="2051" y="933"/>
                  </a:lnTo>
                  <a:lnTo>
                    <a:pt x="2052" y="985"/>
                  </a:lnTo>
                  <a:lnTo>
                    <a:pt x="2056" y="1036"/>
                  </a:lnTo>
                  <a:lnTo>
                    <a:pt x="2063" y="1086"/>
                  </a:lnTo>
                  <a:lnTo>
                    <a:pt x="2071" y="1135"/>
                  </a:lnTo>
                  <a:lnTo>
                    <a:pt x="2083" y="1182"/>
                  </a:lnTo>
                  <a:lnTo>
                    <a:pt x="2097" y="1228"/>
                  </a:lnTo>
                  <a:lnTo>
                    <a:pt x="2113" y="1273"/>
                  </a:lnTo>
                  <a:lnTo>
                    <a:pt x="2131" y="1316"/>
                  </a:lnTo>
                  <a:lnTo>
                    <a:pt x="2152" y="1357"/>
                  </a:lnTo>
                  <a:lnTo>
                    <a:pt x="2173" y="1398"/>
                  </a:lnTo>
                  <a:lnTo>
                    <a:pt x="2197" y="1438"/>
                  </a:lnTo>
                  <a:lnTo>
                    <a:pt x="2224" y="1475"/>
                  </a:lnTo>
                  <a:lnTo>
                    <a:pt x="2252" y="1512"/>
                  </a:lnTo>
                  <a:lnTo>
                    <a:pt x="2282" y="1547"/>
                  </a:lnTo>
                  <a:lnTo>
                    <a:pt x="2313" y="1579"/>
                  </a:lnTo>
                  <a:lnTo>
                    <a:pt x="2347" y="1611"/>
                  </a:lnTo>
                  <a:lnTo>
                    <a:pt x="2382" y="1640"/>
                  </a:lnTo>
                  <a:lnTo>
                    <a:pt x="2418" y="1669"/>
                  </a:lnTo>
                  <a:lnTo>
                    <a:pt x="2457" y="1695"/>
                  </a:lnTo>
                  <a:lnTo>
                    <a:pt x="2495" y="1719"/>
                  </a:lnTo>
                  <a:lnTo>
                    <a:pt x="2536" y="1743"/>
                  </a:lnTo>
                  <a:lnTo>
                    <a:pt x="2578" y="1764"/>
                  </a:lnTo>
                  <a:lnTo>
                    <a:pt x="2620" y="1782"/>
                  </a:lnTo>
                  <a:lnTo>
                    <a:pt x="2665" y="1801"/>
                  </a:lnTo>
                  <a:lnTo>
                    <a:pt x="2710" y="1816"/>
                  </a:lnTo>
                  <a:lnTo>
                    <a:pt x="2756" y="1829"/>
                  </a:lnTo>
                  <a:lnTo>
                    <a:pt x="2804" y="1840"/>
                  </a:lnTo>
                  <a:lnTo>
                    <a:pt x="2851" y="1851"/>
                  </a:lnTo>
                  <a:lnTo>
                    <a:pt x="2899" y="1858"/>
                  </a:lnTo>
                  <a:lnTo>
                    <a:pt x="2949" y="1863"/>
                  </a:lnTo>
                  <a:lnTo>
                    <a:pt x="2999" y="1866"/>
                  </a:lnTo>
                  <a:lnTo>
                    <a:pt x="3049" y="1868"/>
                  </a:lnTo>
                  <a:lnTo>
                    <a:pt x="3099" y="1866"/>
                  </a:lnTo>
                  <a:lnTo>
                    <a:pt x="3149" y="1863"/>
                  </a:lnTo>
                  <a:lnTo>
                    <a:pt x="3199" y="1858"/>
                  </a:lnTo>
                  <a:lnTo>
                    <a:pt x="3247" y="1851"/>
                  </a:lnTo>
                  <a:lnTo>
                    <a:pt x="3295" y="1840"/>
                  </a:lnTo>
                  <a:lnTo>
                    <a:pt x="3342" y="1829"/>
                  </a:lnTo>
                  <a:lnTo>
                    <a:pt x="3388" y="1816"/>
                  </a:lnTo>
                  <a:lnTo>
                    <a:pt x="3433" y="1801"/>
                  </a:lnTo>
                  <a:lnTo>
                    <a:pt x="3477" y="1782"/>
                  </a:lnTo>
                  <a:lnTo>
                    <a:pt x="3521" y="1764"/>
                  </a:lnTo>
                  <a:lnTo>
                    <a:pt x="3562" y="1743"/>
                  </a:lnTo>
                  <a:lnTo>
                    <a:pt x="3603" y="1719"/>
                  </a:lnTo>
                  <a:lnTo>
                    <a:pt x="3642" y="1695"/>
                  </a:lnTo>
                  <a:lnTo>
                    <a:pt x="3679" y="1669"/>
                  </a:lnTo>
                  <a:lnTo>
                    <a:pt x="3716" y="1640"/>
                  </a:lnTo>
                  <a:lnTo>
                    <a:pt x="3751" y="1611"/>
                  </a:lnTo>
                  <a:lnTo>
                    <a:pt x="3784" y="1579"/>
                  </a:lnTo>
                  <a:lnTo>
                    <a:pt x="3815" y="1547"/>
                  </a:lnTo>
                  <a:lnTo>
                    <a:pt x="3846" y="1512"/>
                  </a:lnTo>
                  <a:lnTo>
                    <a:pt x="3874" y="1475"/>
                  </a:lnTo>
                  <a:lnTo>
                    <a:pt x="3900" y="1438"/>
                  </a:lnTo>
                  <a:lnTo>
                    <a:pt x="3924" y="1398"/>
                  </a:lnTo>
                  <a:lnTo>
                    <a:pt x="3947" y="1357"/>
                  </a:lnTo>
                  <a:lnTo>
                    <a:pt x="3967" y="1316"/>
                  </a:lnTo>
                  <a:lnTo>
                    <a:pt x="3985" y="1273"/>
                  </a:lnTo>
                  <a:lnTo>
                    <a:pt x="4002" y="1228"/>
                  </a:lnTo>
                  <a:lnTo>
                    <a:pt x="4015" y="1182"/>
                  </a:lnTo>
                  <a:lnTo>
                    <a:pt x="4026" y="1135"/>
                  </a:lnTo>
                  <a:lnTo>
                    <a:pt x="4035" y="1086"/>
                  </a:lnTo>
                  <a:lnTo>
                    <a:pt x="4042" y="1036"/>
                  </a:lnTo>
                  <a:lnTo>
                    <a:pt x="4046" y="985"/>
                  </a:lnTo>
                  <a:lnTo>
                    <a:pt x="4047" y="933"/>
                  </a:lnTo>
                  <a:close/>
                  <a:moveTo>
                    <a:pt x="4779" y="42"/>
                  </a:moveTo>
                  <a:lnTo>
                    <a:pt x="4540" y="1317"/>
                  </a:lnTo>
                  <a:lnTo>
                    <a:pt x="4535" y="1334"/>
                  </a:lnTo>
                  <a:lnTo>
                    <a:pt x="4530" y="1350"/>
                  </a:lnTo>
                  <a:lnTo>
                    <a:pt x="4524" y="1366"/>
                  </a:lnTo>
                  <a:lnTo>
                    <a:pt x="4517" y="1379"/>
                  </a:lnTo>
                  <a:lnTo>
                    <a:pt x="4510" y="1392"/>
                  </a:lnTo>
                  <a:lnTo>
                    <a:pt x="4501" y="1403"/>
                  </a:lnTo>
                  <a:lnTo>
                    <a:pt x="4491" y="1413"/>
                  </a:lnTo>
                  <a:lnTo>
                    <a:pt x="4481" y="1423"/>
                  </a:lnTo>
                  <a:lnTo>
                    <a:pt x="4469" y="1431"/>
                  </a:lnTo>
                  <a:lnTo>
                    <a:pt x="4457" y="1437"/>
                  </a:lnTo>
                  <a:lnTo>
                    <a:pt x="4444" y="1443"/>
                  </a:lnTo>
                  <a:lnTo>
                    <a:pt x="4430" y="1447"/>
                  </a:lnTo>
                  <a:lnTo>
                    <a:pt x="4415" y="1451"/>
                  </a:lnTo>
                  <a:lnTo>
                    <a:pt x="4399" y="1453"/>
                  </a:lnTo>
                  <a:lnTo>
                    <a:pt x="4383" y="1455"/>
                  </a:lnTo>
                  <a:lnTo>
                    <a:pt x="4366" y="1455"/>
                  </a:lnTo>
                  <a:lnTo>
                    <a:pt x="4172" y="1455"/>
                  </a:lnTo>
                  <a:lnTo>
                    <a:pt x="4172" y="1822"/>
                  </a:lnTo>
                  <a:lnTo>
                    <a:pt x="4385" y="1822"/>
                  </a:lnTo>
                  <a:lnTo>
                    <a:pt x="4412" y="1822"/>
                  </a:lnTo>
                  <a:lnTo>
                    <a:pt x="4439" y="1821"/>
                  </a:lnTo>
                  <a:lnTo>
                    <a:pt x="4465" y="1819"/>
                  </a:lnTo>
                  <a:lnTo>
                    <a:pt x="4491" y="1816"/>
                  </a:lnTo>
                  <a:lnTo>
                    <a:pt x="4515" y="1812"/>
                  </a:lnTo>
                  <a:lnTo>
                    <a:pt x="4540" y="1808"/>
                  </a:lnTo>
                  <a:lnTo>
                    <a:pt x="4563" y="1802"/>
                  </a:lnTo>
                  <a:lnTo>
                    <a:pt x="4586" y="1796"/>
                  </a:lnTo>
                  <a:lnTo>
                    <a:pt x="4609" y="1789"/>
                  </a:lnTo>
                  <a:lnTo>
                    <a:pt x="4630" y="1780"/>
                  </a:lnTo>
                  <a:lnTo>
                    <a:pt x="4651" y="1771"/>
                  </a:lnTo>
                  <a:lnTo>
                    <a:pt x="4672" y="1762"/>
                  </a:lnTo>
                  <a:lnTo>
                    <a:pt x="4692" y="1751"/>
                  </a:lnTo>
                  <a:lnTo>
                    <a:pt x="4710" y="1740"/>
                  </a:lnTo>
                  <a:lnTo>
                    <a:pt x="4730" y="1728"/>
                  </a:lnTo>
                  <a:lnTo>
                    <a:pt x="4747" y="1713"/>
                  </a:lnTo>
                  <a:lnTo>
                    <a:pt x="4764" y="1699"/>
                  </a:lnTo>
                  <a:lnTo>
                    <a:pt x="4781" y="1684"/>
                  </a:lnTo>
                  <a:lnTo>
                    <a:pt x="4796" y="1668"/>
                  </a:lnTo>
                  <a:lnTo>
                    <a:pt x="4811" y="1650"/>
                  </a:lnTo>
                  <a:lnTo>
                    <a:pt x="4825" y="1633"/>
                  </a:lnTo>
                  <a:lnTo>
                    <a:pt x="4839" y="1614"/>
                  </a:lnTo>
                  <a:lnTo>
                    <a:pt x="4852" y="1593"/>
                  </a:lnTo>
                  <a:lnTo>
                    <a:pt x="4864" y="1572"/>
                  </a:lnTo>
                  <a:lnTo>
                    <a:pt x="4875" y="1551"/>
                  </a:lnTo>
                  <a:lnTo>
                    <a:pt x="4885" y="1527"/>
                  </a:lnTo>
                  <a:lnTo>
                    <a:pt x="4895" y="1504"/>
                  </a:lnTo>
                  <a:lnTo>
                    <a:pt x="4905" y="1478"/>
                  </a:lnTo>
                  <a:lnTo>
                    <a:pt x="4913" y="1452"/>
                  </a:lnTo>
                  <a:lnTo>
                    <a:pt x="4920" y="1426"/>
                  </a:lnTo>
                  <a:lnTo>
                    <a:pt x="4927" y="1397"/>
                  </a:lnTo>
                  <a:lnTo>
                    <a:pt x="4932" y="1369"/>
                  </a:lnTo>
                  <a:lnTo>
                    <a:pt x="5113" y="403"/>
                  </a:lnTo>
                  <a:lnTo>
                    <a:pt x="5796" y="403"/>
                  </a:lnTo>
                  <a:lnTo>
                    <a:pt x="5796" y="1822"/>
                  </a:lnTo>
                  <a:lnTo>
                    <a:pt x="6198" y="1822"/>
                  </a:lnTo>
                  <a:lnTo>
                    <a:pt x="6198" y="42"/>
                  </a:lnTo>
                  <a:lnTo>
                    <a:pt x="4779" y="42"/>
                  </a:lnTo>
                  <a:close/>
                  <a:moveTo>
                    <a:pt x="6585" y="42"/>
                  </a:moveTo>
                  <a:lnTo>
                    <a:pt x="6585" y="1822"/>
                  </a:lnTo>
                  <a:lnTo>
                    <a:pt x="6980" y="1822"/>
                  </a:lnTo>
                  <a:lnTo>
                    <a:pt x="6980" y="1069"/>
                  </a:lnTo>
                  <a:lnTo>
                    <a:pt x="7251" y="1069"/>
                  </a:lnTo>
                  <a:lnTo>
                    <a:pt x="7258" y="1116"/>
                  </a:lnTo>
                  <a:lnTo>
                    <a:pt x="7266" y="1162"/>
                  </a:lnTo>
                  <a:lnTo>
                    <a:pt x="7277" y="1207"/>
                  </a:lnTo>
                  <a:lnTo>
                    <a:pt x="7290" y="1251"/>
                  </a:lnTo>
                  <a:lnTo>
                    <a:pt x="7304" y="1292"/>
                  </a:lnTo>
                  <a:lnTo>
                    <a:pt x="7320" y="1333"/>
                  </a:lnTo>
                  <a:lnTo>
                    <a:pt x="7338" y="1372"/>
                  </a:lnTo>
                  <a:lnTo>
                    <a:pt x="7358" y="1409"/>
                  </a:lnTo>
                  <a:lnTo>
                    <a:pt x="7379" y="1446"/>
                  </a:lnTo>
                  <a:lnTo>
                    <a:pt x="7402" y="1482"/>
                  </a:lnTo>
                  <a:lnTo>
                    <a:pt x="7427" y="1514"/>
                  </a:lnTo>
                  <a:lnTo>
                    <a:pt x="7452" y="1547"/>
                  </a:lnTo>
                  <a:lnTo>
                    <a:pt x="7480" y="1577"/>
                  </a:lnTo>
                  <a:lnTo>
                    <a:pt x="7509" y="1607"/>
                  </a:lnTo>
                  <a:lnTo>
                    <a:pt x="7540" y="1634"/>
                  </a:lnTo>
                  <a:lnTo>
                    <a:pt x="7571" y="1660"/>
                  </a:lnTo>
                  <a:lnTo>
                    <a:pt x="7604" y="1685"/>
                  </a:lnTo>
                  <a:lnTo>
                    <a:pt x="7637" y="1708"/>
                  </a:lnTo>
                  <a:lnTo>
                    <a:pt x="7673" y="1730"/>
                  </a:lnTo>
                  <a:lnTo>
                    <a:pt x="7710" y="1750"/>
                  </a:lnTo>
                  <a:lnTo>
                    <a:pt x="7747" y="1768"/>
                  </a:lnTo>
                  <a:lnTo>
                    <a:pt x="7786" y="1786"/>
                  </a:lnTo>
                  <a:lnTo>
                    <a:pt x="7824" y="1801"/>
                  </a:lnTo>
                  <a:lnTo>
                    <a:pt x="7865" y="1815"/>
                  </a:lnTo>
                  <a:lnTo>
                    <a:pt x="7907" y="1827"/>
                  </a:lnTo>
                  <a:lnTo>
                    <a:pt x="7949" y="1837"/>
                  </a:lnTo>
                  <a:lnTo>
                    <a:pt x="7991" y="1847"/>
                  </a:lnTo>
                  <a:lnTo>
                    <a:pt x="8035" y="1854"/>
                  </a:lnTo>
                  <a:lnTo>
                    <a:pt x="8080" y="1860"/>
                  </a:lnTo>
                  <a:lnTo>
                    <a:pt x="8124" y="1864"/>
                  </a:lnTo>
                  <a:lnTo>
                    <a:pt x="8170" y="1867"/>
                  </a:lnTo>
                  <a:lnTo>
                    <a:pt x="8217" y="1868"/>
                  </a:lnTo>
                  <a:lnTo>
                    <a:pt x="8267" y="1867"/>
                  </a:lnTo>
                  <a:lnTo>
                    <a:pt x="8317" y="1864"/>
                  </a:lnTo>
                  <a:lnTo>
                    <a:pt x="8364" y="1859"/>
                  </a:lnTo>
                  <a:lnTo>
                    <a:pt x="8413" y="1852"/>
                  </a:lnTo>
                  <a:lnTo>
                    <a:pt x="8460" y="1842"/>
                  </a:lnTo>
                  <a:lnTo>
                    <a:pt x="8506" y="1832"/>
                  </a:lnTo>
                  <a:lnTo>
                    <a:pt x="8552" y="1820"/>
                  </a:lnTo>
                  <a:lnTo>
                    <a:pt x="8595" y="1805"/>
                  </a:lnTo>
                  <a:lnTo>
                    <a:pt x="8639" y="1789"/>
                  </a:lnTo>
                  <a:lnTo>
                    <a:pt x="8681" y="1771"/>
                  </a:lnTo>
                  <a:lnTo>
                    <a:pt x="8721" y="1751"/>
                  </a:lnTo>
                  <a:lnTo>
                    <a:pt x="8761" y="1729"/>
                  </a:lnTo>
                  <a:lnTo>
                    <a:pt x="8799" y="1705"/>
                  </a:lnTo>
                  <a:lnTo>
                    <a:pt x="8835" y="1680"/>
                  </a:lnTo>
                  <a:lnTo>
                    <a:pt x="8871" y="1653"/>
                  </a:lnTo>
                  <a:lnTo>
                    <a:pt x="8905" y="1624"/>
                  </a:lnTo>
                  <a:lnTo>
                    <a:pt x="8937" y="1593"/>
                  </a:lnTo>
                  <a:lnTo>
                    <a:pt x="8968" y="1561"/>
                  </a:lnTo>
                  <a:lnTo>
                    <a:pt x="8996" y="1526"/>
                  </a:lnTo>
                  <a:lnTo>
                    <a:pt x="9023" y="1491"/>
                  </a:lnTo>
                  <a:lnTo>
                    <a:pt x="9049" y="1453"/>
                  </a:lnTo>
                  <a:lnTo>
                    <a:pt x="9072" y="1414"/>
                  </a:lnTo>
                  <a:lnTo>
                    <a:pt x="9094" y="1374"/>
                  </a:lnTo>
                  <a:lnTo>
                    <a:pt x="9113" y="1331"/>
                  </a:lnTo>
                  <a:lnTo>
                    <a:pt x="9130" y="1287"/>
                  </a:lnTo>
                  <a:lnTo>
                    <a:pt x="9146" y="1242"/>
                  </a:lnTo>
                  <a:lnTo>
                    <a:pt x="9159" y="1194"/>
                  </a:lnTo>
                  <a:lnTo>
                    <a:pt x="9169" y="1145"/>
                  </a:lnTo>
                  <a:lnTo>
                    <a:pt x="9178" y="1094"/>
                  </a:lnTo>
                  <a:lnTo>
                    <a:pt x="9184" y="1042"/>
                  </a:lnTo>
                  <a:lnTo>
                    <a:pt x="9188" y="988"/>
                  </a:lnTo>
                  <a:lnTo>
                    <a:pt x="9189" y="933"/>
                  </a:lnTo>
                  <a:lnTo>
                    <a:pt x="9188" y="879"/>
                  </a:lnTo>
                  <a:lnTo>
                    <a:pt x="9184" y="825"/>
                  </a:lnTo>
                  <a:lnTo>
                    <a:pt x="9178" y="773"/>
                  </a:lnTo>
                  <a:lnTo>
                    <a:pt x="9169" y="723"/>
                  </a:lnTo>
                  <a:lnTo>
                    <a:pt x="9159" y="674"/>
                  </a:lnTo>
                  <a:lnTo>
                    <a:pt x="9146" y="626"/>
                  </a:lnTo>
                  <a:lnTo>
                    <a:pt x="9130" y="581"/>
                  </a:lnTo>
                  <a:lnTo>
                    <a:pt x="9113" y="537"/>
                  </a:lnTo>
                  <a:lnTo>
                    <a:pt x="9094" y="494"/>
                  </a:lnTo>
                  <a:lnTo>
                    <a:pt x="9072" y="453"/>
                  </a:lnTo>
                  <a:lnTo>
                    <a:pt x="9049" y="414"/>
                  </a:lnTo>
                  <a:lnTo>
                    <a:pt x="9023" y="376"/>
                  </a:lnTo>
                  <a:lnTo>
                    <a:pt x="8996" y="341"/>
                  </a:lnTo>
                  <a:lnTo>
                    <a:pt x="8968" y="307"/>
                  </a:lnTo>
                  <a:lnTo>
                    <a:pt x="8937" y="275"/>
                  </a:lnTo>
                  <a:lnTo>
                    <a:pt x="8905" y="244"/>
                  </a:lnTo>
                  <a:lnTo>
                    <a:pt x="8871" y="215"/>
                  </a:lnTo>
                  <a:lnTo>
                    <a:pt x="8835" y="187"/>
                  </a:lnTo>
                  <a:lnTo>
                    <a:pt x="8799" y="162"/>
                  </a:lnTo>
                  <a:lnTo>
                    <a:pt x="8761" y="138"/>
                  </a:lnTo>
                  <a:lnTo>
                    <a:pt x="8721" y="117"/>
                  </a:lnTo>
                  <a:lnTo>
                    <a:pt x="8681" y="97"/>
                  </a:lnTo>
                  <a:lnTo>
                    <a:pt x="8639" y="78"/>
                  </a:lnTo>
                  <a:lnTo>
                    <a:pt x="8595" y="62"/>
                  </a:lnTo>
                  <a:lnTo>
                    <a:pt x="8552" y="48"/>
                  </a:lnTo>
                  <a:lnTo>
                    <a:pt x="8506" y="36"/>
                  </a:lnTo>
                  <a:lnTo>
                    <a:pt x="8460" y="24"/>
                  </a:lnTo>
                  <a:lnTo>
                    <a:pt x="8413" y="16"/>
                  </a:lnTo>
                  <a:lnTo>
                    <a:pt x="8364" y="9"/>
                  </a:lnTo>
                  <a:lnTo>
                    <a:pt x="8317" y="4"/>
                  </a:lnTo>
                  <a:lnTo>
                    <a:pt x="8267" y="1"/>
                  </a:lnTo>
                  <a:lnTo>
                    <a:pt x="8217" y="0"/>
                  </a:lnTo>
                  <a:lnTo>
                    <a:pt x="8173" y="1"/>
                  </a:lnTo>
                  <a:lnTo>
                    <a:pt x="8131" y="3"/>
                  </a:lnTo>
                  <a:lnTo>
                    <a:pt x="8088" y="7"/>
                  </a:lnTo>
                  <a:lnTo>
                    <a:pt x="8046" y="12"/>
                  </a:lnTo>
                  <a:lnTo>
                    <a:pt x="8004" y="18"/>
                  </a:lnTo>
                  <a:lnTo>
                    <a:pt x="7964" y="26"/>
                  </a:lnTo>
                  <a:lnTo>
                    <a:pt x="7924" y="36"/>
                  </a:lnTo>
                  <a:lnTo>
                    <a:pt x="7884" y="47"/>
                  </a:lnTo>
                  <a:lnTo>
                    <a:pt x="7846" y="59"/>
                  </a:lnTo>
                  <a:lnTo>
                    <a:pt x="7808" y="73"/>
                  </a:lnTo>
                  <a:lnTo>
                    <a:pt x="7772" y="88"/>
                  </a:lnTo>
                  <a:lnTo>
                    <a:pt x="7736" y="105"/>
                  </a:lnTo>
                  <a:lnTo>
                    <a:pt x="7700" y="122"/>
                  </a:lnTo>
                  <a:lnTo>
                    <a:pt x="7667" y="141"/>
                  </a:lnTo>
                  <a:lnTo>
                    <a:pt x="7633" y="162"/>
                  </a:lnTo>
                  <a:lnTo>
                    <a:pt x="7602" y="184"/>
                  </a:lnTo>
                  <a:lnTo>
                    <a:pt x="7571" y="207"/>
                  </a:lnTo>
                  <a:lnTo>
                    <a:pt x="7542" y="232"/>
                  </a:lnTo>
                  <a:lnTo>
                    <a:pt x="7512" y="257"/>
                  </a:lnTo>
                  <a:lnTo>
                    <a:pt x="7486" y="285"/>
                  </a:lnTo>
                  <a:lnTo>
                    <a:pt x="7459" y="313"/>
                  </a:lnTo>
                  <a:lnTo>
                    <a:pt x="7435" y="343"/>
                  </a:lnTo>
                  <a:lnTo>
                    <a:pt x="7412" y="374"/>
                  </a:lnTo>
                  <a:lnTo>
                    <a:pt x="7389" y="406"/>
                  </a:lnTo>
                  <a:lnTo>
                    <a:pt x="7369" y="439"/>
                  </a:lnTo>
                  <a:lnTo>
                    <a:pt x="7350" y="475"/>
                  </a:lnTo>
                  <a:lnTo>
                    <a:pt x="7331" y="510"/>
                  </a:lnTo>
                  <a:lnTo>
                    <a:pt x="7315" y="548"/>
                  </a:lnTo>
                  <a:lnTo>
                    <a:pt x="7301" y="586"/>
                  </a:lnTo>
                  <a:lnTo>
                    <a:pt x="7287" y="625"/>
                  </a:lnTo>
                  <a:lnTo>
                    <a:pt x="7276" y="666"/>
                  </a:lnTo>
                  <a:lnTo>
                    <a:pt x="7267" y="709"/>
                  </a:lnTo>
                  <a:lnTo>
                    <a:pt x="6980" y="709"/>
                  </a:lnTo>
                  <a:lnTo>
                    <a:pt x="6980" y="42"/>
                  </a:lnTo>
                  <a:lnTo>
                    <a:pt x="6585" y="42"/>
                  </a:lnTo>
                  <a:close/>
                  <a:moveTo>
                    <a:pt x="7643" y="933"/>
                  </a:moveTo>
                  <a:lnTo>
                    <a:pt x="7644" y="900"/>
                  </a:lnTo>
                  <a:lnTo>
                    <a:pt x="7645" y="866"/>
                  </a:lnTo>
                  <a:lnTo>
                    <a:pt x="7649" y="835"/>
                  </a:lnTo>
                  <a:lnTo>
                    <a:pt x="7653" y="803"/>
                  </a:lnTo>
                  <a:lnTo>
                    <a:pt x="7658" y="773"/>
                  </a:lnTo>
                  <a:lnTo>
                    <a:pt x="7664" y="743"/>
                  </a:lnTo>
                  <a:lnTo>
                    <a:pt x="7672" y="715"/>
                  </a:lnTo>
                  <a:lnTo>
                    <a:pt x="7680" y="686"/>
                  </a:lnTo>
                  <a:lnTo>
                    <a:pt x="7690" y="660"/>
                  </a:lnTo>
                  <a:lnTo>
                    <a:pt x="7700" y="634"/>
                  </a:lnTo>
                  <a:lnTo>
                    <a:pt x="7713" y="610"/>
                  </a:lnTo>
                  <a:lnTo>
                    <a:pt x="7726" y="586"/>
                  </a:lnTo>
                  <a:lnTo>
                    <a:pt x="7740" y="563"/>
                  </a:lnTo>
                  <a:lnTo>
                    <a:pt x="7755" y="542"/>
                  </a:lnTo>
                  <a:lnTo>
                    <a:pt x="7772" y="521"/>
                  </a:lnTo>
                  <a:lnTo>
                    <a:pt x="7789" y="501"/>
                  </a:lnTo>
                  <a:lnTo>
                    <a:pt x="7807" y="483"/>
                  </a:lnTo>
                  <a:lnTo>
                    <a:pt x="7828" y="466"/>
                  </a:lnTo>
                  <a:lnTo>
                    <a:pt x="7848" y="449"/>
                  </a:lnTo>
                  <a:lnTo>
                    <a:pt x="7870" y="434"/>
                  </a:lnTo>
                  <a:lnTo>
                    <a:pt x="7893" y="420"/>
                  </a:lnTo>
                  <a:lnTo>
                    <a:pt x="7917" y="408"/>
                  </a:lnTo>
                  <a:lnTo>
                    <a:pt x="7942" y="396"/>
                  </a:lnTo>
                  <a:lnTo>
                    <a:pt x="7968" y="385"/>
                  </a:lnTo>
                  <a:lnTo>
                    <a:pt x="7995" y="375"/>
                  </a:lnTo>
                  <a:lnTo>
                    <a:pt x="8024" y="367"/>
                  </a:lnTo>
                  <a:lnTo>
                    <a:pt x="8053" y="361"/>
                  </a:lnTo>
                  <a:lnTo>
                    <a:pt x="8084" y="355"/>
                  </a:lnTo>
                  <a:lnTo>
                    <a:pt x="8115" y="351"/>
                  </a:lnTo>
                  <a:lnTo>
                    <a:pt x="8148" y="347"/>
                  </a:lnTo>
                  <a:lnTo>
                    <a:pt x="8182" y="345"/>
                  </a:lnTo>
                  <a:lnTo>
                    <a:pt x="8217" y="345"/>
                  </a:lnTo>
                  <a:lnTo>
                    <a:pt x="8252" y="345"/>
                  </a:lnTo>
                  <a:lnTo>
                    <a:pt x="8285" y="347"/>
                  </a:lnTo>
                  <a:lnTo>
                    <a:pt x="8318" y="351"/>
                  </a:lnTo>
                  <a:lnTo>
                    <a:pt x="8349" y="355"/>
                  </a:lnTo>
                  <a:lnTo>
                    <a:pt x="8380" y="361"/>
                  </a:lnTo>
                  <a:lnTo>
                    <a:pt x="8409" y="367"/>
                  </a:lnTo>
                  <a:lnTo>
                    <a:pt x="8438" y="375"/>
                  </a:lnTo>
                  <a:lnTo>
                    <a:pt x="8465" y="385"/>
                  </a:lnTo>
                  <a:lnTo>
                    <a:pt x="8492" y="396"/>
                  </a:lnTo>
                  <a:lnTo>
                    <a:pt x="8517" y="408"/>
                  </a:lnTo>
                  <a:lnTo>
                    <a:pt x="8540" y="420"/>
                  </a:lnTo>
                  <a:lnTo>
                    <a:pt x="8564" y="434"/>
                  </a:lnTo>
                  <a:lnTo>
                    <a:pt x="8585" y="449"/>
                  </a:lnTo>
                  <a:lnTo>
                    <a:pt x="8607" y="466"/>
                  </a:lnTo>
                  <a:lnTo>
                    <a:pt x="8626" y="483"/>
                  </a:lnTo>
                  <a:lnTo>
                    <a:pt x="8644" y="501"/>
                  </a:lnTo>
                  <a:lnTo>
                    <a:pt x="8662" y="521"/>
                  </a:lnTo>
                  <a:lnTo>
                    <a:pt x="8679" y="542"/>
                  </a:lnTo>
                  <a:lnTo>
                    <a:pt x="8694" y="563"/>
                  </a:lnTo>
                  <a:lnTo>
                    <a:pt x="8708" y="586"/>
                  </a:lnTo>
                  <a:lnTo>
                    <a:pt x="8720" y="610"/>
                  </a:lnTo>
                  <a:lnTo>
                    <a:pt x="8733" y="634"/>
                  </a:lnTo>
                  <a:lnTo>
                    <a:pt x="8744" y="660"/>
                  </a:lnTo>
                  <a:lnTo>
                    <a:pt x="8753" y="686"/>
                  </a:lnTo>
                  <a:lnTo>
                    <a:pt x="8762" y="715"/>
                  </a:lnTo>
                  <a:lnTo>
                    <a:pt x="8769" y="743"/>
                  </a:lnTo>
                  <a:lnTo>
                    <a:pt x="8775" y="773"/>
                  </a:lnTo>
                  <a:lnTo>
                    <a:pt x="8780" y="803"/>
                  </a:lnTo>
                  <a:lnTo>
                    <a:pt x="8785" y="835"/>
                  </a:lnTo>
                  <a:lnTo>
                    <a:pt x="8788" y="866"/>
                  </a:lnTo>
                  <a:lnTo>
                    <a:pt x="8790" y="900"/>
                  </a:lnTo>
                  <a:lnTo>
                    <a:pt x="8790" y="933"/>
                  </a:lnTo>
                  <a:lnTo>
                    <a:pt x="8790" y="968"/>
                  </a:lnTo>
                  <a:lnTo>
                    <a:pt x="8788" y="1001"/>
                  </a:lnTo>
                  <a:lnTo>
                    <a:pt x="8785" y="1033"/>
                  </a:lnTo>
                  <a:lnTo>
                    <a:pt x="8780" y="1065"/>
                  </a:lnTo>
                  <a:lnTo>
                    <a:pt x="8775" y="1095"/>
                  </a:lnTo>
                  <a:lnTo>
                    <a:pt x="8769" y="1125"/>
                  </a:lnTo>
                  <a:lnTo>
                    <a:pt x="8762" y="1153"/>
                  </a:lnTo>
                  <a:lnTo>
                    <a:pt x="8753" y="1181"/>
                  </a:lnTo>
                  <a:lnTo>
                    <a:pt x="8744" y="1207"/>
                  </a:lnTo>
                  <a:lnTo>
                    <a:pt x="8733" y="1233"/>
                  </a:lnTo>
                  <a:lnTo>
                    <a:pt x="8720" y="1258"/>
                  </a:lnTo>
                  <a:lnTo>
                    <a:pt x="8708" y="1281"/>
                  </a:lnTo>
                  <a:lnTo>
                    <a:pt x="8694" y="1305"/>
                  </a:lnTo>
                  <a:lnTo>
                    <a:pt x="8679" y="1326"/>
                  </a:lnTo>
                  <a:lnTo>
                    <a:pt x="8662" y="1346"/>
                  </a:lnTo>
                  <a:lnTo>
                    <a:pt x="8644" y="1366"/>
                  </a:lnTo>
                  <a:lnTo>
                    <a:pt x="8626" y="1385"/>
                  </a:lnTo>
                  <a:lnTo>
                    <a:pt x="8607" y="1402"/>
                  </a:lnTo>
                  <a:lnTo>
                    <a:pt x="8585" y="1418"/>
                  </a:lnTo>
                  <a:lnTo>
                    <a:pt x="8564" y="1434"/>
                  </a:lnTo>
                  <a:lnTo>
                    <a:pt x="8540" y="1447"/>
                  </a:lnTo>
                  <a:lnTo>
                    <a:pt x="8517" y="1460"/>
                  </a:lnTo>
                  <a:lnTo>
                    <a:pt x="8492" y="1472"/>
                  </a:lnTo>
                  <a:lnTo>
                    <a:pt x="8465" y="1483"/>
                  </a:lnTo>
                  <a:lnTo>
                    <a:pt x="8438" y="1492"/>
                  </a:lnTo>
                  <a:lnTo>
                    <a:pt x="8409" y="1500"/>
                  </a:lnTo>
                  <a:lnTo>
                    <a:pt x="8380" y="1507"/>
                  </a:lnTo>
                  <a:lnTo>
                    <a:pt x="8349" y="1513"/>
                  </a:lnTo>
                  <a:lnTo>
                    <a:pt x="8318" y="1517"/>
                  </a:lnTo>
                  <a:lnTo>
                    <a:pt x="8285" y="1520"/>
                  </a:lnTo>
                  <a:lnTo>
                    <a:pt x="8252" y="1522"/>
                  </a:lnTo>
                  <a:lnTo>
                    <a:pt x="8217" y="1523"/>
                  </a:lnTo>
                  <a:lnTo>
                    <a:pt x="8182" y="1522"/>
                  </a:lnTo>
                  <a:lnTo>
                    <a:pt x="8148" y="1520"/>
                  </a:lnTo>
                  <a:lnTo>
                    <a:pt x="8115" y="1517"/>
                  </a:lnTo>
                  <a:lnTo>
                    <a:pt x="8084" y="1513"/>
                  </a:lnTo>
                  <a:lnTo>
                    <a:pt x="8053" y="1507"/>
                  </a:lnTo>
                  <a:lnTo>
                    <a:pt x="8024" y="1500"/>
                  </a:lnTo>
                  <a:lnTo>
                    <a:pt x="7995" y="1492"/>
                  </a:lnTo>
                  <a:lnTo>
                    <a:pt x="7968" y="1483"/>
                  </a:lnTo>
                  <a:lnTo>
                    <a:pt x="7942" y="1472"/>
                  </a:lnTo>
                  <a:lnTo>
                    <a:pt x="7917" y="1460"/>
                  </a:lnTo>
                  <a:lnTo>
                    <a:pt x="7893" y="1447"/>
                  </a:lnTo>
                  <a:lnTo>
                    <a:pt x="7870" y="1434"/>
                  </a:lnTo>
                  <a:lnTo>
                    <a:pt x="7848" y="1418"/>
                  </a:lnTo>
                  <a:lnTo>
                    <a:pt x="7828" y="1402"/>
                  </a:lnTo>
                  <a:lnTo>
                    <a:pt x="7807" y="1385"/>
                  </a:lnTo>
                  <a:lnTo>
                    <a:pt x="7789" y="1366"/>
                  </a:lnTo>
                  <a:lnTo>
                    <a:pt x="7772" y="1346"/>
                  </a:lnTo>
                  <a:lnTo>
                    <a:pt x="7755" y="1326"/>
                  </a:lnTo>
                  <a:lnTo>
                    <a:pt x="7740" y="1305"/>
                  </a:lnTo>
                  <a:lnTo>
                    <a:pt x="7726" y="1281"/>
                  </a:lnTo>
                  <a:lnTo>
                    <a:pt x="7713" y="1258"/>
                  </a:lnTo>
                  <a:lnTo>
                    <a:pt x="7700" y="1233"/>
                  </a:lnTo>
                  <a:lnTo>
                    <a:pt x="7690" y="1207"/>
                  </a:lnTo>
                  <a:lnTo>
                    <a:pt x="7680" y="1181"/>
                  </a:lnTo>
                  <a:lnTo>
                    <a:pt x="7672" y="1153"/>
                  </a:lnTo>
                  <a:lnTo>
                    <a:pt x="7664" y="1125"/>
                  </a:lnTo>
                  <a:lnTo>
                    <a:pt x="7658" y="1095"/>
                  </a:lnTo>
                  <a:lnTo>
                    <a:pt x="7653" y="1065"/>
                  </a:lnTo>
                  <a:lnTo>
                    <a:pt x="7649" y="1033"/>
                  </a:lnTo>
                  <a:lnTo>
                    <a:pt x="7645" y="1001"/>
                  </a:lnTo>
                  <a:lnTo>
                    <a:pt x="7644" y="968"/>
                  </a:lnTo>
                  <a:lnTo>
                    <a:pt x="7643" y="933"/>
                  </a:lnTo>
                  <a:close/>
                  <a:moveTo>
                    <a:pt x="11327" y="477"/>
                  </a:moveTo>
                  <a:lnTo>
                    <a:pt x="11310" y="447"/>
                  </a:lnTo>
                  <a:lnTo>
                    <a:pt x="11291" y="420"/>
                  </a:lnTo>
                  <a:lnTo>
                    <a:pt x="11272" y="392"/>
                  </a:lnTo>
                  <a:lnTo>
                    <a:pt x="11253" y="366"/>
                  </a:lnTo>
                  <a:lnTo>
                    <a:pt x="11232" y="341"/>
                  </a:lnTo>
                  <a:lnTo>
                    <a:pt x="11211" y="316"/>
                  </a:lnTo>
                  <a:lnTo>
                    <a:pt x="11190" y="293"/>
                  </a:lnTo>
                  <a:lnTo>
                    <a:pt x="11167" y="270"/>
                  </a:lnTo>
                  <a:lnTo>
                    <a:pt x="11144" y="248"/>
                  </a:lnTo>
                  <a:lnTo>
                    <a:pt x="11121" y="228"/>
                  </a:lnTo>
                  <a:lnTo>
                    <a:pt x="11096" y="207"/>
                  </a:lnTo>
                  <a:lnTo>
                    <a:pt x="11071" y="188"/>
                  </a:lnTo>
                  <a:lnTo>
                    <a:pt x="11045" y="171"/>
                  </a:lnTo>
                  <a:lnTo>
                    <a:pt x="11018" y="154"/>
                  </a:lnTo>
                  <a:lnTo>
                    <a:pt x="10991" y="136"/>
                  </a:lnTo>
                  <a:lnTo>
                    <a:pt x="10963" y="121"/>
                  </a:lnTo>
                  <a:lnTo>
                    <a:pt x="10934" y="107"/>
                  </a:lnTo>
                  <a:lnTo>
                    <a:pt x="10905" y="93"/>
                  </a:lnTo>
                  <a:lnTo>
                    <a:pt x="10875" y="80"/>
                  </a:lnTo>
                  <a:lnTo>
                    <a:pt x="10845" y="68"/>
                  </a:lnTo>
                  <a:lnTo>
                    <a:pt x="10813" y="58"/>
                  </a:lnTo>
                  <a:lnTo>
                    <a:pt x="10782" y="48"/>
                  </a:lnTo>
                  <a:lnTo>
                    <a:pt x="10749" y="39"/>
                  </a:lnTo>
                  <a:lnTo>
                    <a:pt x="10716" y="30"/>
                  </a:lnTo>
                  <a:lnTo>
                    <a:pt x="10682" y="23"/>
                  </a:lnTo>
                  <a:lnTo>
                    <a:pt x="10648" y="17"/>
                  </a:lnTo>
                  <a:lnTo>
                    <a:pt x="10612" y="12"/>
                  </a:lnTo>
                  <a:lnTo>
                    <a:pt x="10576" y="8"/>
                  </a:lnTo>
                  <a:lnTo>
                    <a:pt x="10540" y="4"/>
                  </a:lnTo>
                  <a:lnTo>
                    <a:pt x="10502" y="2"/>
                  </a:lnTo>
                  <a:lnTo>
                    <a:pt x="10465" y="1"/>
                  </a:lnTo>
                  <a:lnTo>
                    <a:pt x="10426" y="0"/>
                  </a:lnTo>
                  <a:lnTo>
                    <a:pt x="10373" y="1"/>
                  </a:lnTo>
                  <a:lnTo>
                    <a:pt x="10322" y="4"/>
                  </a:lnTo>
                  <a:lnTo>
                    <a:pt x="10271" y="9"/>
                  </a:lnTo>
                  <a:lnTo>
                    <a:pt x="10222" y="16"/>
                  </a:lnTo>
                  <a:lnTo>
                    <a:pt x="10174" y="25"/>
                  </a:lnTo>
                  <a:lnTo>
                    <a:pt x="10126" y="37"/>
                  </a:lnTo>
                  <a:lnTo>
                    <a:pt x="10079" y="50"/>
                  </a:lnTo>
                  <a:lnTo>
                    <a:pt x="10033" y="65"/>
                  </a:lnTo>
                  <a:lnTo>
                    <a:pt x="9990" y="81"/>
                  </a:lnTo>
                  <a:lnTo>
                    <a:pt x="9947" y="101"/>
                  </a:lnTo>
                  <a:lnTo>
                    <a:pt x="9905" y="121"/>
                  </a:lnTo>
                  <a:lnTo>
                    <a:pt x="9865" y="143"/>
                  </a:lnTo>
                  <a:lnTo>
                    <a:pt x="9826" y="168"/>
                  </a:lnTo>
                  <a:lnTo>
                    <a:pt x="9788" y="194"/>
                  </a:lnTo>
                  <a:lnTo>
                    <a:pt x="9753" y="222"/>
                  </a:lnTo>
                  <a:lnTo>
                    <a:pt x="9718" y="251"/>
                  </a:lnTo>
                  <a:lnTo>
                    <a:pt x="9686" y="282"/>
                  </a:lnTo>
                  <a:lnTo>
                    <a:pt x="9654" y="314"/>
                  </a:lnTo>
                  <a:lnTo>
                    <a:pt x="9626" y="349"/>
                  </a:lnTo>
                  <a:lnTo>
                    <a:pt x="9598" y="385"/>
                  </a:lnTo>
                  <a:lnTo>
                    <a:pt x="9572" y="423"/>
                  </a:lnTo>
                  <a:lnTo>
                    <a:pt x="9548" y="462"/>
                  </a:lnTo>
                  <a:lnTo>
                    <a:pt x="9527" y="502"/>
                  </a:lnTo>
                  <a:lnTo>
                    <a:pt x="9508" y="545"/>
                  </a:lnTo>
                  <a:lnTo>
                    <a:pt x="9489" y="589"/>
                  </a:lnTo>
                  <a:lnTo>
                    <a:pt x="9474" y="633"/>
                  </a:lnTo>
                  <a:lnTo>
                    <a:pt x="9461" y="680"/>
                  </a:lnTo>
                  <a:lnTo>
                    <a:pt x="9451" y="728"/>
                  </a:lnTo>
                  <a:lnTo>
                    <a:pt x="9441" y="778"/>
                  </a:lnTo>
                  <a:lnTo>
                    <a:pt x="9435" y="829"/>
                  </a:lnTo>
                  <a:lnTo>
                    <a:pt x="9432" y="881"/>
                  </a:lnTo>
                  <a:lnTo>
                    <a:pt x="9430" y="933"/>
                  </a:lnTo>
                  <a:lnTo>
                    <a:pt x="9431" y="987"/>
                  </a:lnTo>
                  <a:lnTo>
                    <a:pt x="9435" y="1039"/>
                  </a:lnTo>
                  <a:lnTo>
                    <a:pt x="9441" y="1090"/>
                  </a:lnTo>
                  <a:lnTo>
                    <a:pt x="9450" y="1139"/>
                  </a:lnTo>
                  <a:lnTo>
                    <a:pt x="9461" y="1188"/>
                  </a:lnTo>
                  <a:lnTo>
                    <a:pt x="9474" y="1234"/>
                  </a:lnTo>
                  <a:lnTo>
                    <a:pt x="9488" y="1279"/>
                  </a:lnTo>
                  <a:lnTo>
                    <a:pt x="9506" y="1323"/>
                  </a:lnTo>
                  <a:lnTo>
                    <a:pt x="9525" y="1365"/>
                  </a:lnTo>
                  <a:lnTo>
                    <a:pt x="9546" y="1405"/>
                  </a:lnTo>
                  <a:lnTo>
                    <a:pt x="9570" y="1445"/>
                  </a:lnTo>
                  <a:lnTo>
                    <a:pt x="9595" y="1483"/>
                  </a:lnTo>
                  <a:lnTo>
                    <a:pt x="9623" y="1518"/>
                  </a:lnTo>
                  <a:lnTo>
                    <a:pt x="9651" y="1553"/>
                  </a:lnTo>
                  <a:lnTo>
                    <a:pt x="9681" y="1585"/>
                  </a:lnTo>
                  <a:lnTo>
                    <a:pt x="9714" y="1617"/>
                  </a:lnTo>
                  <a:lnTo>
                    <a:pt x="9749" y="1646"/>
                  </a:lnTo>
                  <a:lnTo>
                    <a:pt x="9784" y="1674"/>
                  </a:lnTo>
                  <a:lnTo>
                    <a:pt x="9822" y="1700"/>
                  </a:lnTo>
                  <a:lnTo>
                    <a:pt x="9860" y="1724"/>
                  </a:lnTo>
                  <a:lnTo>
                    <a:pt x="9900" y="1746"/>
                  </a:lnTo>
                  <a:lnTo>
                    <a:pt x="9942" y="1767"/>
                  </a:lnTo>
                  <a:lnTo>
                    <a:pt x="9986" y="1786"/>
                  </a:lnTo>
                  <a:lnTo>
                    <a:pt x="10029" y="1803"/>
                  </a:lnTo>
                  <a:lnTo>
                    <a:pt x="10075" y="1818"/>
                  </a:lnTo>
                  <a:lnTo>
                    <a:pt x="10122" y="1830"/>
                  </a:lnTo>
                  <a:lnTo>
                    <a:pt x="10170" y="1841"/>
                  </a:lnTo>
                  <a:lnTo>
                    <a:pt x="10219" y="1851"/>
                  </a:lnTo>
                  <a:lnTo>
                    <a:pt x="10269" y="1858"/>
                  </a:lnTo>
                  <a:lnTo>
                    <a:pt x="10320" y="1863"/>
                  </a:lnTo>
                  <a:lnTo>
                    <a:pt x="10372" y="1867"/>
                  </a:lnTo>
                  <a:lnTo>
                    <a:pt x="10426" y="1868"/>
                  </a:lnTo>
                  <a:lnTo>
                    <a:pt x="10465" y="1867"/>
                  </a:lnTo>
                  <a:lnTo>
                    <a:pt x="10502" y="1866"/>
                  </a:lnTo>
                  <a:lnTo>
                    <a:pt x="10540" y="1863"/>
                  </a:lnTo>
                  <a:lnTo>
                    <a:pt x="10576" y="1860"/>
                  </a:lnTo>
                  <a:lnTo>
                    <a:pt x="10612" y="1856"/>
                  </a:lnTo>
                  <a:lnTo>
                    <a:pt x="10648" y="1851"/>
                  </a:lnTo>
                  <a:lnTo>
                    <a:pt x="10682" y="1845"/>
                  </a:lnTo>
                  <a:lnTo>
                    <a:pt x="10716" y="1837"/>
                  </a:lnTo>
                  <a:lnTo>
                    <a:pt x="10749" y="1829"/>
                  </a:lnTo>
                  <a:lnTo>
                    <a:pt x="10782" y="1820"/>
                  </a:lnTo>
                  <a:lnTo>
                    <a:pt x="10813" y="1810"/>
                  </a:lnTo>
                  <a:lnTo>
                    <a:pt x="10845" y="1799"/>
                  </a:lnTo>
                  <a:lnTo>
                    <a:pt x="10875" y="1788"/>
                  </a:lnTo>
                  <a:lnTo>
                    <a:pt x="10905" y="1774"/>
                  </a:lnTo>
                  <a:lnTo>
                    <a:pt x="10934" y="1761"/>
                  </a:lnTo>
                  <a:lnTo>
                    <a:pt x="10963" y="1746"/>
                  </a:lnTo>
                  <a:lnTo>
                    <a:pt x="10991" y="1731"/>
                  </a:lnTo>
                  <a:lnTo>
                    <a:pt x="11018" y="1714"/>
                  </a:lnTo>
                  <a:lnTo>
                    <a:pt x="11045" y="1697"/>
                  </a:lnTo>
                  <a:lnTo>
                    <a:pt x="11071" y="1679"/>
                  </a:lnTo>
                  <a:lnTo>
                    <a:pt x="11096" y="1659"/>
                  </a:lnTo>
                  <a:lnTo>
                    <a:pt x="11121" y="1640"/>
                  </a:lnTo>
                  <a:lnTo>
                    <a:pt x="11144" y="1619"/>
                  </a:lnTo>
                  <a:lnTo>
                    <a:pt x="11167" y="1597"/>
                  </a:lnTo>
                  <a:lnTo>
                    <a:pt x="11190" y="1574"/>
                  </a:lnTo>
                  <a:lnTo>
                    <a:pt x="11211" y="1551"/>
                  </a:lnTo>
                  <a:lnTo>
                    <a:pt x="11232" y="1526"/>
                  </a:lnTo>
                  <a:lnTo>
                    <a:pt x="11253" y="1501"/>
                  </a:lnTo>
                  <a:lnTo>
                    <a:pt x="11272" y="1474"/>
                  </a:lnTo>
                  <a:lnTo>
                    <a:pt x="11291" y="1448"/>
                  </a:lnTo>
                  <a:lnTo>
                    <a:pt x="11310" y="1419"/>
                  </a:lnTo>
                  <a:lnTo>
                    <a:pt x="11327" y="1391"/>
                  </a:lnTo>
                  <a:lnTo>
                    <a:pt x="11015" y="1211"/>
                  </a:lnTo>
                  <a:lnTo>
                    <a:pt x="11002" y="1228"/>
                  </a:lnTo>
                  <a:lnTo>
                    <a:pt x="10988" y="1246"/>
                  </a:lnTo>
                  <a:lnTo>
                    <a:pt x="10975" y="1263"/>
                  </a:lnTo>
                  <a:lnTo>
                    <a:pt x="10962" y="1279"/>
                  </a:lnTo>
                  <a:lnTo>
                    <a:pt x="10948" y="1294"/>
                  </a:lnTo>
                  <a:lnTo>
                    <a:pt x="10933" y="1310"/>
                  </a:lnTo>
                  <a:lnTo>
                    <a:pt x="10919" y="1325"/>
                  </a:lnTo>
                  <a:lnTo>
                    <a:pt x="10904" y="1339"/>
                  </a:lnTo>
                  <a:lnTo>
                    <a:pt x="10890" y="1352"/>
                  </a:lnTo>
                  <a:lnTo>
                    <a:pt x="10873" y="1366"/>
                  </a:lnTo>
                  <a:lnTo>
                    <a:pt x="10858" y="1378"/>
                  </a:lnTo>
                  <a:lnTo>
                    <a:pt x="10842" y="1390"/>
                  </a:lnTo>
                  <a:lnTo>
                    <a:pt x="10825" y="1402"/>
                  </a:lnTo>
                  <a:lnTo>
                    <a:pt x="10807" y="1412"/>
                  </a:lnTo>
                  <a:lnTo>
                    <a:pt x="10790" y="1423"/>
                  </a:lnTo>
                  <a:lnTo>
                    <a:pt x="10773" y="1433"/>
                  </a:lnTo>
                  <a:lnTo>
                    <a:pt x="10754" y="1442"/>
                  </a:lnTo>
                  <a:lnTo>
                    <a:pt x="10735" y="1451"/>
                  </a:lnTo>
                  <a:lnTo>
                    <a:pt x="10716" y="1459"/>
                  </a:lnTo>
                  <a:lnTo>
                    <a:pt x="10696" y="1466"/>
                  </a:lnTo>
                  <a:lnTo>
                    <a:pt x="10676" y="1473"/>
                  </a:lnTo>
                  <a:lnTo>
                    <a:pt x="10656" y="1479"/>
                  </a:lnTo>
                  <a:lnTo>
                    <a:pt x="10634" y="1486"/>
                  </a:lnTo>
                  <a:lnTo>
                    <a:pt x="10613" y="1491"/>
                  </a:lnTo>
                  <a:lnTo>
                    <a:pt x="10591" y="1495"/>
                  </a:lnTo>
                  <a:lnTo>
                    <a:pt x="10567" y="1499"/>
                  </a:lnTo>
                  <a:lnTo>
                    <a:pt x="10544" y="1502"/>
                  </a:lnTo>
                  <a:lnTo>
                    <a:pt x="10521" y="1505"/>
                  </a:lnTo>
                  <a:lnTo>
                    <a:pt x="10496" y="1507"/>
                  </a:lnTo>
                  <a:lnTo>
                    <a:pt x="10471" y="1509"/>
                  </a:lnTo>
                  <a:lnTo>
                    <a:pt x="10445" y="1510"/>
                  </a:lnTo>
                  <a:lnTo>
                    <a:pt x="10419" y="1510"/>
                  </a:lnTo>
                  <a:lnTo>
                    <a:pt x="10386" y="1509"/>
                  </a:lnTo>
                  <a:lnTo>
                    <a:pt x="10355" y="1507"/>
                  </a:lnTo>
                  <a:lnTo>
                    <a:pt x="10324" y="1504"/>
                  </a:lnTo>
                  <a:lnTo>
                    <a:pt x="10294" y="1500"/>
                  </a:lnTo>
                  <a:lnTo>
                    <a:pt x="10264" y="1494"/>
                  </a:lnTo>
                  <a:lnTo>
                    <a:pt x="10236" y="1487"/>
                  </a:lnTo>
                  <a:lnTo>
                    <a:pt x="10207" y="1478"/>
                  </a:lnTo>
                  <a:lnTo>
                    <a:pt x="10180" y="1468"/>
                  </a:lnTo>
                  <a:lnTo>
                    <a:pt x="10153" y="1458"/>
                  </a:lnTo>
                  <a:lnTo>
                    <a:pt x="10128" y="1446"/>
                  </a:lnTo>
                  <a:lnTo>
                    <a:pt x="10104" y="1433"/>
                  </a:lnTo>
                  <a:lnTo>
                    <a:pt x="10080" y="1418"/>
                  </a:lnTo>
                  <a:lnTo>
                    <a:pt x="10057" y="1403"/>
                  </a:lnTo>
                  <a:lnTo>
                    <a:pt x="10035" y="1387"/>
                  </a:lnTo>
                  <a:lnTo>
                    <a:pt x="10014" y="1370"/>
                  </a:lnTo>
                  <a:lnTo>
                    <a:pt x="9994" y="1351"/>
                  </a:lnTo>
                  <a:lnTo>
                    <a:pt x="9975" y="1332"/>
                  </a:lnTo>
                  <a:lnTo>
                    <a:pt x="9957" y="1312"/>
                  </a:lnTo>
                  <a:lnTo>
                    <a:pt x="9941" y="1289"/>
                  </a:lnTo>
                  <a:lnTo>
                    <a:pt x="9925" y="1268"/>
                  </a:lnTo>
                  <a:lnTo>
                    <a:pt x="9910" y="1245"/>
                  </a:lnTo>
                  <a:lnTo>
                    <a:pt x="9896" y="1220"/>
                  </a:lnTo>
                  <a:lnTo>
                    <a:pt x="9884" y="1195"/>
                  </a:lnTo>
                  <a:lnTo>
                    <a:pt x="9873" y="1169"/>
                  </a:lnTo>
                  <a:lnTo>
                    <a:pt x="9864" y="1143"/>
                  </a:lnTo>
                  <a:lnTo>
                    <a:pt x="9854" y="1114"/>
                  </a:lnTo>
                  <a:lnTo>
                    <a:pt x="9847" y="1087"/>
                  </a:lnTo>
                  <a:lnTo>
                    <a:pt x="9841" y="1057"/>
                  </a:lnTo>
                  <a:lnTo>
                    <a:pt x="9836" y="1028"/>
                  </a:lnTo>
                  <a:lnTo>
                    <a:pt x="9833" y="998"/>
                  </a:lnTo>
                  <a:lnTo>
                    <a:pt x="9831" y="966"/>
                  </a:lnTo>
                  <a:lnTo>
                    <a:pt x="9830" y="933"/>
                  </a:lnTo>
                  <a:lnTo>
                    <a:pt x="9831" y="901"/>
                  </a:lnTo>
                  <a:lnTo>
                    <a:pt x="9833" y="869"/>
                  </a:lnTo>
                  <a:lnTo>
                    <a:pt x="9836" y="839"/>
                  </a:lnTo>
                  <a:lnTo>
                    <a:pt x="9840" y="808"/>
                  </a:lnTo>
                  <a:lnTo>
                    <a:pt x="9846" y="779"/>
                  </a:lnTo>
                  <a:lnTo>
                    <a:pt x="9853" y="750"/>
                  </a:lnTo>
                  <a:lnTo>
                    <a:pt x="9863" y="723"/>
                  </a:lnTo>
                  <a:lnTo>
                    <a:pt x="9872" y="696"/>
                  </a:lnTo>
                  <a:lnTo>
                    <a:pt x="9883" y="670"/>
                  </a:lnTo>
                  <a:lnTo>
                    <a:pt x="9894" y="645"/>
                  </a:lnTo>
                  <a:lnTo>
                    <a:pt x="9907" y="620"/>
                  </a:lnTo>
                  <a:lnTo>
                    <a:pt x="9923" y="597"/>
                  </a:lnTo>
                  <a:lnTo>
                    <a:pt x="9938" y="575"/>
                  </a:lnTo>
                  <a:lnTo>
                    <a:pt x="9954" y="553"/>
                  </a:lnTo>
                  <a:lnTo>
                    <a:pt x="9971" y="533"/>
                  </a:lnTo>
                  <a:lnTo>
                    <a:pt x="9991" y="513"/>
                  </a:lnTo>
                  <a:lnTo>
                    <a:pt x="10010" y="496"/>
                  </a:lnTo>
                  <a:lnTo>
                    <a:pt x="10031" y="479"/>
                  </a:lnTo>
                  <a:lnTo>
                    <a:pt x="10053" y="463"/>
                  </a:lnTo>
                  <a:lnTo>
                    <a:pt x="10075" y="447"/>
                  </a:lnTo>
                  <a:lnTo>
                    <a:pt x="10099" y="433"/>
                  </a:lnTo>
                  <a:lnTo>
                    <a:pt x="10124" y="420"/>
                  </a:lnTo>
                  <a:lnTo>
                    <a:pt x="10149" y="409"/>
                  </a:lnTo>
                  <a:lnTo>
                    <a:pt x="10176" y="399"/>
                  </a:lnTo>
                  <a:lnTo>
                    <a:pt x="10203" y="388"/>
                  </a:lnTo>
                  <a:lnTo>
                    <a:pt x="10232" y="380"/>
                  </a:lnTo>
                  <a:lnTo>
                    <a:pt x="10261" y="373"/>
                  </a:lnTo>
                  <a:lnTo>
                    <a:pt x="10291" y="368"/>
                  </a:lnTo>
                  <a:lnTo>
                    <a:pt x="10322" y="363"/>
                  </a:lnTo>
                  <a:lnTo>
                    <a:pt x="10354" y="360"/>
                  </a:lnTo>
                  <a:lnTo>
                    <a:pt x="10386" y="358"/>
                  </a:lnTo>
                  <a:lnTo>
                    <a:pt x="10419" y="358"/>
                  </a:lnTo>
                  <a:lnTo>
                    <a:pt x="10445" y="358"/>
                  </a:lnTo>
                  <a:lnTo>
                    <a:pt x="10471" y="359"/>
                  </a:lnTo>
                  <a:lnTo>
                    <a:pt x="10496" y="360"/>
                  </a:lnTo>
                  <a:lnTo>
                    <a:pt x="10521" y="362"/>
                  </a:lnTo>
                  <a:lnTo>
                    <a:pt x="10544" y="365"/>
                  </a:lnTo>
                  <a:lnTo>
                    <a:pt x="10567" y="368"/>
                  </a:lnTo>
                  <a:lnTo>
                    <a:pt x="10591" y="372"/>
                  </a:lnTo>
                  <a:lnTo>
                    <a:pt x="10613" y="377"/>
                  </a:lnTo>
                  <a:lnTo>
                    <a:pt x="10634" y="382"/>
                  </a:lnTo>
                  <a:lnTo>
                    <a:pt x="10656" y="388"/>
                  </a:lnTo>
                  <a:lnTo>
                    <a:pt x="10676" y="395"/>
                  </a:lnTo>
                  <a:lnTo>
                    <a:pt x="10696" y="402"/>
                  </a:lnTo>
                  <a:lnTo>
                    <a:pt x="10716" y="409"/>
                  </a:lnTo>
                  <a:lnTo>
                    <a:pt x="10735" y="417"/>
                  </a:lnTo>
                  <a:lnTo>
                    <a:pt x="10754" y="425"/>
                  </a:lnTo>
                  <a:lnTo>
                    <a:pt x="10773" y="435"/>
                  </a:lnTo>
                  <a:lnTo>
                    <a:pt x="10790" y="444"/>
                  </a:lnTo>
                  <a:lnTo>
                    <a:pt x="10807" y="455"/>
                  </a:lnTo>
                  <a:lnTo>
                    <a:pt x="10825" y="466"/>
                  </a:lnTo>
                  <a:lnTo>
                    <a:pt x="10842" y="477"/>
                  </a:lnTo>
                  <a:lnTo>
                    <a:pt x="10858" y="489"/>
                  </a:lnTo>
                  <a:lnTo>
                    <a:pt x="10873" y="502"/>
                  </a:lnTo>
                  <a:lnTo>
                    <a:pt x="10890" y="515"/>
                  </a:lnTo>
                  <a:lnTo>
                    <a:pt x="10904" y="529"/>
                  </a:lnTo>
                  <a:lnTo>
                    <a:pt x="10919" y="543"/>
                  </a:lnTo>
                  <a:lnTo>
                    <a:pt x="10933" y="557"/>
                  </a:lnTo>
                  <a:lnTo>
                    <a:pt x="10948" y="572"/>
                  </a:lnTo>
                  <a:lnTo>
                    <a:pt x="10962" y="589"/>
                  </a:lnTo>
                  <a:lnTo>
                    <a:pt x="10975" y="605"/>
                  </a:lnTo>
                  <a:lnTo>
                    <a:pt x="10988" y="621"/>
                  </a:lnTo>
                  <a:lnTo>
                    <a:pt x="11002" y="639"/>
                  </a:lnTo>
                  <a:lnTo>
                    <a:pt x="11015" y="657"/>
                  </a:lnTo>
                  <a:lnTo>
                    <a:pt x="11327" y="4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2" name="Freeform 6"/>
            <p:cNvSpPr>
              <a:spLocks noEditPoints="1"/>
            </p:cNvSpPr>
            <p:nvPr userDrawn="1"/>
          </p:nvSpPr>
          <p:spPr bwMode="auto">
            <a:xfrm>
              <a:off x="490538" y="487363"/>
              <a:ext cx="466725" cy="455612"/>
            </a:xfrm>
            <a:custGeom>
              <a:avLst/>
              <a:gdLst>
                <a:gd name="T0" fmla="*/ 1853 w 3532"/>
                <a:gd name="T1" fmla="*/ 1336 h 3444"/>
                <a:gd name="T2" fmla="*/ 1828 w 3532"/>
                <a:gd name="T3" fmla="*/ 1351 h 3444"/>
                <a:gd name="T4" fmla="*/ 1795 w 3532"/>
                <a:gd name="T5" fmla="*/ 1349 h 3444"/>
                <a:gd name="T6" fmla="*/ 1104 w 3532"/>
                <a:gd name="T7" fmla="*/ 1069 h 3444"/>
                <a:gd name="T8" fmla="*/ 1071 w 3532"/>
                <a:gd name="T9" fmla="*/ 1010 h 3444"/>
                <a:gd name="T10" fmla="*/ 1204 w 3532"/>
                <a:gd name="T11" fmla="*/ 141 h 3444"/>
                <a:gd name="T12" fmla="*/ 1231 w 3532"/>
                <a:gd name="T13" fmla="*/ 77 h 3444"/>
                <a:gd name="T14" fmla="*/ 1287 w 3532"/>
                <a:gd name="T15" fmla="*/ 37 h 3444"/>
                <a:gd name="T16" fmla="*/ 2026 w 3532"/>
                <a:gd name="T17" fmla="*/ 0 h 3444"/>
                <a:gd name="T18" fmla="*/ 2055 w 3532"/>
                <a:gd name="T19" fmla="*/ 11 h 3444"/>
                <a:gd name="T20" fmla="*/ 2072 w 3532"/>
                <a:gd name="T21" fmla="*/ 37 h 3444"/>
                <a:gd name="T22" fmla="*/ 1399 w 3532"/>
                <a:gd name="T23" fmla="*/ 1554 h 3444"/>
                <a:gd name="T24" fmla="*/ 1417 w 3532"/>
                <a:gd name="T25" fmla="*/ 1578 h 3444"/>
                <a:gd name="T26" fmla="*/ 1414 w 3532"/>
                <a:gd name="T27" fmla="*/ 1610 h 3444"/>
                <a:gd name="T28" fmla="*/ 958 w 3532"/>
                <a:gd name="T29" fmla="*/ 2172 h 3444"/>
                <a:gd name="T30" fmla="*/ 893 w 3532"/>
                <a:gd name="T31" fmla="*/ 2208 h 3444"/>
                <a:gd name="T32" fmla="*/ 826 w 3532"/>
                <a:gd name="T33" fmla="*/ 2201 h 3444"/>
                <a:gd name="T34" fmla="*/ 45 w 3532"/>
                <a:gd name="T35" fmla="*/ 1796 h 3444"/>
                <a:gd name="T36" fmla="*/ 6 w 3532"/>
                <a:gd name="T37" fmla="*/ 1741 h 3444"/>
                <a:gd name="T38" fmla="*/ 4 w 3532"/>
                <a:gd name="T39" fmla="*/ 1664 h 3444"/>
                <a:gd name="T40" fmla="*/ 200 w 3532"/>
                <a:gd name="T41" fmla="*/ 976 h 3444"/>
                <a:gd name="T42" fmla="*/ 226 w 3532"/>
                <a:gd name="T43" fmla="*/ 959 h 3444"/>
                <a:gd name="T44" fmla="*/ 255 w 3532"/>
                <a:gd name="T45" fmla="*/ 963 h 3444"/>
                <a:gd name="T46" fmla="*/ 1491 w 3532"/>
                <a:gd name="T47" fmla="*/ 2055 h 3444"/>
                <a:gd name="T48" fmla="*/ 1521 w 3532"/>
                <a:gd name="T49" fmla="*/ 2057 h 3444"/>
                <a:gd name="T50" fmla="*/ 1546 w 3532"/>
                <a:gd name="T51" fmla="*/ 2077 h 3444"/>
                <a:gd name="T52" fmla="*/ 1940 w 3532"/>
                <a:gd name="T53" fmla="*/ 2711 h 3444"/>
                <a:gd name="T54" fmla="*/ 1933 w 3532"/>
                <a:gd name="T55" fmla="*/ 2779 h 3444"/>
                <a:gd name="T56" fmla="*/ 1315 w 3532"/>
                <a:gd name="T57" fmla="*/ 3402 h 3444"/>
                <a:gd name="T58" fmla="*/ 1256 w 3532"/>
                <a:gd name="T59" fmla="*/ 3439 h 3444"/>
                <a:gd name="T60" fmla="*/ 1187 w 3532"/>
                <a:gd name="T61" fmla="*/ 3439 h 3444"/>
                <a:gd name="T62" fmla="*/ 567 w 3532"/>
                <a:gd name="T63" fmla="*/ 3035 h 3444"/>
                <a:gd name="T64" fmla="*/ 549 w 3532"/>
                <a:gd name="T65" fmla="*/ 3009 h 3444"/>
                <a:gd name="T66" fmla="*/ 551 w 3532"/>
                <a:gd name="T67" fmla="*/ 2978 h 3444"/>
                <a:gd name="T68" fmla="*/ 1987 w 3532"/>
                <a:gd name="T69" fmla="*/ 2144 h 3444"/>
                <a:gd name="T70" fmla="*/ 1988 w 3532"/>
                <a:gd name="T71" fmla="*/ 2114 h 3444"/>
                <a:gd name="T72" fmla="*/ 2009 w 3532"/>
                <a:gd name="T73" fmla="*/ 2091 h 3444"/>
                <a:gd name="T74" fmla="*/ 2707 w 3532"/>
                <a:gd name="T75" fmla="*/ 1899 h 3444"/>
                <a:gd name="T76" fmla="*/ 2780 w 3532"/>
                <a:gd name="T77" fmla="*/ 1910 h 3444"/>
                <a:gd name="T78" fmla="*/ 2832 w 3532"/>
                <a:gd name="T79" fmla="*/ 1953 h 3444"/>
                <a:gd name="T80" fmla="*/ 3229 w 3532"/>
                <a:gd name="T81" fmla="*/ 2739 h 3444"/>
                <a:gd name="T82" fmla="*/ 3227 w 3532"/>
                <a:gd name="T83" fmla="*/ 2806 h 3444"/>
                <a:gd name="T84" fmla="*/ 3184 w 3532"/>
                <a:gd name="T85" fmla="*/ 2871 h 3444"/>
                <a:gd name="T86" fmla="*/ 2624 w 3532"/>
                <a:gd name="T87" fmla="*/ 3314 h 3444"/>
                <a:gd name="T88" fmla="*/ 2593 w 3532"/>
                <a:gd name="T89" fmla="*/ 3313 h 3444"/>
                <a:gd name="T90" fmla="*/ 2570 w 3532"/>
                <a:gd name="T91" fmla="*/ 3292 h 3444"/>
                <a:gd name="T92" fmla="*/ 2206 w 3532"/>
                <a:gd name="T93" fmla="*/ 1686 h 3444"/>
                <a:gd name="T94" fmla="*/ 2183 w 3532"/>
                <a:gd name="T95" fmla="*/ 1667 h 3444"/>
                <a:gd name="T96" fmla="*/ 2176 w 3532"/>
                <a:gd name="T97" fmla="*/ 1635 h 3444"/>
                <a:gd name="T98" fmla="*/ 2229 w 3532"/>
                <a:gd name="T99" fmla="*/ 892 h 3444"/>
                <a:gd name="T100" fmla="*/ 2275 w 3532"/>
                <a:gd name="T101" fmla="*/ 841 h 3444"/>
                <a:gd name="T102" fmla="*/ 3142 w 3532"/>
                <a:gd name="T103" fmla="*/ 700 h 3444"/>
                <a:gd name="T104" fmla="*/ 3211 w 3532"/>
                <a:gd name="T105" fmla="*/ 706 h 3444"/>
                <a:gd name="T106" fmla="*/ 3268 w 3532"/>
                <a:gd name="T107" fmla="*/ 746 h 3444"/>
                <a:gd name="T108" fmla="*/ 3530 w 3532"/>
                <a:gd name="T109" fmla="*/ 1438 h 3444"/>
                <a:gd name="T110" fmla="*/ 3529 w 3532"/>
                <a:gd name="T111" fmla="*/ 1469 h 3444"/>
                <a:gd name="T112" fmla="*/ 3510 w 3532"/>
                <a:gd name="T113" fmla="*/ 1493 h 3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32" h="3444">
                  <a:moveTo>
                    <a:pt x="2072" y="52"/>
                  </a:moveTo>
                  <a:lnTo>
                    <a:pt x="1861" y="1317"/>
                  </a:lnTo>
                  <a:lnTo>
                    <a:pt x="1860" y="1322"/>
                  </a:lnTo>
                  <a:lnTo>
                    <a:pt x="1858" y="1327"/>
                  </a:lnTo>
                  <a:lnTo>
                    <a:pt x="1856" y="1332"/>
                  </a:lnTo>
                  <a:lnTo>
                    <a:pt x="1853" y="1336"/>
                  </a:lnTo>
                  <a:lnTo>
                    <a:pt x="1849" y="1340"/>
                  </a:lnTo>
                  <a:lnTo>
                    <a:pt x="1846" y="1343"/>
                  </a:lnTo>
                  <a:lnTo>
                    <a:pt x="1842" y="1346"/>
                  </a:lnTo>
                  <a:lnTo>
                    <a:pt x="1837" y="1348"/>
                  </a:lnTo>
                  <a:lnTo>
                    <a:pt x="1833" y="1350"/>
                  </a:lnTo>
                  <a:lnTo>
                    <a:pt x="1828" y="1351"/>
                  </a:lnTo>
                  <a:lnTo>
                    <a:pt x="1822" y="1352"/>
                  </a:lnTo>
                  <a:lnTo>
                    <a:pt x="1817" y="1353"/>
                  </a:lnTo>
                  <a:lnTo>
                    <a:pt x="1811" y="1352"/>
                  </a:lnTo>
                  <a:lnTo>
                    <a:pt x="1806" y="1352"/>
                  </a:lnTo>
                  <a:lnTo>
                    <a:pt x="1801" y="1351"/>
                  </a:lnTo>
                  <a:lnTo>
                    <a:pt x="1795" y="1349"/>
                  </a:lnTo>
                  <a:lnTo>
                    <a:pt x="1163" y="1105"/>
                  </a:lnTo>
                  <a:lnTo>
                    <a:pt x="1149" y="1099"/>
                  </a:lnTo>
                  <a:lnTo>
                    <a:pt x="1136" y="1092"/>
                  </a:lnTo>
                  <a:lnTo>
                    <a:pt x="1125" y="1085"/>
                  </a:lnTo>
                  <a:lnTo>
                    <a:pt x="1114" y="1077"/>
                  </a:lnTo>
                  <a:lnTo>
                    <a:pt x="1104" y="1069"/>
                  </a:lnTo>
                  <a:lnTo>
                    <a:pt x="1096" y="1060"/>
                  </a:lnTo>
                  <a:lnTo>
                    <a:pt x="1089" y="1050"/>
                  </a:lnTo>
                  <a:lnTo>
                    <a:pt x="1083" y="1041"/>
                  </a:lnTo>
                  <a:lnTo>
                    <a:pt x="1078" y="1031"/>
                  </a:lnTo>
                  <a:lnTo>
                    <a:pt x="1074" y="1020"/>
                  </a:lnTo>
                  <a:lnTo>
                    <a:pt x="1071" y="1010"/>
                  </a:lnTo>
                  <a:lnTo>
                    <a:pt x="1068" y="999"/>
                  </a:lnTo>
                  <a:lnTo>
                    <a:pt x="1067" y="986"/>
                  </a:lnTo>
                  <a:lnTo>
                    <a:pt x="1067" y="975"/>
                  </a:lnTo>
                  <a:lnTo>
                    <a:pt x="1068" y="963"/>
                  </a:lnTo>
                  <a:lnTo>
                    <a:pt x="1069" y="951"/>
                  </a:lnTo>
                  <a:lnTo>
                    <a:pt x="1204" y="141"/>
                  </a:lnTo>
                  <a:lnTo>
                    <a:pt x="1206" y="130"/>
                  </a:lnTo>
                  <a:lnTo>
                    <a:pt x="1209" y="118"/>
                  </a:lnTo>
                  <a:lnTo>
                    <a:pt x="1213" y="107"/>
                  </a:lnTo>
                  <a:lnTo>
                    <a:pt x="1218" y="97"/>
                  </a:lnTo>
                  <a:lnTo>
                    <a:pt x="1224" y="86"/>
                  </a:lnTo>
                  <a:lnTo>
                    <a:pt x="1231" y="77"/>
                  </a:lnTo>
                  <a:lnTo>
                    <a:pt x="1238" y="69"/>
                  </a:lnTo>
                  <a:lnTo>
                    <a:pt x="1246" y="61"/>
                  </a:lnTo>
                  <a:lnTo>
                    <a:pt x="1255" y="54"/>
                  </a:lnTo>
                  <a:lnTo>
                    <a:pt x="1265" y="47"/>
                  </a:lnTo>
                  <a:lnTo>
                    <a:pt x="1275" y="42"/>
                  </a:lnTo>
                  <a:lnTo>
                    <a:pt x="1287" y="37"/>
                  </a:lnTo>
                  <a:lnTo>
                    <a:pt x="1300" y="33"/>
                  </a:lnTo>
                  <a:lnTo>
                    <a:pt x="1313" y="29"/>
                  </a:lnTo>
                  <a:lnTo>
                    <a:pt x="1327" y="27"/>
                  </a:lnTo>
                  <a:lnTo>
                    <a:pt x="1342" y="26"/>
                  </a:lnTo>
                  <a:lnTo>
                    <a:pt x="2020" y="0"/>
                  </a:lnTo>
                  <a:lnTo>
                    <a:pt x="2026" y="0"/>
                  </a:lnTo>
                  <a:lnTo>
                    <a:pt x="2031" y="1"/>
                  </a:lnTo>
                  <a:lnTo>
                    <a:pt x="2036" y="2"/>
                  </a:lnTo>
                  <a:lnTo>
                    <a:pt x="2042" y="3"/>
                  </a:lnTo>
                  <a:lnTo>
                    <a:pt x="2046" y="5"/>
                  </a:lnTo>
                  <a:lnTo>
                    <a:pt x="2051" y="8"/>
                  </a:lnTo>
                  <a:lnTo>
                    <a:pt x="2055" y="11"/>
                  </a:lnTo>
                  <a:lnTo>
                    <a:pt x="2059" y="14"/>
                  </a:lnTo>
                  <a:lnTo>
                    <a:pt x="2062" y="18"/>
                  </a:lnTo>
                  <a:lnTo>
                    <a:pt x="2066" y="22"/>
                  </a:lnTo>
                  <a:lnTo>
                    <a:pt x="2068" y="26"/>
                  </a:lnTo>
                  <a:lnTo>
                    <a:pt x="2070" y="32"/>
                  </a:lnTo>
                  <a:lnTo>
                    <a:pt x="2072" y="37"/>
                  </a:lnTo>
                  <a:lnTo>
                    <a:pt x="2072" y="42"/>
                  </a:lnTo>
                  <a:lnTo>
                    <a:pt x="2073" y="47"/>
                  </a:lnTo>
                  <a:lnTo>
                    <a:pt x="2072" y="52"/>
                  </a:lnTo>
                  <a:close/>
                  <a:moveTo>
                    <a:pt x="255" y="963"/>
                  </a:moveTo>
                  <a:lnTo>
                    <a:pt x="1394" y="1551"/>
                  </a:lnTo>
                  <a:lnTo>
                    <a:pt x="1399" y="1554"/>
                  </a:lnTo>
                  <a:lnTo>
                    <a:pt x="1403" y="1557"/>
                  </a:lnTo>
                  <a:lnTo>
                    <a:pt x="1408" y="1561"/>
                  </a:lnTo>
                  <a:lnTo>
                    <a:pt x="1411" y="1565"/>
                  </a:lnTo>
                  <a:lnTo>
                    <a:pt x="1413" y="1569"/>
                  </a:lnTo>
                  <a:lnTo>
                    <a:pt x="1415" y="1574"/>
                  </a:lnTo>
                  <a:lnTo>
                    <a:pt x="1417" y="1578"/>
                  </a:lnTo>
                  <a:lnTo>
                    <a:pt x="1418" y="1583"/>
                  </a:lnTo>
                  <a:lnTo>
                    <a:pt x="1418" y="1588"/>
                  </a:lnTo>
                  <a:lnTo>
                    <a:pt x="1418" y="1593"/>
                  </a:lnTo>
                  <a:lnTo>
                    <a:pt x="1417" y="1599"/>
                  </a:lnTo>
                  <a:lnTo>
                    <a:pt x="1416" y="1605"/>
                  </a:lnTo>
                  <a:lnTo>
                    <a:pt x="1414" y="1610"/>
                  </a:lnTo>
                  <a:lnTo>
                    <a:pt x="1412" y="1614"/>
                  </a:lnTo>
                  <a:lnTo>
                    <a:pt x="1409" y="1619"/>
                  </a:lnTo>
                  <a:lnTo>
                    <a:pt x="1405" y="1624"/>
                  </a:lnTo>
                  <a:lnTo>
                    <a:pt x="978" y="2151"/>
                  </a:lnTo>
                  <a:lnTo>
                    <a:pt x="969" y="2162"/>
                  </a:lnTo>
                  <a:lnTo>
                    <a:pt x="958" y="2172"/>
                  </a:lnTo>
                  <a:lnTo>
                    <a:pt x="948" y="2181"/>
                  </a:lnTo>
                  <a:lnTo>
                    <a:pt x="938" y="2188"/>
                  </a:lnTo>
                  <a:lnTo>
                    <a:pt x="926" y="2195"/>
                  </a:lnTo>
                  <a:lnTo>
                    <a:pt x="915" y="2200"/>
                  </a:lnTo>
                  <a:lnTo>
                    <a:pt x="904" y="2204"/>
                  </a:lnTo>
                  <a:lnTo>
                    <a:pt x="893" y="2208"/>
                  </a:lnTo>
                  <a:lnTo>
                    <a:pt x="882" y="2209"/>
                  </a:lnTo>
                  <a:lnTo>
                    <a:pt x="871" y="2210"/>
                  </a:lnTo>
                  <a:lnTo>
                    <a:pt x="859" y="2209"/>
                  </a:lnTo>
                  <a:lnTo>
                    <a:pt x="848" y="2208"/>
                  </a:lnTo>
                  <a:lnTo>
                    <a:pt x="837" y="2206"/>
                  </a:lnTo>
                  <a:lnTo>
                    <a:pt x="826" y="2201"/>
                  </a:lnTo>
                  <a:lnTo>
                    <a:pt x="815" y="2197"/>
                  </a:lnTo>
                  <a:lnTo>
                    <a:pt x="803" y="2192"/>
                  </a:lnTo>
                  <a:lnTo>
                    <a:pt x="74" y="1816"/>
                  </a:lnTo>
                  <a:lnTo>
                    <a:pt x="64" y="1810"/>
                  </a:lnTo>
                  <a:lnTo>
                    <a:pt x="54" y="1803"/>
                  </a:lnTo>
                  <a:lnTo>
                    <a:pt x="45" y="1796"/>
                  </a:lnTo>
                  <a:lnTo>
                    <a:pt x="37" y="1789"/>
                  </a:lnTo>
                  <a:lnTo>
                    <a:pt x="28" y="1779"/>
                  </a:lnTo>
                  <a:lnTo>
                    <a:pt x="21" y="1771"/>
                  </a:lnTo>
                  <a:lnTo>
                    <a:pt x="15" y="1761"/>
                  </a:lnTo>
                  <a:lnTo>
                    <a:pt x="10" y="1751"/>
                  </a:lnTo>
                  <a:lnTo>
                    <a:pt x="6" y="1741"/>
                  </a:lnTo>
                  <a:lnTo>
                    <a:pt x="3" y="1729"/>
                  </a:lnTo>
                  <a:lnTo>
                    <a:pt x="1" y="1717"/>
                  </a:lnTo>
                  <a:lnTo>
                    <a:pt x="0" y="1704"/>
                  </a:lnTo>
                  <a:lnTo>
                    <a:pt x="0" y="1691"/>
                  </a:lnTo>
                  <a:lnTo>
                    <a:pt x="1" y="1678"/>
                  </a:lnTo>
                  <a:lnTo>
                    <a:pt x="4" y="1664"/>
                  </a:lnTo>
                  <a:lnTo>
                    <a:pt x="7" y="1648"/>
                  </a:lnTo>
                  <a:lnTo>
                    <a:pt x="190" y="995"/>
                  </a:lnTo>
                  <a:lnTo>
                    <a:pt x="192" y="990"/>
                  </a:lnTo>
                  <a:lnTo>
                    <a:pt x="194" y="985"/>
                  </a:lnTo>
                  <a:lnTo>
                    <a:pt x="197" y="980"/>
                  </a:lnTo>
                  <a:lnTo>
                    <a:pt x="200" y="976"/>
                  </a:lnTo>
                  <a:lnTo>
                    <a:pt x="203" y="972"/>
                  </a:lnTo>
                  <a:lnTo>
                    <a:pt x="207" y="969"/>
                  </a:lnTo>
                  <a:lnTo>
                    <a:pt x="212" y="965"/>
                  </a:lnTo>
                  <a:lnTo>
                    <a:pt x="216" y="963"/>
                  </a:lnTo>
                  <a:lnTo>
                    <a:pt x="221" y="961"/>
                  </a:lnTo>
                  <a:lnTo>
                    <a:pt x="226" y="959"/>
                  </a:lnTo>
                  <a:lnTo>
                    <a:pt x="230" y="958"/>
                  </a:lnTo>
                  <a:lnTo>
                    <a:pt x="235" y="958"/>
                  </a:lnTo>
                  <a:lnTo>
                    <a:pt x="240" y="958"/>
                  </a:lnTo>
                  <a:lnTo>
                    <a:pt x="245" y="959"/>
                  </a:lnTo>
                  <a:lnTo>
                    <a:pt x="250" y="960"/>
                  </a:lnTo>
                  <a:lnTo>
                    <a:pt x="255" y="963"/>
                  </a:lnTo>
                  <a:close/>
                  <a:moveTo>
                    <a:pt x="560" y="2966"/>
                  </a:moveTo>
                  <a:lnTo>
                    <a:pt x="1474" y="2066"/>
                  </a:lnTo>
                  <a:lnTo>
                    <a:pt x="1478" y="2062"/>
                  </a:lnTo>
                  <a:lnTo>
                    <a:pt x="1482" y="2059"/>
                  </a:lnTo>
                  <a:lnTo>
                    <a:pt x="1487" y="2057"/>
                  </a:lnTo>
                  <a:lnTo>
                    <a:pt x="1491" y="2055"/>
                  </a:lnTo>
                  <a:lnTo>
                    <a:pt x="1496" y="2054"/>
                  </a:lnTo>
                  <a:lnTo>
                    <a:pt x="1501" y="2053"/>
                  </a:lnTo>
                  <a:lnTo>
                    <a:pt x="1506" y="2054"/>
                  </a:lnTo>
                  <a:lnTo>
                    <a:pt x="1511" y="2054"/>
                  </a:lnTo>
                  <a:lnTo>
                    <a:pt x="1516" y="2055"/>
                  </a:lnTo>
                  <a:lnTo>
                    <a:pt x="1521" y="2057"/>
                  </a:lnTo>
                  <a:lnTo>
                    <a:pt x="1526" y="2059"/>
                  </a:lnTo>
                  <a:lnTo>
                    <a:pt x="1531" y="2062"/>
                  </a:lnTo>
                  <a:lnTo>
                    <a:pt x="1535" y="2065"/>
                  </a:lnTo>
                  <a:lnTo>
                    <a:pt x="1539" y="2069"/>
                  </a:lnTo>
                  <a:lnTo>
                    <a:pt x="1543" y="2073"/>
                  </a:lnTo>
                  <a:lnTo>
                    <a:pt x="1546" y="2077"/>
                  </a:lnTo>
                  <a:lnTo>
                    <a:pt x="1914" y="2647"/>
                  </a:lnTo>
                  <a:lnTo>
                    <a:pt x="1922" y="2660"/>
                  </a:lnTo>
                  <a:lnTo>
                    <a:pt x="1928" y="2673"/>
                  </a:lnTo>
                  <a:lnTo>
                    <a:pt x="1933" y="2685"/>
                  </a:lnTo>
                  <a:lnTo>
                    <a:pt x="1937" y="2699"/>
                  </a:lnTo>
                  <a:lnTo>
                    <a:pt x="1940" y="2711"/>
                  </a:lnTo>
                  <a:lnTo>
                    <a:pt x="1941" y="2723"/>
                  </a:lnTo>
                  <a:lnTo>
                    <a:pt x="1942" y="2734"/>
                  </a:lnTo>
                  <a:lnTo>
                    <a:pt x="1941" y="2745"/>
                  </a:lnTo>
                  <a:lnTo>
                    <a:pt x="1939" y="2758"/>
                  </a:lnTo>
                  <a:lnTo>
                    <a:pt x="1936" y="2768"/>
                  </a:lnTo>
                  <a:lnTo>
                    <a:pt x="1933" y="2779"/>
                  </a:lnTo>
                  <a:lnTo>
                    <a:pt x="1928" y="2789"/>
                  </a:lnTo>
                  <a:lnTo>
                    <a:pt x="1922" y="2799"/>
                  </a:lnTo>
                  <a:lnTo>
                    <a:pt x="1915" y="2808"/>
                  </a:lnTo>
                  <a:lnTo>
                    <a:pt x="1908" y="2818"/>
                  </a:lnTo>
                  <a:lnTo>
                    <a:pt x="1900" y="2827"/>
                  </a:lnTo>
                  <a:lnTo>
                    <a:pt x="1315" y="3402"/>
                  </a:lnTo>
                  <a:lnTo>
                    <a:pt x="1307" y="3410"/>
                  </a:lnTo>
                  <a:lnTo>
                    <a:pt x="1297" y="3419"/>
                  </a:lnTo>
                  <a:lnTo>
                    <a:pt x="1288" y="3425"/>
                  </a:lnTo>
                  <a:lnTo>
                    <a:pt x="1277" y="3431"/>
                  </a:lnTo>
                  <a:lnTo>
                    <a:pt x="1267" y="3435"/>
                  </a:lnTo>
                  <a:lnTo>
                    <a:pt x="1256" y="3439"/>
                  </a:lnTo>
                  <a:lnTo>
                    <a:pt x="1245" y="3442"/>
                  </a:lnTo>
                  <a:lnTo>
                    <a:pt x="1234" y="3443"/>
                  </a:lnTo>
                  <a:lnTo>
                    <a:pt x="1222" y="3444"/>
                  </a:lnTo>
                  <a:lnTo>
                    <a:pt x="1211" y="3443"/>
                  </a:lnTo>
                  <a:lnTo>
                    <a:pt x="1199" y="3442"/>
                  </a:lnTo>
                  <a:lnTo>
                    <a:pt x="1187" y="3439"/>
                  </a:lnTo>
                  <a:lnTo>
                    <a:pt x="1174" y="3435"/>
                  </a:lnTo>
                  <a:lnTo>
                    <a:pt x="1161" y="3430"/>
                  </a:lnTo>
                  <a:lnTo>
                    <a:pt x="1148" y="3423"/>
                  </a:lnTo>
                  <a:lnTo>
                    <a:pt x="1136" y="3415"/>
                  </a:lnTo>
                  <a:lnTo>
                    <a:pt x="572" y="3038"/>
                  </a:lnTo>
                  <a:lnTo>
                    <a:pt x="567" y="3035"/>
                  </a:lnTo>
                  <a:lnTo>
                    <a:pt x="563" y="3031"/>
                  </a:lnTo>
                  <a:lnTo>
                    <a:pt x="559" y="3027"/>
                  </a:lnTo>
                  <a:lnTo>
                    <a:pt x="556" y="3023"/>
                  </a:lnTo>
                  <a:lnTo>
                    <a:pt x="553" y="3018"/>
                  </a:lnTo>
                  <a:lnTo>
                    <a:pt x="551" y="3014"/>
                  </a:lnTo>
                  <a:lnTo>
                    <a:pt x="549" y="3009"/>
                  </a:lnTo>
                  <a:lnTo>
                    <a:pt x="548" y="3004"/>
                  </a:lnTo>
                  <a:lnTo>
                    <a:pt x="548" y="2999"/>
                  </a:lnTo>
                  <a:lnTo>
                    <a:pt x="548" y="2994"/>
                  </a:lnTo>
                  <a:lnTo>
                    <a:pt x="548" y="2988"/>
                  </a:lnTo>
                  <a:lnTo>
                    <a:pt x="549" y="2983"/>
                  </a:lnTo>
                  <a:lnTo>
                    <a:pt x="551" y="2978"/>
                  </a:lnTo>
                  <a:lnTo>
                    <a:pt x="553" y="2974"/>
                  </a:lnTo>
                  <a:lnTo>
                    <a:pt x="556" y="2970"/>
                  </a:lnTo>
                  <a:lnTo>
                    <a:pt x="560" y="2966"/>
                  </a:lnTo>
                  <a:close/>
                  <a:moveTo>
                    <a:pt x="2570" y="3292"/>
                  </a:moveTo>
                  <a:lnTo>
                    <a:pt x="1990" y="2150"/>
                  </a:lnTo>
                  <a:lnTo>
                    <a:pt x="1987" y="2144"/>
                  </a:lnTo>
                  <a:lnTo>
                    <a:pt x="1986" y="2139"/>
                  </a:lnTo>
                  <a:lnTo>
                    <a:pt x="1985" y="2134"/>
                  </a:lnTo>
                  <a:lnTo>
                    <a:pt x="1985" y="2128"/>
                  </a:lnTo>
                  <a:lnTo>
                    <a:pt x="1986" y="2124"/>
                  </a:lnTo>
                  <a:lnTo>
                    <a:pt x="1987" y="2119"/>
                  </a:lnTo>
                  <a:lnTo>
                    <a:pt x="1988" y="2114"/>
                  </a:lnTo>
                  <a:lnTo>
                    <a:pt x="1990" y="2110"/>
                  </a:lnTo>
                  <a:lnTo>
                    <a:pt x="1993" y="2105"/>
                  </a:lnTo>
                  <a:lnTo>
                    <a:pt x="1996" y="2101"/>
                  </a:lnTo>
                  <a:lnTo>
                    <a:pt x="2000" y="2098"/>
                  </a:lnTo>
                  <a:lnTo>
                    <a:pt x="2003" y="2094"/>
                  </a:lnTo>
                  <a:lnTo>
                    <a:pt x="2009" y="2091"/>
                  </a:lnTo>
                  <a:lnTo>
                    <a:pt x="2013" y="2088"/>
                  </a:lnTo>
                  <a:lnTo>
                    <a:pt x="2018" y="2086"/>
                  </a:lnTo>
                  <a:lnTo>
                    <a:pt x="2024" y="2084"/>
                  </a:lnTo>
                  <a:lnTo>
                    <a:pt x="2678" y="1906"/>
                  </a:lnTo>
                  <a:lnTo>
                    <a:pt x="2693" y="1902"/>
                  </a:lnTo>
                  <a:lnTo>
                    <a:pt x="2707" y="1899"/>
                  </a:lnTo>
                  <a:lnTo>
                    <a:pt x="2720" y="1898"/>
                  </a:lnTo>
                  <a:lnTo>
                    <a:pt x="2734" y="1898"/>
                  </a:lnTo>
                  <a:lnTo>
                    <a:pt x="2746" y="1900"/>
                  </a:lnTo>
                  <a:lnTo>
                    <a:pt x="2758" y="1902"/>
                  </a:lnTo>
                  <a:lnTo>
                    <a:pt x="2769" y="1906"/>
                  </a:lnTo>
                  <a:lnTo>
                    <a:pt x="2780" y="1910"/>
                  </a:lnTo>
                  <a:lnTo>
                    <a:pt x="2791" y="1915"/>
                  </a:lnTo>
                  <a:lnTo>
                    <a:pt x="2800" y="1921"/>
                  </a:lnTo>
                  <a:lnTo>
                    <a:pt x="2809" y="1928"/>
                  </a:lnTo>
                  <a:lnTo>
                    <a:pt x="2817" y="1936"/>
                  </a:lnTo>
                  <a:lnTo>
                    <a:pt x="2825" y="1944"/>
                  </a:lnTo>
                  <a:lnTo>
                    <a:pt x="2832" y="1953"/>
                  </a:lnTo>
                  <a:lnTo>
                    <a:pt x="2838" y="1963"/>
                  </a:lnTo>
                  <a:lnTo>
                    <a:pt x="2845" y="1974"/>
                  </a:lnTo>
                  <a:lnTo>
                    <a:pt x="3216" y="2706"/>
                  </a:lnTo>
                  <a:lnTo>
                    <a:pt x="3221" y="2717"/>
                  </a:lnTo>
                  <a:lnTo>
                    <a:pt x="3225" y="2727"/>
                  </a:lnTo>
                  <a:lnTo>
                    <a:pt x="3229" y="2739"/>
                  </a:lnTo>
                  <a:lnTo>
                    <a:pt x="3231" y="2751"/>
                  </a:lnTo>
                  <a:lnTo>
                    <a:pt x="3232" y="2762"/>
                  </a:lnTo>
                  <a:lnTo>
                    <a:pt x="3233" y="2773"/>
                  </a:lnTo>
                  <a:lnTo>
                    <a:pt x="3232" y="2784"/>
                  </a:lnTo>
                  <a:lnTo>
                    <a:pt x="3230" y="2795"/>
                  </a:lnTo>
                  <a:lnTo>
                    <a:pt x="3227" y="2806"/>
                  </a:lnTo>
                  <a:lnTo>
                    <a:pt x="3223" y="2818"/>
                  </a:lnTo>
                  <a:lnTo>
                    <a:pt x="3218" y="2829"/>
                  </a:lnTo>
                  <a:lnTo>
                    <a:pt x="3212" y="2839"/>
                  </a:lnTo>
                  <a:lnTo>
                    <a:pt x="3204" y="2850"/>
                  </a:lnTo>
                  <a:lnTo>
                    <a:pt x="3194" y="2860"/>
                  </a:lnTo>
                  <a:lnTo>
                    <a:pt x="3184" y="2871"/>
                  </a:lnTo>
                  <a:lnTo>
                    <a:pt x="3173" y="2881"/>
                  </a:lnTo>
                  <a:lnTo>
                    <a:pt x="2643" y="3304"/>
                  </a:lnTo>
                  <a:lnTo>
                    <a:pt x="2638" y="3307"/>
                  </a:lnTo>
                  <a:lnTo>
                    <a:pt x="2633" y="3310"/>
                  </a:lnTo>
                  <a:lnTo>
                    <a:pt x="2629" y="3312"/>
                  </a:lnTo>
                  <a:lnTo>
                    <a:pt x="2624" y="3314"/>
                  </a:lnTo>
                  <a:lnTo>
                    <a:pt x="2619" y="3315"/>
                  </a:lnTo>
                  <a:lnTo>
                    <a:pt x="2613" y="3316"/>
                  </a:lnTo>
                  <a:lnTo>
                    <a:pt x="2608" y="3316"/>
                  </a:lnTo>
                  <a:lnTo>
                    <a:pt x="2603" y="3315"/>
                  </a:lnTo>
                  <a:lnTo>
                    <a:pt x="2598" y="3314"/>
                  </a:lnTo>
                  <a:lnTo>
                    <a:pt x="2593" y="3313"/>
                  </a:lnTo>
                  <a:lnTo>
                    <a:pt x="2588" y="3311"/>
                  </a:lnTo>
                  <a:lnTo>
                    <a:pt x="2584" y="3308"/>
                  </a:lnTo>
                  <a:lnTo>
                    <a:pt x="2580" y="3305"/>
                  </a:lnTo>
                  <a:lnTo>
                    <a:pt x="2576" y="3302"/>
                  </a:lnTo>
                  <a:lnTo>
                    <a:pt x="2573" y="3297"/>
                  </a:lnTo>
                  <a:lnTo>
                    <a:pt x="2570" y="3292"/>
                  </a:lnTo>
                  <a:close/>
                  <a:moveTo>
                    <a:pt x="3494" y="1498"/>
                  </a:moveTo>
                  <a:lnTo>
                    <a:pt x="2227" y="1688"/>
                  </a:lnTo>
                  <a:lnTo>
                    <a:pt x="2222" y="1688"/>
                  </a:lnTo>
                  <a:lnTo>
                    <a:pt x="2216" y="1688"/>
                  </a:lnTo>
                  <a:lnTo>
                    <a:pt x="2211" y="1687"/>
                  </a:lnTo>
                  <a:lnTo>
                    <a:pt x="2206" y="1686"/>
                  </a:lnTo>
                  <a:lnTo>
                    <a:pt x="2202" y="1684"/>
                  </a:lnTo>
                  <a:lnTo>
                    <a:pt x="2198" y="1681"/>
                  </a:lnTo>
                  <a:lnTo>
                    <a:pt x="2194" y="1678"/>
                  </a:lnTo>
                  <a:lnTo>
                    <a:pt x="2190" y="1675"/>
                  </a:lnTo>
                  <a:lnTo>
                    <a:pt x="2187" y="1671"/>
                  </a:lnTo>
                  <a:lnTo>
                    <a:pt x="2183" y="1667"/>
                  </a:lnTo>
                  <a:lnTo>
                    <a:pt x="2181" y="1661"/>
                  </a:lnTo>
                  <a:lnTo>
                    <a:pt x="2179" y="1657"/>
                  </a:lnTo>
                  <a:lnTo>
                    <a:pt x="2177" y="1652"/>
                  </a:lnTo>
                  <a:lnTo>
                    <a:pt x="2176" y="1646"/>
                  </a:lnTo>
                  <a:lnTo>
                    <a:pt x="2176" y="1641"/>
                  </a:lnTo>
                  <a:lnTo>
                    <a:pt x="2176" y="1635"/>
                  </a:lnTo>
                  <a:lnTo>
                    <a:pt x="2213" y="959"/>
                  </a:lnTo>
                  <a:lnTo>
                    <a:pt x="2214" y="944"/>
                  </a:lnTo>
                  <a:lnTo>
                    <a:pt x="2217" y="929"/>
                  </a:lnTo>
                  <a:lnTo>
                    <a:pt x="2220" y="915"/>
                  </a:lnTo>
                  <a:lnTo>
                    <a:pt x="2224" y="903"/>
                  </a:lnTo>
                  <a:lnTo>
                    <a:pt x="2229" y="892"/>
                  </a:lnTo>
                  <a:lnTo>
                    <a:pt x="2235" y="881"/>
                  </a:lnTo>
                  <a:lnTo>
                    <a:pt x="2241" y="871"/>
                  </a:lnTo>
                  <a:lnTo>
                    <a:pt x="2250" y="862"/>
                  </a:lnTo>
                  <a:lnTo>
                    <a:pt x="2257" y="854"/>
                  </a:lnTo>
                  <a:lnTo>
                    <a:pt x="2266" y="847"/>
                  </a:lnTo>
                  <a:lnTo>
                    <a:pt x="2275" y="841"/>
                  </a:lnTo>
                  <a:lnTo>
                    <a:pt x="2285" y="836"/>
                  </a:lnTo>
                  <a:lnTo>
                    <a:pt x="2296" y="831"/>
                  </a:lnTo>
                  <a:lnTo>
                    <a:pt x="2307" y="827"/>
                  </a:lnTo>
                  <a:lnTo>
                    <a:pt x="2319" y="824"/>
                  </a:lnTo>
                  <a:lnTo>
                    <a:pt x="2331" y="822"/>
                  </a:lnTo>
                  <a:lnTo>
                    <a:pt x="3142" y="700"/>
                  </a:lnTo>
                  <a:lnTo>
                    <a:pt x="3154" y="699"/>
                  </a:lnTo>
                  <a:lnTo>
                    <a:pt x="3166" y="699"/>
                  </a:lnTo>
                  <a:lnTo>
                    <a:pt x="3177" y="699"/>
                  </a:lnTo>
                  <a:lnTo>
                    <a:pt x="3189" y="700"/>
                  </a:lnTo>
                  <a:lnTo>
                    <a:pt x="3200" y="702"/>
                  </a:lnTo>
                  <a:lnTo>
                    <a:pt x="3211" y="706"/>
                  </a:lnTo>
                  <a:lnTo>
                    <a:pt x="3222" y="710"/>
                  </a:lnTo>
                  <a:lnTo>
                    <a:pt x="3232" y="715"/>
                  </a:lnTo>
                  <a:lnTo>
                    <a:pt x="3241" y="721"/>
                  </a:lnTo>
                  <a:lnTo>
                    <a:pt x="3250" y="728"/>
                  </a:lnTo>
                  <a:lnTo>
                    <a:pt x="3259" y="737"/>
                  </a:lnTo>
                  <a:lnTo>
                    <a:pt x="3268" y="746"/>
                  </a:lnTo>
                  <a:lnTo>
                    <a:pt x="3275" y="758"/>
                  </a:lnTo>
                  <a:lnTo>
                    <a:pt x="3282" y="769"/>
                  </a:lnTo>
                  <a:lnTo>
                    <a:pt x="3289" y="782"/>
                  </a:lnTo>
                  <a:lnTo>
                    <a:pt x="3294" y="796"/>
                  </a:lnTo>
                  <a:lnTo>
                    <a:pt x="3529" y="1433"/>
                  </a:lnTo>
                  <a:lnTo>
                    <a:pt x="3530" y="1438"/>
                  </a:lnTo>
                  <a:lnTo>
                    <a:pt x="3531" y="1443"/>
                  </a:lnTo>
                  <a:lnTo>
                    <a:pt x="3532" y="1449"/>
                  </a:lnTo>
                  <a:lnTo>
                    <a:pt x="3532" y="1454"/>
                  </a:lnTo>
                  <a:lnTo>
                    <a:pt x="3531" y="1459"/>
                  </a:lnTo>
                  <a:lnTo>
                    <a:pt x="3530" y="1464"/>
                  </a:lnTo>
                  <a:lnTo>
                    <a:pt x="3529" y="1469"/>
                  </a:lnTo>
                  <a:lnTo>
                    <a:pt x="3527" y="1474"/>
                  </a:lnTo>
                  <a:lnTo>
                    <a:pt x="3525" y="1478"/>
                  </a:lnTo>
                  <a:lnTo>
                    <a:pt x="3522" y="1483"/>
                  </a:lnTo>
                  <a:lnTo>
                    <a:pt x="3518" y="1487"/>
                  </a:lnTo>
                  <a:lnTo>
                    <a:pt x="3515" y="1490"/>
                  </a:lnTo>
                  <a:lnTo>
                    <a:pt x="3510" y="1493"/>
                  </a:lnTo>
                  <a:lnTo>
                    <a:pt x="3506" y="1495"/>
                  </a:lnTo>
                  <a:lnTo>
                    <a:pt x="3501" y="1497"/>
                  </a:lnTo>
                  <a:lnTo>
                    <a:pt x="3494" y="1498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37221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7653606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Вертикальный заголовок и текст">
    <p:bg>
      <p:bgPr>
        <a:blipFill dpi="0" rotWithShape="1">
          <a:blip r:embed="rId2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4715" y="2028092"/>
            <a:ext cx="7401315" cy="4829908"/>
          </a:xfrm>
          <a:prstGeom prst="rect">
            <a:avLst/>
          </a:prstGeom>
        </p:spPr>
      </p:pic>
      <p:grpSp>
        <p:nvGrpSpPr>
          <p:cNvPr id="7" name="Группа 6"/>
          <p:cNvGrpSpPr/>
          <p:nvPr userDrawn="1"/>
        </p:nvGrpSpPr>
        <p:grpSpPr>
          <a:xfrm>
            <a:off x="531416" y="487363"/>
            <a:ext cx="2332038" cy="455612"/>
            <a:chOff x="490538" y="487363"/>
            <a:chExt cx="2152650" cy="455612"/>
          </a:xfrm>
        </p:grpSpPr>
        <p:sp>
          <p:nvSpPr>
            <p:cNvPr id="8" name="Freeform 5"/>
            <p:cNvSpPr>
              <a:spLocks noEditPoints="1"/>
            </p:cNvSpPr>
            <p:nvPr userDrawn="1"/>
          </p:nvSpPr>
          <p:spPr bwMode="auto">
            <a:xfrm>
              <a:off x="1144588" y="590550"/>
              <a:ext cx="1498600" cy="247650"/>
            </a:xfrm>
            <a:custGeom>
              <a:avLst/>
              <a:gdLst>
                <a:gd name="T0" fmla="*/ 2465 w 11327"/>
                <a:gd name="T1" fmla="*/ 803 h 1868"/>
                <a:gd name="T2" fmla="*/ 2667 w 11327"/>
                <a:gd name="T3" fmla="*/ 466 h 1868"/>
                <a:gd name="T4" fmla="*/ 3049 w 11327"/>
                <a:gd name="T5" fmla="*/ 345 h 1868"/>
                <a:gd name="T6" fmla="*/ 3430 w 11327"/>
                <a:gd name="T7" fmla="*/ 466 h 1868"/>
                <a:gd name="T8" fmla="*/ 3632 w 11327"/>
                <a:gd name="T9" fmla="*/ 803 h 1868"/>
                <a:gd name="T10" fmla="*/ 3574 w 11327"/>
                <a:gd name="T11" fmla="*/ 1233 h 1868"/>
                <a:gd name="T12" fmla="*/ 3284 w 11327"/>
                <a:gd name="T13" fmla="*/ 1483 h 1868"/>
                <a:gd name="T14" fmla="*/ 2870 w 11327"/>
                <a:gd name="T15" fmla="*/ 1500 h 1868"/>
                <a:gd name="T16" fmla="*/ 2553 w 11327"/>
                <a:gd name="T17" fmla="*/ 1281 h 1868"/>
                <a:gd name="T18" fmla="*/ 4046 w 11327"/>
                <a:gd name="T19" fmla="*/ 882 h 1868"/>
                <a:gd name="T20" fmla="*/ 3784 w 11327"/>
                <a:gd name="T21" fmla="*/ 289 h 1868"/>
                <a:gd name="T22" fmla="*/ 3199 w 11327"/>
                <a:gd name="T23" fmla="*/ 10 h 1868"/>
                <a:gd name="T24" fmla="*/ 2536 w 11327"/>
                <a:gd name="T25" fmla="*/ 125 h 1868"/>
                <a:gd name="T26" fmla="*/ 2113 w 11327"/>
                <a:gd name="T27" fmla="*/ 595 h 1868"/>
                <a:gd name="T28" fmla="*/ 2113 w 11327"/>
                <a:gd name="T29" fmla="*/ 1273 h 1868"/>
                <a:gd name="T30" fmla="*/ 2536 w 11327"/>
                <a:gd name="T31" fmla="*/ 1743 h 1868"/>
                <a:gd name="T32" fmla="*/ 3199 w 11327"/>
                <a:gd name="T33" fmla="*/ 1858 h 1868"/>
                <a:gd name="T34" fmla="*/ 3784 w 11327"/>
                <a:gd name="T35" fmla="*/ 1579 h 1868"/>
                <a:gd name="T36" fmla="*/ 4046 w 11327"/>
                <a:gd name="T37" fmla="*/ 985 h 1868"/>
                <a:gd name="T38" fmla="*/ 4444 w 11327"/>
                <a:gd name="T39" fmla="*/ 1443 h 1868"/>
                <a:gd name="T40" fmla="*/ 4540 w 11327"/>
                <a:gd name="T41" fmla="*/ 1808 h 1868"/>
                <a:gd name="T42" fmla="*/ 4811 w 11327"/>
                <a:gd name="T43" fmla="*/ 1650 h 1868"/>
                <a:gd name="T44" fmla="*/ 5796 w 11327"/>
                <a:gd name="T45" fmla="*/ 403 h 1868"/>
                <a:gd name="T46" fmla="*/ 7304 w 11327"/>
                <a:gd name="T47" fmla="*/ 1292 h 1868"/>
                <a:gd name="T48" fmla="*/ 7673 w 11327"/>
                <a:gd name="T49" fmla="*/ 1730 h 1868"/>
                <a:gd name="T50" fmla="*/ 8267 w 11327"/>
                <a:gd name="T51" fmla="*/ 1867 h 1868"/>
                <a:gd name="T52" fmla="*/ 8871 w 11327"/>
                <a:gd name="T53" fmla="*/ 1653 h 1868"/>
                <a:gd name="T54" fmla="*/ 9178 w 11327"/>
                <a:gd name="T55" fmla="*/ 1094 h 1868"/>
                <a:gd name="T56" fmla="*/ 9049 w 11327"/>
                <a:gd name="T57" fmla="*/ 414 h 1868"/>
                <a:gd name="T58" fmla="*/ 8552 w 11327"/>
                <a:gd name="T59" fmla="*/ 48 h 1868"/>
                <a:gd name="T60" fmla="*/ 7924 w 11327"/>
                <a:gd name="T61" fmla="*/ 36 h 1868"/>
                <a:gd name="T62" fmla="*/ 7459 w 11327"/>
                <a:gd name="T63" fmla="*/ 313 h 1868"/>
                <a:gd name="T64" fmla="*/ 6585 w 11327"/>
                <a:gd name="T65" fmla="*/ 42 h 1868"/>
                <a:gd name="T66" fmla="*/ 7740 w 11327"/>
                <a:gd name="T67" fmla="*/ 563 h 1868"/>
                <a:gd name="T68" fmla="*/ 8053 w 11327"/>
                <a:gd name="T69" fmla="*/ 361 h 1868"/>
                <a:gd name="T70" fmla="*/ 8492 w 11327"/>
                <a:gd name="T71" fmla="*/ 396 h 1868"/>
                <a:gd name="T72" fmla="*/ 8744 w 11327"/>
                <a:gd name="T73" fmla="*/ 660 h 1868"/>
                <a:gd name="T74" fmla="*/ 8775 w 11327"/>
                <a:gd name="T75" fmla="*/ 1095 h 1868"/>
                <a:gd name="T76" fmla="*/ 8585 w 11327"/>
                <a:gd name="T77" fmla="*/ 1418 h 1868"/>
                <a:gd name="T78" fmla="*/ 8182 w 11327"/>
                <a:gd name="T79" fmla="*/ 1522 h 1868"/>
                <a:gd name="T80" fmla="*/ 7807 w 11327"/>
                <a:gd name="T81" fmla="*/ 1385 h 1868"/>
                <a:gd name="T82" fmla="*/ 7649 w 11327"/>
                <a:gd name="T83" fmla="*/ 1033 h 1868"/>
                <a:gd name="T84" fmla="*/ 11121 w 11327"/>
                <a:gd name="T85" fmla="*/ 228 h 1868"/>
                <a:gd name="T86" fmla="*/ 10716 w 11327"/>
                <a:gd name="T87" fmla="*/ 30 h 1868"/>
                <a:gd name="T88" fmla="*/ 10126 w 11327"/>
                <a:gd name="T89" fmla="*/ 37 h 1868"/>
                <a:gd name="T90" fmla="*/ 9598 w 11327"/>
                <a:gd name="T91" fmla="*/ 385 h 1868"/>
                <a:gd name="T92" fmla="*/ 9435 w 11327"/>
                <a:gd name="T93" fmla="*/ 1039 h 1868"/>
                <a:gd name="T94" fmla="*/ 9714 w 11327"/>
                <a:gd name="T95" fmla="*/ 1617 h 1868"/>
                <a:gd name="T96" fmla="*/ 10320 w 11327"/>
                <a:gd name="T97" fmla="*/ 1863 h 1868"/>
                <a:gd name="T98" fmla="*/ 10845 w 11327"/>
                <a:gd name="T99" fmla="*/ 1799 h 1868"/>
                <a:gd name="T100" fmla="*/ 11211 w 11327"/>
                <a:gd name="T101" fmla="*/ 1551 h 1868"/>
                <a:gd name="T102" fmla="*/ 10919 w 11327"/>
                <a:gd name="T103" fmla="*/ 1325 h 1868"/>
                <a:gd name="T104" fmla="*/ 10676 w 11327"/>
                <a:gd name="T105" fmla="*/ 1473 h 1868"/>
                <a:gd name="T106" fmla="*/ 10324 w 11327"/>
                <a:gd name="T107" fmla="*/ 1504 h 1868"/>
                <a:gd name="T108" fmla="*/ 9975 w 11327"/>
                <a:gd name="T109" fmla="*/ 1332 h 1868"/>
                <a:gd name="T110" fmla="*/ 9831 w 11327"/>
                <a:gd name="T111" fmla="*/ 966 h 1868"/>
                <a:gd name="T112" fmla="*/ 9938 w 11327"/>
                <a:gd name="T113" fmla="*/ 575 h 1868"/>
                <a:gd name="T114" fmla="*/ 10261 w 11327"/>
                <a:gd name="T115" fmla="*/ 373 h 1868"/>
                <a:gd name="T116" fmla="*/ 10634 w 11327"/>
                <a:gd name="T117" fmla="*/ 382 h 1868"/>
                <a:gd name="T118" fmla="*/ 10890 w 11327"/>
                <a:gd name="T119" fmla="*/ 515 h 1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27" h="1868">
                  <a:moveTo>
                    <a:pt x="0" y="42"/>
                  </a:moveTo>
                  <a:lnTo>
                    <a:pt x="0" y="1822"/>
                  </a:lnTo>
                  <a:lnTo>
                    <a:pt x="399" y="1822"/>
                  </a:lnTo>
                  <a:lnTo>
                    <a:pt x="399" y="400"/>
                  </a:lnTo>
                  <a:lnTo>
                    <a:pt x="1352" y="400"/>
                  </a:lnTo>
                  <a:lnTo>
                    <a:pt x="1352" y="1822"/>
                  </a:lnTo>
                  <a:lnTo>
                    <a:pt x="1755" y="1822"/>
                  </a:lnTo>
                  <a:lnTo>
                    <a:pt x="1755" y="42"/>
                  </a:lnTo>
                  <a:lnTo>
                    <a:pt x="0" y="42"/>
                  </a:lnTo>
                  <a:close/>
                  <a:moveTo>
                    <a:pt x="2454" y="933"/>
                  </a:moveTo>
                  <a:lnTo>
                    <a:pt x="2454" y="900"/>
                  </a:lnTo>
                  <a:lnTo>
                    <a:pt x="2457" y="866"/>
                  </a:lnTo>
                  <a:lnTo>
                    <a:pt x="2460" y="835"/>
                  </a:lnTo>
                  <a:lnTo>
                    <a:pt x="2465" y="803"/>
                  </a:lnTo>
                  <a:lnTo>
                    <a:pt x="2472" y="773"/>
                  </a:lnTo>
                  <a:lnTo>
                    <a:pt x="2480" y="743"/>
                  </a:lnTo>
                  <a:lnTo>
                    <a:pt x="2489" y="715"/>
                  </a:lnTo>
                  <a:lnTo>
                    <a:pt x="2499" y="686"/>
                  </a:lnTo>
                  <a:lnTo>
                    <a:pt x="2511" y="660"/>
                  </a:lnTo>
                  <a:lnTo>
                    <a:pt x="2524" y="634"/>
                  </a:lnTo>
                  <a:lnTo>
                    <a:pt x="2538" y="610"/>
                  </a:lnTo>
                  <a:lnTo>
                    <a:pt x="2553" y="586"/>
                  </a:lnTo>
                  <a:lnTo>
                    <a:pt x="2570" y="563"/>
                  </a:lnTo>
                  <a:lnTo>
                    <a:pt x="2588" y="542"/>
                  </a:lnTo>
                  <a:lnTo>
                    <a:pt x="2606" y="521"/>
                  </a:lnTo>
                  <a:lnTo>
                    <a:pt x="2626" y="501"/>
                  </a:lnTo>
                  <a:lnTo>
                    <a:pt x="2646" y="483"/>
                  </a:lnTo>
                  <a:lnTo>
                    <a:pt x="2667" y="466"/>
                  </a:lnTo>
                  <a:lnTo>
                    <a:pt x="2691" y="449"/>
                  </a:lnTo>
                  <a:lnTo>
                    <a:pt x="2713" y="434"/>
                  </a:lnTo>
                  <a:lnTo>
                    <a:pt x="2737" y="420"/>
                  </a:lnTo>
                  <a:lnTo>
                    <a:pt x="2763" y="408"/>
                  </a:lnTo>
                  <a:lnTo>
                    <a:pt x="2788" y="396"/>
                  </a:lnTo>
                  <a:lnTo>
                    <a:pt x="2815" y="385"/>
                  </a:lnTo>
                  <a:lnTo>
                    <a:pt x="2842" y="375"/>
                  </a:lnTo>
                  <a:lnTo>
                    <a:pt x="2870" y="367"/>
                  </a:lnTo>
                  <a:lnTo>
                    <a:pt x="2898" y="361"/>
                  </a:lnTo>
                  <a:lnTo>
                    <a:pt x="2928" y="355"/>
                  </a:lnTo>
                  <a:lnTo>
                    <a:pt x="2957" y="351"/>
                  </a:lnTo>
                  <a:lnTo>
                    <a:pt x="2988" y="347"/>
                  </a:lnTo>
                  <a:lnTo>
                    <a:pt x="3018" y="345"/>
                  </a:lnTo>
                  <a:lnTo>
                    <a:pt x="3049" y="345"/>
                  </a:lnTo>
                  <a:lnTo>
                    <a:pt x="3080" y="345"/>
                  </a:lnTo>
                  <a:lnTo>
                    <a:pt x="3111" y="347"/>
                  </a:lnTo>
                  <a:lnTo>
                    <a:pt x="3141" y="351"/>
                  </a:lnTo>
                  <a:lnTo>
                    <a:pt x="3171" y="355"/>
                  </a:lnTo>
                  <a:lnTo>
                    <a:pt x="3200" y="361"/>
                  </a:lnTo>
                  <a:lnTo>
                    <a:pt x="3229" y="367"/>
                  </a:lnTo>
                  <a:lnTo>
                    <a:pt x="3256" y="375"/>
                  </a:lnTo>
                  <a:lnTo>
                    <a:pt x="3284" y="385"/>
                  </a:lnTo>
                  <a:lnTo>
                    <a:pt x="3310" y="396"/>
                  </a:lnTo>
                  <a:lnTo>
                    <a:pt x="3335" y="408"/>
                  </a:lnTo>
                  <a:lnTo>
                    <a:pt x="3361" y="420"/>
                  </a:lnTo>
                  <a:lnTo>
                    <a:pt x="3384" y="434"/>
                  </a:lnTo>
                  <a:lnTo>
                    <a:pt x="3408" y="449"/>
                  </a:lnTo>
                  <a:lnTo>
                    <a:pt x="3430" y="466"/>
                  </a:lnTo>
                  <a:lnTo>
                    <a:pt x="3452" y="483"/>
                  </a:lnTo>
                  <a:lnTo>
                    <a:pt x="3473" y="501"/>
                  </a:lnTo>
                  <a:lnTo>
                    <a:pt x="3492" y="521"/>
                  </a:lnTo>
                  <a:lnTo>
                    <a:pt x="3510" y="542"/>
                  </a:lnTo>
                  <a:lnTo>
                    <a:pt x="3528" y="563"/>
                  </a:lnTo>
                  <a:lnTo>
                    <a:pt x="3545" y="586"/>
                  </a:lnTo>
                  <a:lnTo>
                    <a:pt x="3560" y="610"/>
                  </a:lnTo>
                  <a:lnTo>
                    <a:pt x="3574" y="634"/>
                  </a:lnTo>
                  <a:lnTo>
                    <a:pt x="3587" y="660"/>
                  </a:lnTo>
                  <a:lnTo>
                    <a:pt x="3599" y="686"/>
                  </a:lnTo>
                  <a:lnTo>
                    <a:pt x="3609" y="715"/>
                  </a:lnTo>
                  <a:lnTo>
                    <a:pt x="3618" y="743"/>
                  </a:lnTo>
                  <a:lnTo>
                    <a:pt x="3626" y="773"/>
                  </a:lnTo>
                  <a:lnTo>
                    <a:pt x="3632" y="803"/>
                  </a:lnTo>
                  <a:lnTo>
                    <a:pt x="3637" y="835"/>
                  </a:lnTo>
                  <a:lnTo>
                    <a:pt x="3642" y="866"/>
                  </a:lnTo>
                  <a:lnTo>
                    <a:pt x="3644" y="900"/>
                  </a:lnTo>
                  <a:lnTo>
                    <a:pt x="3645" y="933"/>
                  </a:lnTo>
                  <a:lnTo>
                    <a:pt x="3644" y="968"/>
                  </a:lnTo>
                  <a:lnTo>
                    <a:pt x="3642" y="1001"/>
                  </a:lnTo>
                  <a:lnTo>
                    <a:pt x="3637" y="1033"/>
                  </a:lnTo>
                  <a:lnTo>
                    <a:pt x="3632" y="1065"/>
                  </a:lnTo>
                  <a:lnTo>
                    <a:pt x="3626" y="1095"/>
                  </a:lnTo>
                  <a:lnTo>
                    <a:pt x="3618" y="1125"/>
                  </a:lnTo>
                  <a:lnTo>
                    <a:pt x="3609" y="1153"/>
                  </a:lnTo>
                  <a:lnTo>
                    <a:pt x="3599" y="1181"/>
                  </a:lnTo>
                  <a:lnTo>
                    <a:pt x="3587" y="1207"/>
                  </a:lnTo>
                  <a:lnTo>
                    <a:pt x="3574" y="1233"/>
                  </a:lnTo>
                  <a:lnTo>
                    <a:pt x="3560" y="1258"/>
                  </a:lnTo>
                  <a:lnTo>
                    <a:pt x="3545" y="1281"/>
                  </a:lnTo>
                  <a:lnTo>
                    <a:pt x="3528" y="1305"/>
                  </a:lnTo>
                  <a:lnTo>
                    <a:pt x="3510" y="1326"/>
                  </a:lnTo>
                  <a:lnTo>
                    <a:pt x="3492" y="1346"/>
                  </a:lnTo>
                  <a:lnTo>
                    <a:pt x="3473" y="1366"/>
                  </a:lnTo>
                  <a:lnTo>
                    <a:pt x="3452" y="1385"/>
                  </a:lnTo>
                  <a:lnTo>
                    <a:pt x="3430" y="1402"/>
                  </a:lnTo>
                  <a:lnTo>
                    <a:pt x="3408" y="1418"/>
                  </a:lnTo>
                  <a:lnTo>
                    <a:pt x="3384" y="1434"/>
                  </a:lnTo>
                  <a:lnTo>
                    <a:pt x="3361" y="1447"/>
                  </a:lnTo>
                  <a:lnTo>
                    <a:pt x="3335" y="1460"/>
                  </a:lnTo>
                  <a:lnTo>
                    <a:pt x="3310" y="1472"/>
                  </a:lnTo>
                  <a:lnTo>
                    <a:pt x="3284" y="1483"/>
                  </a:lnTo>
                  <a:lnTo>
                    <a:pt x="3256" y="1492"/>
                  </a:lnTo>
                  <a:lnTo>
                    <a:pt x="3229" y="1500"/>
                  </a:lnTo>
                  <a:lnTo>
                    <a:pt x="3200" y="1507"/>
                  </a:lnTo>
                  <a:lnTo>
                    <a:pt x="3171" y="1513"/>
                  </a:lnTo>
                  <a:lnTo>
                    <a:pt x="3141" y="1517"/>
                  </a:lnTo>
                  <a:lnTo>
                    <a:pt x="3111" y="1520"/>
                  </a:lnTo>
                  <a:lnTo>
                    <a:pt x="3080" y="1522"/>
                  </a:lnTo>
                  <a:lnTo>
                    <a:pt x="3049" y="1523"/>
                  </a:lnTo>
                  <a:lnTo>
                    <a:pt x="3018" y="1522"/>
                  </a:lnTo>
                  <a:lnTo>
                    <a:pt x="2988" y="1520"/>
                  </a:lnTo>
                  <a:lnTo>
                    <a:pt x="2957" y="1517"/>
                  </a:lnTo>
                  <a:lnTo>
                    <a:pt x="2928" y="1513"/>
                  </a:lnTo>
                  <a:lnTo>
                    <a:pt x="2898" y="1507"/>
                  </a:lnTo>
                  <a:lnTo>
                    <a:pt x="2870" y="1500"/>
                  </a:lnTo>
                  <a:lnTo>
                    <a:pt x="2842" y="1492"/>
                  </a:lnTo>
                  <a:lnTo>
                    <a:pt x="2815" y="1483"/>
                  </a:lnTo>
                  <a:lnTo>
                    <a:pt x="2788" y="1472"/>
                  </a:lnTo>
                  <a:lnTo>
                    <a:pt x="2763" y="1460"/>
                  </a:lnTo>
                  <a:lnTo>
                    <a:pt x="2737" y="1447"/>
                  </a:lnTo>
                  <a:lnTo>
                    <a:pt x="2713" y="1434"/>
                  </a:lnTo>
                  <a:lnTo>
                    <a:pt x="2691" y="1418"/>
                  </a:lnTo>
                  <a:lnTo>
                    <a:pt x="2667" y="1402"/>
                  </a:lnTo>
                  <a:lnTo>
                    <a:pt x="2646" y="1385"/>
                  </a:lnTo>
                  <a:lnTo>
                    <a:pt x="2626" y="1366"/>
                  </a:lnTo>
                  <a:lnTo>
                    <a:pt x="2606" y="1346"/>
                  </a:lnTo>
                  <a:lnTo>
                    <a:pt x="2588" y="1326"/>
                  </a:lnTo>
                  <a:lnTo>
                    <a:pt x="2570" y="1305"/>
                  </a:lnTo>
                  <a:lnTo>
                    <a:pt x="2553" y="1281"/>
                  </a:lnTo>
                  <a:lnTo>
                    <a:pt x="2538" y="1258"/>
                  </a:lnTo>
                  <a:lnTo>
                    <a:pt x="2524" y="1233"/>
                  </a:lnTo>
                  <a:lnTo>
                    <a:pt x="2511" y="1207"/>
                  </a:lnTo>
                  <a:lnTo>
                    <a:pt x="2499" y="1181"/>
                  </a:lnTo>
                  <a:lnTo>
                    <a:pt x="2489" y="1153"/>
                  </a:lnTo>
                  <a:lnTo>
                    <a:pt x="2480" y="1125"/>
                  </a:lnTo>
                  <a:lnTo>
                    <a:pt x="2472" y="1095"/>
                  </a:lnTo>
                  <a:lnTo>
                    <a:pt x="2465" y="1065"/>
                  </a:lnTo>
                  <a:lnTo>
                    <a:pt x="2460" y="1033"/>
                  </a:lnTo>
                  <a:lnTo>
                    <a:pt x="2457" y="1001"/>
                  </a:lnTo>
                  <a:lnTo>
                    <a:pt x="2454" y="968"/>
                  </a:lnTo>
                  <a:lnTo>
                    <a:pt x="2454" y="933"/>
                  </a:lnTo>
                  <a:close/>
                  <a:moveTo>
                    <a:pt x="4047" y="933"/>
                  </a:moveTo>
                  <a:lnTo>
                    <a:pt x="4046" y="882"/>
                  </a:lnTo>
                  <a:lnTo>
                    <a:pt x="4042" y="831"/>
                  </a:lnTo>
                  <a:lnTo>
                    <a:pt x="4035" y="781"/>
                  </a:lnTo>
                  <a:lnTo>
                    <a:pt x="4026" y="733"/>
                  </a:lnTo>
                  <a:lnTo>
                    <a:pt x="4015" y="685"/>
                  </a:lnTo>
                  <a:lnTo>
                    <a:pt x="4002" y="640"/>
                  </a:lnTo>
                  <a:lnTo>
                    <a:pt x="3985" y="595"/>
                  </a:lnTo>
                  <a:lnTo>
                    <a:pt x="3967" y="551"/>
                  </a:lnTo>
                  <a:lnTo>
                    <a:pt x="3947" y="509"/>
                  </a:lnTo>
                  <a:lnTo>
                    <a:pt x="3924" y="469"/>
                  </a:lnTo>
                  <a:lnTo>
                    <a:pt x="3900" y="430"/>
                  </a:lnTo>
                  <a:lnTo>
                    <a:pt x="3874" y="392"/>
                  </a:lnTo>
                  <a:lnTo>
                    <a:pt x="3846" y="356"/>
                  </a:lnTo>
                  <a:lnTo>
                    <a:pt x="3815" y="321"/>
                  </a:lnTo>
                  <a:lnTo>
                    <a:pt x="3784" y="289"/>
                  </a:lnTo>
                  <a:lnTo>
                    <a:pt x="3751" y="257"/>
                  </a:lnTo>
                  <a:lnTo>
                    <a:pt x="3716" y="227"/>
                  </a:lnTo>
                  <a:lnTo>
                    <a:pt x="3679" y="199"/>
                  </a:lnTo>
                  <a:lnTo>
                    <a:pt x="3642" y="173"/>
                  </a:lnTo>
                  <a:lnTo>
                    <a:pt x="3603" y="147"/>
                  </a:lnTo>
                  <a:lnTo>
                    <a:pt x="3562" y="125"/>
                  </a:lnTo>
                  <a:lnTo>
                    <a:pt x="3521" y="104"/>
                  </a:lnTo>
                  <a:lnTo>
                    <a:pt x="3477" y="84"/>
                  </a:lnTo>
                  <a:lnTo>
                    <a:pt x="3433" y="67"/>
                  </a:lnTo>
                  <a:lnTo>
                    <a:pt x="3388" y="52"/>
                  </a:lnTo>
                  <a:lnTo>
                    <a:pt x="3342" y="39"/>
                  </a:lnTo>
                  <a:lnTo>
                    <a:pt x="3295" y="26"/>
                  </a:lnTo>
                  <a:lnTo>
                    <a:pt x="3247" y="17"/>
                  </a:lnTo>
                  <a:lnTo>
                    <a:pt x="3199" y="10"/>
                  </a:lnTo>
                  <a:lnTo>
                    <a:pt x="3149" y="4"/>
                  </a:lnTo>
                  <a:lnTo>
                    <a:pt x="3099" y="1"/>
                  </a:lnTo>
                  <a:lnTo>
                    <a:pt x="3049" y="0"/>
                  </a:lnTo>
                  <a:lnTo>
                    <a:pt x="2999" y="1"/>
                  </a:lnTo>
                  <a:lnTo>
                    <a:pt x="2949" y="4"/>
                  </a:lnTo>
                  <a:lnTo>
                    <a:pt x="2899" y="10"/>
                  </a:lnTo>
                  <a:lnTo>
                    <a:pt x="2851" y="17"/>
                  </a:lnTo>
                  <a:lnTo>
                    <a:pt x="2804" y="26"/>
                  </a:lnTo>
                  <a:lnTo>
                    <a:pt x="2756" y="39"/>
                  </a:lnTo>
                  <a:lnTo>
                    <a:pt x="2710" y="52"/>
                  </a:lnTo>
                  <a:lnTo>
                    <a:pt x="2665" y="67"/>
                  </a:lnTo>
                  <a:lnTo>
                    <a:pt x="2620" y="84"/>
                  </a:lnTo>
                  <a:lnTo>
                    <a:pt x="2578" y="104"/>
                  </a:lnTo>
                  <a:lnTo>
                    <a:pt x="2536" y="125"/>
                  </a:lnTo>
                  <a:lnTo>
                    <a:pt x="2495" y="147"/>
                  </a:lnTo>
                  <a:lnTo>
                    <a:pt x="2457" y="173"/>
                  </a:lnTo>
                  <a:lnTo>
                    <a:pt x="2418" y="199"/>
                  </a:lnTo>
                  <a:lnTo>
                    <a:pt x="2382" y="227"/>
                  </a:lnTo>
                  <a:lnTo>
                    <a:pt x="2347" y="257"/>
                  </a:lnTo>
                  <a:lnTo>
                    <a:pt x="2313" y="289"/>
                  </a:lnTo>
                  <a:lnTo>
                    <a:pt x="2282" y="321"/>
                  </a:lnTo>
                  <a:lnTo>
                    <a:pt x="2252" y="356"/>
                  </a:lnTo>
                  <a:lnTo>
                    <a:pt x="2224" y="392"/>
                  </a:lnTo>
                  <a:lnTo>
                    <a:pt x="2197" y="430"/>
                  </a:lnTo>
                  <a:lnTo>
                    <a:pt x="2173" y="469"/>
                  </a:lnTo>
                  <a:lnTo>
                    <a:pt x="2152" y="509"/>
                  </a:lnTo>
                  <a:lnTo>
                    <a:pt x="2131" y="551"/>
                  </a:lnTo>
                  <a:lnTo>
                    <a:pt x="2113" y="595"/>
                  </a:lnTo>
                  <a:lnTo>
                    <a:pt x="2097" y="640"/>
                  </a:lnTo>
                  <a:lnTo>
                    <a:pt x="2083" y="685"/>
                  </a:lnTo>
                  <a:lnTo>
                    <a:pt x="2071" y="733"/>
                  </a:lnTo>
                  <a:lnTo>
                    <a:pt x="2063" y="781"/>
                  </a:lnTo>
                  <a:lnTo>
                    <a:pt x="2056" y="831"/>
                  </a:lnTo>
                  <a:lnTo>
                    <a:pt x="2052" y="882"/>
                  </a:lnTo>
                  <a:lnTo>
                    <a:pt x="2051" y="933"/>
                  </a:lnTo>
                  <a:lnTo>
                    <a:pt x="2052" y="985"/>
                  </a:lnTo>
                  <a:lnTo>
                    <a:pt x="2056" y="1036"/>
                  </a:lnTo>
                  <a:lnTo>
                    <a:pt x="2063" y="1086"/>
                  </a:lnTo>
                  <a:lnTo>
                    <a:pt x="2071" y="1135"/>
                  </a:lnTo>
                  <a:lnTo>
                    <a:pt x="2083" y="1182"/>
                  </a:lnTo>
                  <a:lnTo>
                    <a:pt x="2097" y="1228"/>
                  </a:lnTo>
                  <a:lnTo>
                    <a:pt x="2113" y="1273"/>
                  </a:lnTo>
                  <a:lnTo>
                    <a:pt x="2131" y="1316"/>
                  </a:lnTo>
                  <a:lnTo>
                    <a:pt x="2152" y="1357"/>
                  </a:lnTo>
                  <a:lnTo>
                    <a:pt x="2173" y="1398"/>
                  </a:lnTo>
                  <a:lnTo>
                    <a:pt x="2197" y="1438"/>
                  </a:lnTo>
                  <a:lnTo>
                    <a:pt x="2224" y="1475"/>
                  </a:lnTo>
                  <a:lnTo>
                    <a:pt x="2252" y="1512"/>
                  </a:lnTo>
                  <a:lnTo>
                    <a:pt x="2282" y="1547"/>
                  </a:lnTo>
                  <a:lnTo>
                    <a:pt x="2313" y="1579"/>
                  </a:lnTo>
                  <a:lnTo>
                    <a:pt x="2347" y="1611"/>
                  </a:lnTo>
                  <a:lnTo>
                    <a:pt x="2382" y="1640"/>
                  </a:lnTo>
                  <a:lnTo>
                    <a:pt x="2418" y="1669"/>
                  </a:lnTo>
                  <a:lnTo>
                    <a:pt x="2457" y="1695"/>
                  </a:lnTo>
                  <a:lnTo>
                    <a:pt x="2495" y="1719"/>
                  </a:lnTo>
                  <a:lnTo>
                    <a:pt x="2536" y="1743"/>
                  </a:lnTo>
                  <a:lnTo>
                    <a:pt x="2578" y="1764"/>
                  </a:lnTo>
                  <a:lnTo>
                    <a:pt x="2620" y="1782"/>
                  </a:lnTo>
                  <a:lnTo>
                    <a:pt x="2665" y="1801"/>
                  </a:lnTo>
                  <a:lnTo>
                    <a:pt x="2710" y="1816"/>
                  </a:lnTo>
                  <a:lnTo>
                    <a:pt x="2756" y="1829"/>
                  </a:lnTo>
                  <a:lnTo>
                    <a:pt x="2804" y="1840"/>
                  </a:lnTo>
                  <a:lnTo>
                    <a:pt x="2851" y="1851"/>
                  </a:lnTo>
                  <a:lnTo>
                    <a:pt x="2899" y="1858"/>
                  </a:lnTo>
                  <a:lnTo>
                    <a:pt x="2949" y="1863"/>
                  </a:lnTo>
                  <a:lnTo>
                    <a:pt x="2999" y="1866"/>
                  </a:lnTo>
                  <a:lnTo>
                    <a:pt x="3049" y="1868"/>
                  </a:lnTo>
                  <a:lnTo>
                    <a:pt x="3099" y="1866"/>
                  </a:lnTo>
                  <a:lnTo>
                    <a:pt x="3149" y="1863"/>
                  </a:lnTo>
                  <a:lnTo>
                    <a:pt x="3199" y="1858"/>
                  </a:lnTo>
                  <a:lnTo>
                    <a:pt x="3247" y="1851"/>
                  </a:lnTo>
                  <a:lnTo>
                    <a:pt x="3295" y="1840"/>
                  </a:lnTo>
                  <a:lnTo>
                    <a:pt x="3342" y="1829"/>
                  </a:lnTo>
                  <a:lnTo>
                    <a:pt x="3388" y="1816"/>
                  </a:lnTo>
                  <a:lnTo>
                    <a:pt x="3433" y="1801"/>
                  </a:lnTo>
                  <a:lnTo>
                    <a:pt x="3477" y="1782"/>
                  </a:lnTo>
                  <a:lnTo>
                    <a:pt x="3521" y="1764"/>
                  </a:lnTo>
                  <a:lnTo>
                    <a:pt x="3562" y="1743"/>
                  </a:lnTo>
                  <a:lnTo>
                    <a:pt x="3603" y="1719"/>
                  </a:lnTo>
                  <a:lnTo>
                    <a:pt x="3642" y="1695"/>
                  </a:lnTo>
                  <a:lnTo>
                    <a:pt x="3679" y="1669"/>
                  </a:lnTo>
                  <a:lnTo>
                    <a:pt x="3716" y="1640"/>
                  </a:lnTo>
                  <a:lnTo>
                    <a:pt x="3751" y="1611"/>
                  </a:lnTo>
                  <a:lnTo>
                    <a:pt x="3784" y="1579"/>
                  </a:lnTo>
                  <a:lnTo>
                    <a:pt x="3815" y="1547"/>
                  </a:lnTo>
                  <a:lnTo>
                    <a:pt x="3846" y="1512"/>
                  </a:lnTo>
                  <a:lnTo>
                    <a:pt x="3874" y="1475"/>
                  </a:lnTo>
                  <a:lnTo>
                    <a:pt x="3900" y="1438"/>
                  </a:lnTo>
                  <a:lnTo>
                    <a:pt x="3924" y="1398"/>
                  </a:lnTo>
                  <a:lnTo>
                    <a:pt x="3947" y="1357"/>
                  </a:lnTo>
                  <a:lnTo>
                    <a:pt x="3967" y="1316"/>
                  </a:lnTo>
                  <a:lnTo>
                    <a:pt x="3985" y="1273"/>
                  </a:lnTo>
                  <a:lnTo>
                    <a:pt x="4002" y="1228"/>
                  </a:lnTo>
                  <a:lnTo>
                    <a:pt x="4015" y="1182"/>
                  </a:lnTo>
                  <a:lnTo>
                    <a:pt x="4026" y="1135"/>
                  </a:lnTo>
                  <a:lnTo>
                    <a:pt x="4035" y="1086"/>
                  </a:lnTo>
                  <a:lnTo>
                    <a:pt x="4042" y="1036"/>
                  </a:lnTo>
                  <a:lnTo>
                    <a:pt x="4046" y="985"/>
                  </a:lnTo>
                  <a:lnTo>
                    <a:pt x="4047" y="933"/>
                  </a:lnTo>
                  <a:close/>
                  <a:moveTo>
                    <a:pt x="4779" y="42"/>
                  </a:moveTo>
                  <a:lnTo>
                    <a:pt x="4540" y="1317"/>
                  </a:lnTo>
                  <a:lnTo>
                    <a:pt x="4535" y="1334"/>
                  </a:lnTo>
                  <a:lnTo>
                    <a:pt x="4530" y="1350"/>
                  </a:lnTo>
                  <a:lnTo>
                    <a:pt x="4524" y="1366"/>
                  </a:lnTo>
                  <a:lnTo>
                    <a:pt x="4517" y="1379"/>
                  </a:lnTo>
                  <a:lnTo>
                    <a:pt x="4510" y="1392"/>
                  </a:lnTo>
                  <a:lnTo>
                    <a:pt x="4501" y="1403"/>
                  </a:lnTo>
                  <a:lnTo>
                    <a:pt x="4491" y="1413"/>
                  </a:lnTo>
                  <a:lnTo>
                    <a:pt x="4481" y="1423"/>
                  </a:lnTo>
                  <a:lnTo>
                    <a:pt x="4469" y="1431"/>
                  </a:lnTo>
                  <a:lnTo>
                    <a:pt x="4457" y="1437"/>
                  </a:lnTo>
                  <a:lnTo>
                    <a:pt x="4444" y="1443"/>
                  </a:lnTo>
                  <a:lnTo>
                    <a:pt x="4430" y="1447"/>
                  </a:lnTo>
                  <a:lnTo>
                    <a:pt x="4415" y="1451"/>
                  </a:lnTo>
                  <a:lnTo>
                    <a:pt x="4399" y="1453"/>
                  </a:lnTo>
                  <a:lnTo>
                    <a:pt x="4383" y="1455"/>
                  </a:lnTo>
                  <a:lnTo>
                    <a:pt x="4366" y="1455"/>
                  </a:lnTo>
                  <a:lnTo>
                    <a:pt x="4172" y="1455"/>
                  </a:lnTo>
                  <a:lnTo>
                    <a:pt x="4172" y="1822"/>
                  </a:lnTo>
                  <a:lnTo>
                    <a:pt x="4385" y="1822"/>
                  </a:lnTo>
                  <a:lnTo>
                    <a:pt x="4412" y="1822"/>
                  </a:lnTo>
                  <a:lnTo>
                    <a:pt x="4439" y="1821"/>
                  </a:lnTo>
                  <a:lnTo>
                    <a:pt x="4465" y="1819"/>
                  </a:lnTo>
                  <a:lnTo>
                    <a:pt x="4491" y="1816"/>
                  </a:lnTo>
                  <a:lnTo>
                    <a:pt x="4515" y="1812"/>
                  </a:lnTo>
                  <a:lnTo>
                    <a:pt x="4540" y="1808"/>
                  </a:lnTo>
                  <a:lnTo>
                    <a:pt x="4563" y="1802"/>
                  </a:lnTo>
                  <a:lnTo>
                    <a:pt x="4586" y="1796"/>
                  </a:lnTo>
                  <a:lnTo>
                    <a:pt x="4609" y="1789"/>
                  </a:lnTo>
                  <a:lnTo>
                    <a:pt x="4630" y="1780"/>
                  </a:lnTo>
                  <a:lnTo>
                    <a:pt x="4651" y="1771"/>
                  </a:lnTo>
                  <a:lnTo>
                    <a:pt x="4672" y="1762"/>
                  </a:lnTo>
                  <a:lnTo>
                    <a:pt x="4692" y="1751"/>
                  </a:lnTo>
                  <a:lnTo>
                    <a:pt x="4710" y="1740"/>
                  </a:lnTo>
                  <a:lnTo>
                    <a:pt x="4730" y="1728"/>
                  </a:lnTo>
                  <a:lnTo>
                    <a:pt x="4747" y="1713"/>
                  </a:lnTo>
                  <a:lnTo>
                    <a:pt x="4764" y="1699"/>
                  </a:lnTo>
                  <a:lnTo>
                    <a:pt x="4781" y="1684"/>
                  </a:lnTo>
                  <a:lnTo>
                    <a:pt x="4796" y="1668"/>
                  </a:lnTo>
                  <a:lnTo>
                    <a:pt x="4811" y="1650"/>
                  </a:lnTo>
                  <a:lnTo>
                    <a:pt x="4825" y="1633"/>
                  </a:lnTo>
                  <a:lnTo>
                    <a:pt x="4839" y="1614"/>
                  </a:lnTo>
                  <a:lnTo>
                    <a:pt x="4852" y="1593"/>
                  </a:lnTo>
                  <a:lnTo>
                    <a:pt x="4864" y="1572"/>
                  </a:lnTo>
                  <a:lnTo>
                    <a:pt x="4875" y="1551"/>
                  </a:lnTo>
                  <a:lnTo>
                    <a:pt x="4885" y="1527"/>
                  </a:lnTo>
                  <a:lnTo>
                    <a:pt x="4895" y="1504"/>
                  </a:lnTo>
                  <a:lnTo>
                    <a:pt x="4905" y="1478"/>
                  </a:lnTo>
                  <a:lnTo>
                    <a:pt x="4913" y="1452"/>
                  </a:lnTo>
                  <a:lnTo>
                    <a:pt x="4920" y="1426"/>
                  </a:lnTo>
                  <a:lnTo>
                    <a:pt x="4927" y="1397"/>
                  </a:lnTo>
                  <a:lnTo>
                    <a:pt x="4932" y="1369"/>
                  </a:lnTo>
                  <a:lnTo>
                    <a:pt x="5113" y="403"/>
                  </a:lnTo>
                  <a:lnTo>
                    <a:pt x="5796" y="403"/>
                  </a:lnTo>
                  <a:lnTo>
                    <a:pt x="5796" y="1822"/>
                  </a:lnTo>
                  <a:lnTo>
                    <a:pt x="6198" y="1822"/>
                  </a:lnTo>
                  <a:lnTo>
                    <a:pt x="6198" y="42"/>
                  </a:lnTo>
                  <a:lnTo>
                    <a:pt x="4779" y="42"/>
                  </a:lnTo>
                  <a:close/>
                  <a:moveTo>
                    <a:pt x="6585" y="42"/>
                  </a:moveTo>
                  <a:lnTo>
                    <a:pt x="6585" y="1822"/>
                  </a:lnTo>
                  <a:lnTo>
                    <a:pt x="6980" y="1822"/>
                  </a:lnTo>
                  <a:lnTo>
                    <a:pt x="6980" y="1069"/>
                  </a:lnTo>
                  <a:lnTo>
                    <a:pt x="7251" y="1069"/>
                  </a:lnTo>
                  <a:lnTo>
                    <a:pt x="7258" y="1116"/>
                  </a:lnTo>
                  <a:lnTo>
                    <a:pt x="7266" y="1162"/>
                  </a:lnTo>
                  <a:lnTo>
                    <a:pt x="7277" y="1207"/>
                  </a:lnTo>
                  <a:lnTo>
                    <a:pt x="7290" y="1251"/>
                  </a:lnTo>
                  <a:lnTo>
                    <a:pt x="7304" y="1292"/>
                  </a:lnTo>
                  <a:lnTo>
                    <a:pt x="7320" y="1333"/>
                  </a:lnTo>
                  <a:lnTo>
                    <a:pt x="7338" y="1372"/>
                  </a:lnTo>
                  <a:lnTo>
                    <a:pt x="7358" y="1409"/>
                  </a:lnTo>
                  <a:lnTo>
                    <a:pt x="7379" y="1446"/>
                  </a:lnTo>
                  <a:lnTo>
                    <a:pt x="7402" y="1482"/>
                  </a:lnTo>
                  <a:lnTo>
                    <a:pt x="7427" y="1514"/>
                  </a:lnTo>
                  <a:lnTo>
                    <a:pt x="7452" y="1547"/>
                  </a:lnTo>
                  <a:lnTo>
                    <a:pt x="7480" y="1577"/>
                  </a:lnTo>
                  <a:lnTo>
                    <a:pt x="7509" y="1607"/>
                  </a:lnTo>
                  <a:lnTo>
                    <a:pt x="7540" y="1634"/>
                  </a:lnTo>
                  <a:lnTo>
                    <a:pt x="7571" y="1660"/>
                  </a:lnTo>
                  <a:lnTo>
                    <a:pt x="7604" y="1685"/>
                  </a:lnTo>
                  <a:lnTo>
                    <a:pt x="7637" y="1708"/>
                  </a:lnTo>
                  <a:lnTo>
                    <a:pt x="7673" y="1730"/>
                  </a:lnTo>
                  <a:lnTo>
                    <a:pt x="7710" y="1750"/>
                  </a:lnTo>
                  <a:lnTo>
                    <a:pt x="7747" y="1768"/>
                  </a:lnTo>
                  <a:lnTo>
                    <a:pt x="7786" y="1786"/>
                  </a:lnTo>
                  <a:lnTo>
                    <a:pt x="7824" y="1801"/>
                  </a:lnTo>
                  <a:lnTo>
                    <a:pt x="7865" y="1815"/>
                  </a:lnTo>
                  <a:lnTo>
                    <a:pt x="7907" y="1827"/>
                  </a:lnTo>
                  <a:lnTo>
                    <a:pt x="7949" y="1837"/>
                  </a:lnTo>
                  <a:lnTo>
                    <a:pt x="7991" y="1847"/>
                  </a:lnTo>
                  <a:lnTo>
                    <a:pt x="8035" y="1854"/>
                  </a:lnTo>
                  <a:lnTo>
                    <a:pt x="8080" y="1860"/>
                  </a:lnTo>
                  <a:lnTo>
                    <a:pt x="8124" y="1864"/>
                  </a:lnTo>
                  <a:lnTo>
                    <a:pt x="8170" y="1867"/>
                  </a:lnTo>
                  <a:lnTo>
                    <a:pt x="8217" y="1868"/>
                  </a:lnTo>
                  <a:lnTo>
                    <a:pt x="8267" y="1867"/>
                  </a:lnTo>
                  <a:lnTo>
                    <a:pt x="8317" y="1864"/>
                  </a:lnTo>
                  <a:lnTo>
                    <a:pt x="8364" y="1859"/>
                  </a:lnTo>
                  <a:lnTo>
                    <a:pt x="8413" y="1852"/>
                  </a:lnTo>
                  <a:lnTo>
                    <a:pt x="8460" y="1842"/>
                  </a:lnTo>
                  <a:lnTo>
                    <a:pt x="8506" y="1832"/>
                  </a:lnTo>
                  <a:lnTo>
                    <a:pt x="8552" y="1820"/>
                  </a:lnTo>
                  <a:lnTo>
                    <a:pt x="8595" y="1805"/>
                  </a:lnTo>
                  <a:lnTo>
                    <a:pt x="8639" y="1789"/>
                  </a:lnTo>
                  <a:lnTo>
                    <a:pt x="8681" y="1771"/>
                  </a:lnTo>
                  <a:lnTo>
                    <a:pt x="8721" y="1751"/>
                  </a:lnTo>
                  <a:lnTo>
                    <a:pt x="8761" y="1729"/>
                  </a:lnTo>
                  <a:lnTo>
                    <a:pt x="8799" y="1705"/>
                  </a:lnTo>
                  <a:lnTo>
                    <a:pt x="8835" y="1680"/>
                  </a:lnTo>
                  <a:lnTo>
                    <a:pt x="8871" y="1653"/>
                  </a:lnTo>
                  <a:lnTo>
                    <a:pt x="8905" y="1624"/>
                  </a:lnTo>
                  <a:lnTo>
                    <a:pt x="8937" y="1593"/>
                  </a:lnTo>
                  <a:lnTo>
                    <a:pt x="8968" y="1561"/>
                  </a:lnTo>
                  <a:lnTo>
                    <a:pt x="8996" y="1526"/>
                  </a:lnTo>
                  <a:lnTo>
                    <a:pt x="9023" y="1491"/>
                  </a:lnTo>
                  <a:lnTo>
                    <a:pt x="9049" y="1453"/>
                  </a:lnTo>
                  <a:lnTo>
                    <a:pt x="9072" y="1414"/>
                  </a:lnTo>
                  <a:lnTo>
                    <a:pt x="9094" y="1374"/>
                  </a:lnTo>
                  <a:lnTo>
                    <a:pt x="9113" y="1331"/>
                  </a:lnTo>
                  <a:lnTo>
                    <a:pt x="9130" y="1287"/>
                  </a:lnTo>
                  <a:lnTo>
                    <a:pt x="9146" y="1242"/>
                  </a:lnTo>
                  <a:lnTo>
                    <a:pt x="9159" y="1194"/>
                  </a:lnTo>
                  <a:lnTo>
                    <a:pt x="9169" y="1145"/>
                  </a:lnTo>
                  <a:lnTo>
                    <a:pt x="9178" y="1094"/>
                  </a:lnTo>
                  <a:lnTo>
                    <a:pt x="9184" y="1042"/>
                  </a:lnTo>
                  <a:lnTo>
                    <a:pt x="9188" y="988"/>
                  </a:lnTo>
                  <a:lnTo>
                    <a:pt x="9189" y="933"/>
                  </a:lnTo>
                  <a:lnTo>
                    <a:pt x="9188" y="879"/>
                  </a:lnTo>
                  <a:lnTo>
                    <a:pt x="9184" y="825"/>
                  </a:lnTo>
                  <a:lnTo>
                    <a:pt x="9178" y="773"/>
                  </a:lnTo>
                  <a:lnTo>
                    <a:pt x="9169" y="723"/>
                  </a:lnTo>
                  <a:lnTo>
                    <a:pt x="9159" y="674"/>
                  </a:lnTo>
                  <a:lnTo>
                    <a:pt x="9146" y="626"/>
                  </a:lnTo>
                  <a:lnTo>
                    <a:pt x="9130" y="581"/>
                  </a:lnTo>
                  <a:lnTo>
                    <a:pt x="9113" y="537"/>
                  </a:lnTo>
                  <a:lnTo>
                    <a:pt x="9094" y="494"/>
                  </a:lnTo>
                  <a:lnTo>
                    <a:pt x="9072" y="453"/>
                  </a:lnTo>
                  <a:lnTo>
                    <a:pt x="9049" y="414"/>
                  </a:lnTo>
                  <a:lnTo>
                    <a:pt x="9023" y="376"/>
                  </a:lnTo>
                  <a:lnTo>
                    <a:pt x="8996" y="341"/>
                  </a:lnTo>
                  <a:lnTo>
                    <a:pt x="8968" y="307"/>
                  </a:lnTo>
                  <a:lnTo>
                    <a:pt x="8937" y="275"/>
                  </a:lnTo>
                  <a:lnTo>
                    <a:pt x="8905" y="244"/>
                  </a:lnTo>
                  <a:lnTo>
                    <a:pt x="8871" y="215"/>
                  </a:lnTo>
                  <a:lnTo>
                    <a:pt x="8835" y="187"/>
                  </a:lnTo>
                  <a:lnTo>
                    <a:pt x="8799" y="162"/>
                  </a:lnTo>
                  <a:lnTo>
                    <a:pt x="8761" y="138"/>
                  </a:lnTo>
                  <a:lnTo>
                    <a:pt x="8721" y="117"/>
                  </a:lnTo>
                  <a:lnTo>
                    <a:pt x="8681" y="97"/>
                  </a:lnTo>
                  <a:lnTo>
                    <a:pt x="8639" y="78"/>
                  </a:lnTo>
                  <a:lnTo>
                    <a:pt x="8595" y="62"/>
                  </a:lnTo>
                  <a:lnTo>
                    <a:pt x="8552" y="48"/>
                  </a:lnTo>
                  <a:lnTo>
                    <a:pt x="8506" y="36"/>
                  </a:lnTo>
                  <a:lnTo>
                    <a:pt x="8460" y="24"/>
                  </a:lnTo>
                  <a:lnTo>
                    <a:pt x="8413" y="16"/>
                  </a:lnTo>
                  <a:lnTo>
                    <a:pt x="8364" y="9"/>
                  </a:lnTo>
                  <a:lnTo>
                    <a:pt x="8317" y="4"/>
                  </a:lnTo>
                  <a:lnTo>
                    <a:pt x="8267" y="1"/>
                  </a:lnTo>
                  <a:lnTo>
                    <a:pt x="8217" y="0"/>
                  </a:lnTo>
                  <a:lnTo>
                    <a:pt x="8173" y="1"/>
                  </a:lnTo>
                  <a:lnTo>
                    <a:pt x="8131" y="3"/>
                  </a:lnTo>
                  <a:lnTo>
                    <a:pt x="8088" y="7"/>
                  </a:lnTo>
                  <a:lnTo>
                    <a:pt x="8046" y="12"/>
                  </a:lnTo>
                  <a:lnTo>
                    <a:pt x="8004" y="18"/>
                  </a:lnTo>
                  <a:lnTo>
                    <a:pt x="7964" y="26"/>
                  </a:lnTo>
                  <a:lnTo>
                    <a:pt x="7924" y="36"/>
                  </a:lnTo>
                  <a:lnTo>
                    <a:pt x="7884" y="47"/>
                  </a:lnTo>
                  <a:lnTo>
                    <a:pt x="7846" y="59"/>
                  </a:lnTo>
                  <a:lnTo>
                    <a:pt x="7808" y="73"/>
                  </a:lnTo>
                  <a:lnTo>
                    <a:pt x="7772" y="88"/>
                  </a:lnTo>
                  <a:lnTo>
                    <a:pt x="7736" y="105"/>
                  </a:lnTo>
                  <a:lnTo>
                    <a:pt x="7700" y="122"/>
                  </a:lnTo>
                  <a:lnTo>
                    <a:pt x="7667" y="141"/>
                  </a:lnTo>
                  <a:lnTo>
                    <a:pt x="7633" y="162"/>
                  </a:lnTo>
                  <a:lnTo>
                    <a:pt x="7602" y="184"/>
                  </a:lnTo>
                  <a:lnTo>
                    <a:pt x="7571" y="207"/>
                  </a:lnTo>
                  <a:lnTo>
                    <a:pt x="7542" y="232"/>
                  </a:lnTo>
                  <a:lnTo>
                    <a:pt x="7512" y="257"/>
                  </a:lnTo>
                  <a:lnTo>
                    <a:pt x="7486" y="285"/>
                  </a:lnTo>
                  <a:lnTo>
                    <a:pt x="7459" y="313"/>
                  </a:lnTo>
                  <a:lnTo>
                    <a:pt x="7435" y="343"/>
                  </a:lnTo>
                  <a:lnTo>
                    <a:pt x="7412" y="374"/>
                  </a:lnTo>
                  <a:lnTo>
                    <a:pt x="7389" y="406"/>
                  </a:lnTo>
                  <a:lnTo>
                    <a:pt x="7369" y="439"/>
                  </a:lnTo>
                  <a:lnTo>
                    <a:pt x="7350" y="475"/>
                  </a:lnTo>
                  <a:lnTo>
                    <a:pt x="7331" y="510"/>
                  </a:lnTo>
                  <a:lnTo>
                    <a:pt x="7315" y="548"/>
                  </a:lnTo>
                  <a:lnTo>
                    <a:pt x="7301" y="586"/>
                  </a:lnTo>
                  <a:lnTo>
                    <a:pt x="7287" y="625"/>
                  </a:lnTo>
                  <a:lnTo>
                    <a:pt x="7276" y="666"/>
                  </a:lnTo>
                  <a:lnTo>
                    <a:pt x="7267" y="709"/>
                  </a:lnTo>
                  <a:lnTo>
                    <a:pt x="6980" y="709"/>
                  </a:lnTo>
                  <a:lnTo>
                    <a:pt x="6980" y="42"/>
                  </a:lnTo>
                  <a:lnTo>
                    <a:pt x="6585" y="42"/>
                  </a:lnTo>
                  <a:close/>
                  <a:moveTo>
                    <a:pt x="7643" y="933"/>
                  </a:moveTo>
                  <a:lnTo>
                    <a:pt x="7644" y="900"/>
                  </a:lnTo>
                  <a:lnTo>
                    <a:pt x="7645" y="866"/>
                  </a:lnTo>
                  <a:lnTo>
                    <a:pt x="7649" y="835"/>
                  </a:lnTo>
                  <a:lnTo>
                    <a:pt x="7653" y="803"/>
                  </a:lnTo>
                  <a:lnTo>
                    <a:pt x="7658" y="773"/>
                  </a:lnTo>
                  <a:lnTo>
                    <a:pt x="7664" y="743"/>
                  </a:lnTo>
                  <a:lnTo>
                    <a:pt x="7672" y="715"/>
                  </a:lnTo>
                  <a:lnTo>
                    <a:pt x="7680" y="686"/>
                  </a:lnTo>
                  <a:lnTo>
                    <a:pt x="7690" y="660"/>
                  </a:lnTo>
                  <a:lnTo>
                    <a:pt x="7700" y="634"/>
                  </a:lnTo>
                  <a:lnTo>
                    <a:pt x="7713" y="610"/>
                  </a:lnTo>
                  <a:lnTo>
                    <a:pt x="7726" y="586"/>
                  </a:lnTo>
                  <a:lnTo>
                    <a:pt x="7740" y="563"/>
                  </a:lnTo>
                  <a:lnTo>
                    <a:pt x="7755" y="542"/>
                  </a:lnTo>
                  <a:lnTo>
                    <a:pt x="7772" y="521"/>
                  </a:lnTo>
                  <a:lnTo>
                    <a:pt x="7789" y="501"/>
                  </a:lnTo>
                  <a:lnTo>
                    <a:pt x="7807" y="483"/>
                  </a:lnTo>
                  <a:lnTo>
                    <a:pt x="7828" y="466"/>
                  </a:lnTo>
                  <a:lnTo>
                    <a:pt x="7848" y="449"/>
                  </a:lnTo>
                  <a:lnTo>
                    <a:pt x="7870" y="434"/>
                  </a:lnTo>
                  <a:lnTo>
                    <a:pt x="7893" y="420"/>
                  </a:lnTo>
                  <a:lnTo>
                    <a:pt x="7917" y="408"/>
                  </a:lnTo>
                  <a:lnTo>
                    <a:pt x="7942" y="396"/>
                  </a:lnTo>
                  <a:lnTo>
                    <a:pt x="7968" y="385"/>
                  </a:lnTo>
                  <a:lnTo>
                    <a:pt x="7995" y="375"/>
                  </a:lnTo>
                  <a:lnTo>
                    <a:pt x="8024" y="367"/>
                  </a:lnTo>
                  <a:lnTo>
                    <a:pt x="8053" y="361"/>
                  </a:lnTo>
                  <a:lnTo>
                    <a:pt x="8084" y="355"/>
                  </a:lnTo>
                  <a:lnTo>
                    <a:pt x="8115" y="351"/>
                  </a:lnTo>
                  <a:lnTo>
                    <a:pt x="8148" y="347"/>
                  </a:lnTo>
                  <a:lnTo>
                    <a:pt x="8182" y="345"/>
                  </a:lnTo>
                  <a:lnTo>
                    <a:pt x="8217" y="345"/>
                  </a:lnTo>
                  <a:lnTo>
                    <a:pt x="8252" y="345"/>
                  </a:lnTo>
                  <a:lnTo>
                    <a:pt x="8285" y="347"/>
                  </a:lnTo>
                  <a:lnTo>
                    <a:pt x="8318" y="351"/>
                  </a:lnTo>
                  <a:lnTo>
                    <a:pt x="8349" y="355"/>
                  </a:lnTo>
                  <a:lnTo>
                    <a:pt x="8380" y="361"/>
                  </a:lnTo>
                  <a:lnTo>
                    <a:pt x="8409" y="367"/>
                  </a:lnTo>
                  <a:lnTo>
                    <a:pt x="8438" y="375"/>
                  </a:lnTo>
                  <a:lnTo>
                    <a:pt x="8465" y="385"/>
                  </a:lnTo>
                  <a:lnTo>
                    <a:pt x="8492" y="396"/>
                  </a:lnTo>
                  <a:lnTo>
                    <a:pt x="8517" y="408"/>
                  </a:lnTo>
                  <a:lnTo>
                    <a:pt x="8540" y="420"/>
                  </a:lnTo>
                  <a:lnTo>
                    <a:pt x="8564" y="434"/>
                  </a:lnTo>
                  <a:lnTo>
                    <a:pt x="8585" y="449"/>
                  </a:lnTo>
                  <a:lnTo>
                    <a:pt x="8607" y="466"/>
                  </a:lnTo>
                  <a:lnTo>
                    <a:pt x="8626" y="483"/>
                  </a:lnTo>
                  <a:lnTo>
                    <a:pt x="8644" y="501"/>
                  </a:lnTo>
                  <a:lnTo>
                    <a:pt x="8662" y="521"/>
                  </a:lnTo>
                  <a:lnTo>
                    <a:pt x="8679" y="542"/>
                  </a:lnTo>
                  <a:lnTo>
                    <a:pt x="8694" y="563"/>
                  </a:lnTo>
                  <a:lnTo>
                    <a:pt x="8708" y="586"/>
                  </a:lnTo>
                  <a:lnTo>
                    <a:pt x="8720" y="610"/>
                  </a:lnTo>
                  <a:lnTo>
                    <a:pt x="8733" y="634"/>
                  </a:lnTo>
                  <a:lnTo>
                    <a:pt x="8744" y="660"/>
                  </a:lnTo>
                  <a:lnTo>
                    <a:pt x="8753" y="686"/>
                  </a:lnTo>
                  <a:lnTo>
                    <a:pt x="8762" y="715"/>
                  </a:lnTo>
                  <a:lnTo>
                    <a:pt x="8769" y="743"/>
                  </a:lnTo>
                  <a:lnTo>
                    <a:pt x="8775" y="773"/>
                  </a:lnTo>
                  <a:lnTo>
                    <a:pt x="8780" y="803"/>
                  </a:lnTo>
                  <a:lnTo>
                    <a:pt x="8785" y="835"/>
                  </a:lnTo>
                  <a:lnTo>
                    <a:pt x="8788" y="866"/>
                  </a:lnTo>
                  <a:lnTo>
                    <a:pt x="8790" y="900"/>
                  </a:lnTo>
                  <a:lnTo>
                    <a:pt x="8790" y="933"/>
                  </a:lnTo>
                  <a:lnTo>
                    <a:pt x="8790" y="968"/>
                  </a:lnTo>
                  <a:lnTo>
                    <a:pt x="8788" y="1001"/>
                  </a:lnTo>
                  <a:lnTo>
                    <a:pt x="8785" y="1033"/>
                  </a:lnTo>
                  <a:lnTo>
                    <a:pt x="8780" y="1065"/>
                  </a:lnTo>
                  <a:lnTo>
                    <a:pt x="8775" y="1095"/>
                  </a:lnTo>
                  <a:lnTo>
                    <a:pt x="8769" y="1125"/>
                  </a:lnTo>
                  <a:lnTo>
                    <a:pt x="8762" y="1153"/>
                  </a:lnTo>
                  <a:lnTo>
                    <a:pt x="8753" y="1181"/>
                  </a:lnTo>
                  <a:lnTo>
                    <a:pt x="8744" y="1207"/>
                  </a:lnTo>
                  <a:lnTo>
                    <a:pt x="8733" y="1233"/>
                  </a:lnTo>
                  <a:lnTo>
                    <a:pt x="8720" y="1258"/>
                  </a:lnTo>
                  <a:lnTo>
                    <a:pt x="8708" y="1281"/>
                  </a:lnTo>
                  <a:lnTo>
                    <a:pt x="8694" y="1305"/>
                  </a:lnTo>
                  <a:lnTo>
                    <a:pt x="8679" y="1326"/>
                  </a:lnTo>
                  <a:lnTo>
                    <a:pt x="8662" y="1346"/>
                  </a:lnTo>
                  <a:lnTo>
                    <a:pt x="8644" y="1366"/>
                  </a:lnTo>
                  <a:lnTo>
                    <a:pt x="8626" y="1385"/>
                  </a:lnTo>
                  <a:lnTo>
                    <a:pt x="8607" y="1402"/>
                  </a:lnTo>
                  <a:lnTo>
                    <a:pt x="8585" y="1418"/>
                  </a:lnTo>
                  <a:lnTo>
                    <a:pt x="8564" y="1434"/>
                  </a:lnTo>
                  <a:lnTo>
                    <a:pt x="8540" y="1447"/>
                  </a:lnTo>
                  <a:lnTo>
                    <a:pt x="8517" y="1460"/>
                  </a:lnTo>
                  <a:lnTo>
                    <a:pt x="8492" y="1472"/>
                  </a:lnTo>
                  <a:lnTo>
                    <a:pt x="8465" y="1483"/>
                  </a:lnTo>
                  <a:lnTo>
                    <a:pt x="8438" y="1492"/>
                  </a:lnTo>
                  <a:lnTo>
                    <a:pt x="8409" y="1500"/>
                  </a:lnTo>
                  <a:lnTo>
                    <a:pt x="8380" y="1507"/>
                  </a:lnTo>
                  <a:lnTo>
                    <a:pt x="8349" y="1513"/>
                  </a:lnTo>
                  <a:lnTo>
                    <a:pt x="8318" y="1517"/>
                  </a:lnTo>
                  <a:lnTo>
                    <a:pt x="8285" y="1520"/>
                  </a:lnTo>
                  <a:lnTo>
                    <a:pt x="8252" y="1522"/>
                  </a:lnTo>
                  <a:lnTo>
                    <a:pt x="8217" y="1523"/>
                  </a:lnTo>
                  <a:lnTo>
                    <a:pt x="8182" y="1522"/>
                  </a:lnTo>
                  <a:lnTo>
                    <a:pt x="8148" y="1520"/>
                  </a:lnTo>
                  <a:lnTo>
                    <a:pt x="8115" y="1517"/>
                  </a:lnTo>
                  <a:lnTo>
                    <a:pt x="8084" y="1513"/>
                  </a:lnTo>
                  <a:lnTo>
                    <a:pt x="8053" y="1507"/>
                  </a:lnTo>
                  <a:lnTo>
                    <a:pt x="8024" y="1500"/>
                  </a:lnTo>
                  <a:lnTo>
                    <a:pt x="7995" y="1492"/>
                  </a:lnTo>
                  <a:lnTo>
                    <a:pt x="7968" y="1483"/>
                  </a:lnTo>
                  <a:lnTo>
                    <a:pt x="7942" y="1472"/>
                  </a:lnTo>
                  <a:lnTo>
                    <a:pt x="7917" y="1460"/>
                  </a:lnTo>
                  <a:lnTo>
                    <a:pt x="7893" y="1447"/>
                  </a:lnTo>
                  <a:lnTo>
                    <a:pt x="7870" y="1434"/>
                  </a:lnTo>
                  <a:lnTo>
                    <a:pt x="7848" y="1418"/>
                  </a:lnTo>
                  <a:lnTo>
                    <a:pt x="7828" y="1402"/>
                  </a:lnTo>
                  <a:lnTo>
                    <a:pt x="7807" y="1385"/>
                  </a:lnTo>
                  <a:lnTo>
                    <a:pt x="7789" y="1366"/>
                  </a:lnTo>
                  <a:lnTo>
                    <a:pt x="7772" y="1346"/>
                  </a:lnTo>
                  <a:lnTo>
                    <a:pt x="7755" y="1326"/>
                  </a:lnTo>
                  <a:lnTo>
                    <a:pt x="7740" y="1305"/>
                  </a:lnTo>
                  <a:lnTo>
                    <a:pt x="7726" y="1281"/>
                  </a:lnTo>
                  <a:lnTo>
                    <a:pt x="7713" y="1258"/>
                  </a:lnTo>
                  <a:lnTo>
                    <a:pt x="7700" y="1233"/>
                  </a:lnTo>
                  <a:lnTo>
                    <a:pt x="7690" y="1207"/>
                  </a:lnTo>
                  <a:lnTo>
                    <a:pt x="7680" y="1181"/>
                  </a:lnTo>
                  <a:lnTo>
                    <a:pt x="7672" y="1153"/>
                  </a:lnTo>
                  <a:lnTo>
                    <a:pt x="7664" y="1125"/>
                  </a:lnTo>
                  <a:lnTo>
                    <a:pt x="7658" y="1095"/>
                  </a:lnTo>
                  <a:lnTo>
                    <a:pt x="7653" y="1065"/>
                  </a:lnTo>
                  <a:lnTo>
                    <a:pt x="7649" y="1033"/>
                  </a:lnTo>
                  <a:lnTo>
                    <a:pt x="7645" y="1001"/>
                  </a:lnTo>
                  <a:lnTo>
                    <a:pt x="7644" y="968"/>
                  </a:lnTo>
                  <a:lnTo>
                    <a:pt x="7643" y="933"/>
                  </a:lnTo>
                  <a:close/>
                  <a:moveTo>
                    <a:pt x="11327" y="477"/>
                  </a:moveTo>
                  <a:lnTo>
                    <a:pt x="11310" y="447"/>
                  </a:lnTo>
                  <a:lnTo>
                    <a:pt x="11291" y="420"/>
                  </a:lnTo>
                  <a:lnTo>
                    <a:pt x="11272" y="392"/>
                  </a:lnTo>
                  <a:lnTo>
                    <a:pt x="11253" y="366"/>
                  </a:lnTo>
                  <a:lnTo>
                    <a:pt x="11232" y="341"/>
                  </a:lnTo>
                  <a:lnTo>
                    <a:pt x="11211" y="316"/>
                  </a:lnTo>
                  <a:lnTo>
                    <a:pt x="11190" y="293"/>
                  </a:lnTo>
                  <a:lnTo>
                    <a:pt x="11167" y="270"/>
                  </a:lnTo>
                  <a:lnTo>
                    <a:pt x="11144" y="248"/>
                  </a:lnTo>
                  <a:lnTo>
                    <a:pt x="11121" y="228"/>
                  </a:lnTo>
                  <a:lnTo>
                    <a:pt x="11096" y="207"/>
                  </a:lnTo>
                  <a:lnTo>
                    <a:pt x="11071" y="188"/>
                  </a:lnTo>
                  <a:lnTo>
                    <a:pt x="11045" y="171"/>
                  </a:lnTo>
                  <a:lnTo>
                    <a:pt x="11018" y="154"/>
                  </a:lnTo>
                  <a:lnTo>
                    <a:pt x="10991" y="136"/>
                  </a:lnTo>
                  <a:lnTo>
                    <a:pt x="10963" y="121"/>
                  </a:lnTo>
                  <a:lnTo>
                    <a:pt x="10934" y="107"/>
                  </a:lnTo>
                  <a:lnTo>
                    <a:pt x="10905" y="93"/>
                  </a:lnTo>
                  <a:lnTo>
                    <a:pt x="10875" y="80"/>
                  </a:lnTo>
                  <a:lnTo>
                    <a:pt x="10845" y="68"/>
                  </a:lnTo>
                  <a:lnTo>
                    <a:pt x="10813" y="58"/>
                  </a:lnTo>
                  <a:lnTo>
                    <a:pt x="10782" y="48"/>
                  </a:lnTo>
                  <a:lnTo>
                    <a:pt x="10749" y="39"/>
                  </a:lnTo>
                  <a:lnTo>
                    <a:pt x="10716" y="30"/>
                  </a:lnTo>
                  <a:lnTo>
                    <a:pt x="10682" y="23"/>
                  </a:lnTo>
                  <a:lnTo>
                    <a:pt x="10648" y="17"/>
                  </a:lnTo>
                  <a:lnTo>
                    <a:pt x="10612" y="12"/>
                  </a:lnTo>
                  <a:lnTo>
                    <a:pt x="10576" y="8"/>
                  </a:lnTo>
                  <a:lnTo>
                    <a:pt x="10540" y="4"/>
                  </a:lnTo>
                  <a:lnTo>
                    <a:pt x="10502" y="2"/>
                  </a:lnTo>
                  <a:lnTo>
                    <a:pt x="10465" y="1"/>
                  </a:lnTo>
                  <a:lnTo>
                    <a:pt x="10426" y="0"/>
                  </a:lnTo>
                  <a:lnTo>
                    <a:pt x="10373" y="1"/>
                  </a:lnTo>
                  <a:lnTo>
                    <a:pt x="10322" y="4"/>
                  </a:lnTo>
                  <a:lnTo>
                    <a:pt x="10271" y="9"/>
                  </a:lnTo>
                  <a:lnTo>
                    <a:pt x="10222" y="16"/>
                  </a:lnTo>
                  <a:lnTo>
                    <a:pt x="10174" y="25"/>
                  </a:lnTo>
                  <a:lnTo>
                    <a:pt x="10126" y="37"/>
                  </a:lnTo>
                  <a:lnTo>
                    <a:pt x="10079" y="50"/>
                  </a:lnTo>
                  <a:lnTo>
                    <a:pt x="10033" y="65"/>
                  </a:lnTo>
                  <a:lnTo>
                    <a:pt x="9990" y="81"/>
                  </a:lnTo>
                  <a:lnTo>
                    <a:pt x="9947" y="101"/>
                  </a:lnTo>
                  <a:lnTo>
                    <a:pt x="9905" y="121"/>
                  </a:lnTo>
                  <a:lnTo>
                    <a:pt x="9865" y="143"/>
                  </a:lnTo>
                  <a:lnTo>
                    <a:pt x="9826" y="168"/>
                  </a:lnTo>
                  <a:lnTo>
                    <a:pt x="9788" y="194"/>
                  </a:lnTo>
                  <a:lnTo>
                    <a:pt x="9753" y="222"/>
                  </a:lnTo>
                  <a:lnTo>
                    <a:pt x="9718" y="251"/>
                  </a:lnTo>
                  <a:lnTo>
                    <a:pt x="9686" y="282"/>
                  </a:lnTo>
                  <a:lnTo>
                    <a:pt x="9654" y="314"/>
                  </a:lnTo>
                  <a:lnTo>
                    <a:pt x="9626" y="349"/>
                  </a:lnTo>
                  <a:lnTo>
                    <a:pt x="9598" y="385"/>
                  </a:lnTo>
                  <a:lnTo>
                    <a:pt x="9572" y="423"/>
                  </a:lnTo>
                  <a:lnTo>
                    <a:pt x="9548" y="462"/>
                  </a:lnTo>
                  <a:lnTo>
                    <a:pt x="9527" y="502"/>
                  </a:lnTo>
                  <a:lnTo>
                    <a:pt x="9508" y="545"/>
                  </a:lnTo>
                  <a:lnTo>
                    <a:pt x="9489" y="589"/>
                  </a:lnTo>
                  <a:lnTo>
                    <a:pt x="9474" y="633"/>
                  </a:lnTo>
                  <a:lnTo>
                    <a:pt x="9461" y="680"/>
                  </a:lnTo>
                  <a:lnTo>
                    <a:pt x="9451" y="728"/>
                  </a:lnTo>
                  <a:lnTo>
                    <a:pt x="9441" y="778"/>
                  </a:lnTo>
                  <a:lnTo>
                    <a:pt x="9435" y="829"/>
                  </a:lnTo>
                  <a:lnTo>
                    <a:pt x="9432" y="881"/>
                  </a:lnTo>
                  <a:lnTo>
                    <a:pt x="9430" y="933"/>
                  </a:lnTo>
                  <a:lnTo>
                    <a:pt x="9431" y="987"/>
                  </a:lnTo>
                  <a:lnTo>
                    <a:pt x="9435" y="1039"/>
                  </a:lnTo>
                  <a:lnTo>
                    <a:pt x="9441" y="1090"/>
                  </a:lnTo>
                  <a:lnTo>
                    <a:pt x="9450" y="1139"/>
                  </a:lnTo>
                  <a:lnTo>
                    <a:pt x="9461" y="1188"/>
                  </a:lnTo>
                  <a:lnTo>
                    <a:pt x="9474" y="1234"/>
                  </a:lnTo>
                  <a:lnTo>
                    <a:pt x="9488" y="1279"/>
                  </a:lnTo>
                  <a:lnTo>
                    <a:pt x="9506" y="1323"/>
                  </a:lnTo>
                  <a:lnTo>
                    <a:pt x="9525" y="1365"/>
                  </a:lnTo>
                  <a:lnTo>
                    <a:pt x="9546" y="1405"/>
                  </a:lnTo>
                  <a:lnTo>
                    <a:pt x="9570" y="1445"/>
                  </a:lnTo>
                  <a:lnTo>
                    <a:pt x="9595" y="1483"/>
                  </a:lnTo>
                  <a:lnTo>
                    <a:pt x="9623" y="1518"/>
                  </a:lnTo>
                  <a:lnTo>
                    <a:pt x="9651" y="1553"/>
                  </a:lnTo>
                  <a:lnTo>
                    <a:pt x="9681" y="1585"/>
                  </a:lnTo>
                  <a:lnTo>
                    <a:pt x="9714" y="1617"/>
                  </a:lnTo>
                  <a:lnTo>
                    <a:pt x="9749" y="1646"/>
                  </a:lnTo>
                  <a:lnTo>
                    <a:pt x="9784" y="1674"/>
                  </a:lnTo>
                  <a:lnTo>
                    <a:pt x="9822" y="1700"/>
                  </a:lnTo>
                  <a:lnTo>
                    <a:pt x="9860" y="1724"/>
                  </a:lnTo>
                  <a:lnTo>
                    <a:pt x="9900" y="1746"/>
                  </a:lnTo>
                  <a:lnTo>
                    <a:pt x="9942" y="1767"/>
                  </a:lnTo>
                  <a:lnTo>
                    <a:pt x="9986" y="1786"/>
                  </a:lnTo>
                  <a:lnTo>
                    <a:pt x="10029" y="1803"/>
                  </a:lnTo>
                  <a:lnTo>
                    <a:pt x="10075" y="1818"/>
                  </a:lnTo>
                  <a:lnTo>
                    <a:pt x="10122" y="1830"/>
                  </a:lnTo>
                  <a:lnTo>
                    <a:pt x="10170" y="1841"/>
                  </a:lnTo>
                  <a:lnTo>
                    <a:pt x="10219" y="1851"/>
                  </a:lnTo>
                  <a:lnTo>
                    <a:pt x="10269" y="1858"/>
                  </a:lnTo>
                  <a:lnTo>
                    <a:pt x="10320" y="1863"/>
                  </a:lnTo>
                  <a:lnTo>
                    <a:pt x="10372" y="1867"/>
                  </a:lnTo>
                  <a:lnTo>
                    <a:pt x="10426" y="1868"/>
                  </a:lnTo>
                  <a:lnTo>
                    <a:pt x="10465" y="1867"/>
                  </a:lnTo>
                  <a:lnTo>
                    <a:pt x="10502" y="1866"/>
                  </a:lnTo>
                  <a:lnTo>
                    <a:pt x="10540" y="1863"/>
                  </a:lnTo>
                  <a:lnTo>
                    <a:pt x="10576" y="1860"/>
                  </a:lnTo>
                  <a:lnTo>
                    <a:pt x="10612" y="1856"/>
                  </a:lnTo>
                  <a:lnTo>
                    <a:pt x="10648" y="1851"/>
                  </a:lnTo>
                  <a:lnTo>
                    <a:pt x="10682" y="1845"/>
                  </a:lnTo>
                  <a:lnTo>
                    <a:pt x="10716" y="1837"/>
                  </a:lnTo>
                  <a:lnTo>
                    <a:pt x="10749" y="1829"/>
                  </a:lnTo>
                  <a:lnTo>
                    <a:pt x="10782" y="1820"/>
                  </a:lnTo>
                  <a:lnTo>
                    <a:pt x="10813" y="1810"/>
                  </a:lnTo>
                  <a:lnTo>
                    <a:pt x="10845" y="1799"/>
                  </a:lnTo>
                  <a:lnTo>
                    <a:pt x="10875" y="1788"/>
                  </a:lnTo>
                  <a:lnTo>
                    <a:pt x="10905" y="1774"/>
                  </a:lnTo>
                  <a:lnTo>
                    <a:pt x="10934" y="1761"/>
                  </a:lnTo>
                  <a:lnTo>
                    <a:pt x="10963" y="1746"/>
                  </a:lnTo>
                  <a:lnTo>
                    <a:pt x="10991" y="1731"/>
                  </a:lnTo>
                  <a:lnTo>
                    <a:pt x="11018" y="1714"/>
                  </a:lnTo>
                  <a:lnTo>
                    <a:pt x="11045" y="1697"/>
                  </a:lnTo>
                  <a:lnTo>
                    <a:pt x="11071" y="1679"/>
                  </a:lnTo>
                  <a:lnTo>
                    <a:pt x="11096" y="1659"/>
                  </a:lnTo>
                  <a:lnTo>
                    <a:pt x="11121" y="1640"/>
                  </a:lnTo>
                  <a:lnTo>
                    <a:pt x="11144" y="1619"/>
                  </a:lnTo>
                  <a:lnTo>
                    <a:pt x="11167" y="1597"/>
                  </a:lnTo>
                  <a:lnTo>
                    <a:pt x="11190" y="1574"/>
                  </a:lnTo>
                  <a:lnTo>
                    <a:pt x="11211" y="1551"/>
                  </a:lnTo>
                  <a:lnTo>
                    <a:pt x="11232" y="1526"/>
                  </a:lnTo>
                  <a:lnTo>
                    <a:pt x="11253" y="1501"/>
                  </a:lnTo>
                  <a:lnTo>
                    <a:pt x="11272" y="1474"/>
                  </a:lnTo>
                  <a:lnTo>
                    <a:pt x="11291" y="1448"/>
                  </a:lnTo>
                  <a:lnTo>
                    <a:pt x="11310" y="1419"/>
                  </a:lnTo>
                  <a:lnTo>
                    <a:pt x="11327" y="1391"/>
                  </a:lnTo>
                  <a:lnTo>
                    <a:pt x="11015" y="1211"/>
                  </a:lnTo>
                  <a:lnTo>
                    <a:pt x="11002" y="1228"/>
                  </a:lnTo>
                  <a:lnTo>
                    <a:pt x="10988" y="1246"/>
                  </a:lnTo>
                  <a:lnTo>
                    <a:pt x="10975" y="1263"/>
                  </a:lnTo>
                  <a:lnTo>
                    <a:pt x="10962" y="1279"/>
                  </a:lnTo>
                  <a:lnTo>
                    <a:pt x="10948" y="1294"/>
                  </a:lnTo>
                  <a:lnTo>
                    <a:pt x="10933" y="1310"/>
                  </a:lnTo>
                  <a:lnTo>
                    <a:pt x="10919" y="1325"/>
                  </a:lnTo>
                  <a:lnTo>
                    <a:pt x="10904" y="1339"/>
                  </a:lnTo>
                  <a:lnTo>
                    <a:pt x="10890" y="1352"/>
                  </a:lnTo>
                  <a:lnTo>
                    <a:pt x="10873" y="1366"/>
                  </a:lnTo>
                  <a:lnTo>
                    <a:pt x="10858" y="1378"/>
                  </a:lnTo>
                  <a:lnTo>
                    <a:pt x="10842" y="1390"/>
                  </a:lnTo>
                  <a:lnTo>
                    <a:pt x="10825" y="1402"/>
                  </a:lnTo>
                  <a:lnTo>
                    <a:pt x="10807" y="1412"/>
                  </a:lnTo>
                  <a:lnTo>
                    <a:pt x="10790" y="1423"/>
                  </a:lnTo>
                  <a:lnTo>
                    <a:pt x="10773" y="1433"/>
                  </a:lnTo>
                  <a:lnTo>
                    <a:pt x="10754" y="1442"/>
                  </a:lnTo>
                  <a:lnTo>
                    <a:pt x="10735" y="1451"/>
                  </a:lnTo>
                  <a:lnTo>
                    <a:pt x="10716" y="1459"/>
                  </a:lnTo>
                  <a:lnTo>
                    <a:pt x="10696" y="1466"/>
                  </a:lnTo>
                  <a:lnTo>
                    <a:pt x="10676" y="1473"/>
                  </a:lnTo>
                  <a:lnTo>
                    <a:pt x="10656" y="1479"/>
                  </a:lnTo>
                  <a:lnTo>
                    <a:pt x="10634" y="1486"/>
                  </a:lnTo>
                  <a:lnTo>
                    <a:pt x="10613" y="1491"/>
                  </a:lnTo>
                  <a:lnTo>
                    <a:pt x="10591" y="1495"/>
                  </a:lnTo>
                  <a:lnTo>
                    <a:pt x="10567" y="1499"/>
                  </a:lnTo>
                  <a:lnTo>
                    <a:pt x="10544" y="1502"/>
                  </a:lnTo>
                  <a:lnTo>
                    <a:pt x="10521" y="1505"/>
                  </a:lnTo>
                  <a:lnTo>
                    <a:pt x="10496" y="1507"/>
                  </a:lnTo>
                  <a:lnTo>
                    <a:pt x="10471" y="1509"/>
                  </a:lnTo>
                  <a:lnTo>
                    <a:pt x="10445" y="1510"/>
                  </a:lnTo>
                  <a:lnTo>
                    <a:pt x="10419" y="1510"/>
                  </a:lnTo>
                  <a:lnTo>
                    <a:pt x="10386" y="1509"/>
                  </a:lnTo>
                  <a:lnTo>
                    <a:pt x="10355" y="1507"/>
                  </a:lnTo>
                  <a:lnTo>
                    <a:pt x="10324" y="1504"/>
                  </a:lnTo>
                  <a:lnTo>
                    <a:pt x="10294" y="1500"/>
                  </a:lnTo>
                  <a:lnTo>
                    <a:pt x="10264" y="1494"/>
                  </a:lnTo>
                  <a:lnTo>
                    <a:pt x="10236" y="1487"/>
                  </a:lnTo>
                  <a:lnTo>
                    <a:pt x="10207" y="1478"/>
                  </a:lnTo>
                  <a:lnTo>
                    <a:pt x="10180" y="1468"/>
                  </a:lnTo>
                  <a:lnTo>
                    <a:pt x="10153" y="1458"/>
                  </a:lnTo>
                  <a:lnTo>
                    <a:pt x="10128" y="1446"/>
                  </a:lnTo>
                  <a:lnTo>
                    <a:pt x="10104" y="1433"/>
                  </a:lnTo>
                  <a:lnTo>
                    <a:pt x="10080" y="1418"/>
                  </a:lnTo>
                  <a:lnTo>
                    <a:pt x="10057" y="1403"/>
                  </a:lnTo>
                  <a:lnTo>
                    <a:pt x="10035" y="1387"/>
                  </a:lnTo>
                  <a:lnTo>
                    <a:pt x="10014" y="1370"/>
                  </a:lnTo>
                  <a:lnTo>
                    <a:pt x="9994" y="1351"/>
                  </a:lnTo>
                  <a:lnTo>
                    <a:pt x="9975" y="1332"/>
                  </a:lnTo>
                  <a:lnTo>
                    <a:pt x="9957" y="1312"/>
                  </a:lnTo>
                  <a:lnTo>
                    <a:pt x="9941" y="1289"/>
                  </a:lnTo>
                  <a:lnTo>
                    <a:pt x="9925" y="1268"/>
                  </a:lnTo>
                  <a:lnTo>
                    <a:pt x="9910" y="1245"/>
                  </a:lnTo>
                  <a:lnTo>
                    <a:pt x="9896" y="1220"/>
                  </a:lnTo>
                  <a:lnTo>
                    <a:pt x="9884" y="1195"/>
                  </a:lnTo>
                  <a:lnTo>
                    <a:pt x="9873" y="1169"/>
                  </a:lnTo>
                  <a:lnTo>
                    <a:pt x="9864" y="1143"/>
                  </a:lnTo>
                  <a:lnTo>
                    <a:pt x="9854" y="1114"/>
                  </a:lnTo>
                  <a:lnTo>
                    <a:pt x="9847" y="1087"/>
                  </a:lnTo>
                  <a:lnTo>
                    <a:pt x="9841" y="1057"/>
                  </a:lnTo>
                  <a:lnTo>
                    <a:pt x="9836" y="1028"/>
                  </a:lnTo>
                  <a:lnTo>
                    <a:pt x="9833" y="998"/>
                  </a:lnTo>
                  <a:lnTo>
                    <a:pt x="9831" y="966"/>
                  </a:lnTo>
                  <a:lnTo>
                    <a:pt x="9830" y="933"/>
                  </a:lnTo>
                  <a:lnTo>
                    <a:pt x="9831" y="901"/>
                  </a:lnTo>
                  <a:lnTo>
                    <a:pt x="9833" y="869"/>
                  </a:lnTo>
                  <a:lnTo>
                    <a:pt x="9836" y="839"/>
                  </a:lnTo>
                  <a:lnTo>
                    <a:pt x="9840" y="808"/>
                  </a:lnTo>
                  <a:lnTo>
                    <a:pt x="9846" y="779"/>
                  </a:lnTo>
                  <a:lnTo>
                    <a:pt x="9853" y="750"/>
                  </a:lnTo>
                  <a:lnTo>
                    <a:pt x="9863" y="723"/>
                  </a:lnTo>
                  <a:lnTo>
                    <a:pt x="9872" y="696"/>
                  </a:lnTo>
                  <a:lnTo>
                    <a:pt x="9883" y="670"/>
                  </a:lnTo>
                  <a:lnTo>
                    <a:pt x="9894" y="645"/>
                  </a:lnTo>
                  <a:lnTo>
                    <a:pt x="9907" y="620"/>
                  </a:lnTo>
                  <a:lnTo>
                    <a:pt x="9923" y="597"/>
                  </a:lnTo>
                  <a:lnTo>
                    <a:pt x="9938" y="575"/>
                  </a:lnTo>
                  <a:lnTo>
                    <a:pt x="9954" y="553"/>
                  </a:lnTo>
                  <a:lnTo>
                    <a:pt x="9971" y="533"/>
                  </a:lnTo>
                  <a:lnTo>
                    <a:pt x="9991" y="513"/>
                  </a:lnTo>
                  <a:lnTo>
                    <a:pt x="10010" y="496"/>
                  </a:lnTo>
                  <a:lnTo>
                    <a:pt x="10031" y="479"/>
                  </a:lnTo>
                  <a:lnTo>
                    <a:pt x="10053" y="463"/>
                  </a:lnTo>
                  <a:lnTo>
                    <a:pt x="10075" y="447"/>
                  </a:lnTo>
                  <a:lnTo>
                    <a:pt x="10099" y="433"/>
                  </a:lnTo>
                  <a:lnTo>
                    <a:pt x="10124" y="420"/>
                  </a:lnTo>
                  <a:lnTo>
                    <a:pt x="10149" y="409"/>
                  </a:lnTo>
                  <a:lnTo>
                    <a:pt x="10176" y="399"/>
                  </a:lnTo>
                  <a:lnTo>
                    <a:pt x="10203" y="388"/>
                  </a:lnTo>
                  <a:lnTo>
                    <a:pt x="10232" y="380"/>
                  </a:lnTo>
                  <a:lnTo>
                    <a:pt x="10261" y="373"/>
                  </a:lnTo>
                  <a:lnTo>
                    <a:pt x="10291" y="368"/>
                  </a:lnTo>
                  <a:lnTo>
                    <a:pt x="10322" y="363"/>
                  </a:lnTo>
                  <a:lnTo>
                    <a:pt x="10354" y="360"/>
                  </a:lnTo>
                  <a:lnTo>
                    <a:pt x="10386" y="358"/>
                  </a:lnTo>
                  <a:lnTo>
                    <a:pt x="10419" y="358"/>
                  </a:lnTo>
                  <a:lnTo>
                    <a:pt x="10445" y="358"/>
                  </a:lnTo>
                  <a:lnTo>
                    <a:pt x="10471" y="359"/>
                  </a:lnTo>
                  <a:lnTo>
                    <a:pt x="10496" y="360"/>
                  </a:lnTo>
                  <a:lnTo>
                    <a:pt x="10521" y="362"/>
                  </a:lnTo>
                  <a:lnTo>
                    <a:pt x="10544" y="365"/>
                  </a:lnTo>
                  <a:lnTo>
                    <a:pt x="10567" y="368"/>
                  </a:lnTo>
                  <a:lnTo>
                    <a:pt x="10591" y="372"/>
                  </a:lnTo>
                  <a:lnTo>
                    <a:pt x="10613" y="377"/>
                  </a:lnTo>
                  <a:lnTo>
                    <a:pt x="10634" y="382"/>
                  </a:lnTo>
                  <a:lnTo>
                    <a:pt x="10656" y="388"/>
                  </a:lnTo>
                  <a:lnTo>
                    <a:pt x="10676" y="395"/>
                  </a:lnTo>
                  <a:lnTo>
                    <a:pt x="10696" y="402"/>
                  </a:lnTo>
                  <a:lnTo>
                    <a:pt x="10716" y="409"/>
                  </a:lnTo>
                  <a:lnTo>
                    <a:pt x="10735" y="417"/>
                  </a:lnTo>
                  <a:lnTo>
                    <a:pt x="10754" y="425"/>
                  </a:lnTo>
                  <a:lnTo>
                    <a:pt x="10773" y="435"/>
                  </a:lnTo>
                  <a:lnTo>
                    <a:pt x="10790" y="444"/>
                  </a:lnTo>
                  <a:lnTo>
                    <a:pt x="10807" y="455"/>
                  </a:lnTo>
                  <a:lnTo>
                    <a:pt x="10825" y="466"/>
                  </a:lnTo>
                  <a:lnTo>
                    <a:pt x="10842" y="477"/>
                  </a:lnTo>
                  <a:lnTo>
                    <a:pt x="10858" y="489"/>
                  </a:lnTo>
                  <a:lnTo>
                    <a:pt x="10873" y="502"/>
                  </a:lnTo>
                  <a:lnTo>
                    <a:pt x="10890" y="515"/>
                  </a:lnTo>
                  <a:lnTo>
                    <a:pt x="10904" y="529"/>
                  </a:lnTo>
                  <a:lnTo>
                    <a:pt x="10919" y="543"/>
                  </a:lnTo>
                  <a:lnTo>
                    <a:pt x="10933" y="557"/>
                  </a:lnTo>
                  <a:lnTo>
                    <a:pt x="10948" y="572"/>
                  </a:lnTo>
                  <a:lnTo>
                    <a:pt x="10962" y="589"/>
                  </a:lnTo>
                  <a:lnTo>
                    <a:pt x="10975" y="605"/>
                  </a:lnTo>
                  <a:lnTo>
                    <a:pt x="10988" y="621"/>
                  </a:lnTo>
                  <a:lnTo>
                    <a:pt x="11002" y="639"/>
                  </a:lnTo>
                  <a:lnTo>
                    <a:pt x="11015" y="657"/>
                  </a:lnTo>
                  <a:lnTo>
                    <a:pt x="11327" y="4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490538" y="487363"/>
              <a:ext cx="466725" cy="455612"/>
            </a:xfrm>
            <a:custGeom>
              <a:avLst/>
              <a:gdLst>
                <a:gd name="T0" fmla="*/ 1853 w 3532"/>
                <a:gd name="T1" fmla="*/ 1336 h 3444"/>
                <a:gd name="T2" fmla="*/ 1828 w 3532"/>
                <a:gd name="T3" fmla="*/ 1351 h 3444"/>
                <a:gd name="T4" fmla="*/ 1795 w 3532"/>
                <a:gd name="T5" fmla="*/ 1349 h 3444"/>
                <a:gd name="T6" fmla="*/ 1104 w 3532"/>
                <a:gd name="T7" fmla="*/ 1069 h 3444"/>
                <a:gd name="T8" fmla="*/ 1071 w 3532"/>
                <a:gd name="T9" fmla="*/ 1010 h 3444"/>
                <a:gd name="T10" fmla="*/ 1204 w 3532"/>
                <a:gd name="T11" fmla="*/ 141 h 3444"/>
                <a:gd name="T12" fmla="*/ 1231 w 3532"/>
                <a:gd name="T13" fmla="*/ 77 h 3444"/>
                <a:gd name="T14" fmla="*/ 1287 w 3532"/>
                <a:gd name="T15" fmla="*/ 37 h 3444"/>
                <a:gd name="T16" fmla="*/ 2026 w 3532"/>
                <a:gd name="T17" fmla="*/ 0 h 3444"/>
                <a:gd name="T18" fmla="*/ 2055 w 3532"/>
                <a:gd name="T19" fmla="*/ 11 h 3444"/>
                <a:gd name="T20" fmla="*/ 2072 w 3532"/>
                <a:gd name="T21" fmla="*/ 37 h 3444"/>
                <a:gd name="T22" fmla="*/ 1399 w 3532"/>
                <a:gd name="T23" fmla="*/ 1554 h 3444"/>
                <a:gd name="T24" fmla="*/ 1417 w 3532"/>
                <a:gd name="T25" fmla="*/ 1578 h 3444"/>
                <a:gd name="T26" fmla="*/ 1414 w 3532"/>
                <a:gd name="T27" fmla="*/ 1610 h 3444"/>
                <a:gd name="T28" fmla="*/ 958 w 3532"/>
                <a:gd name="T29" fmla="*/ 2172 h 3444"/>
                <a:gd name="T30" fmla="*/ 893 w 3532"/>
                <a:gd name="T31" fmla="*/ 2208 h 3444"/>
                <a:gd name="T32" fmla="*/ 826 w 3532"/>
                <a:gd name="T33" fmla="*/ 2201 h 3444"/>
                <a:gd name="T34" fmla="*/ 45 w 3532"/>
                <a:gd name="T35" fmla="*/ 1796 h 3444"/>
                <a:gd name="T36" fmla="*/ 6 w 3532"/>
                <a:gd name="T37" fmla="*/ 1741 h 3444"/>
                <a:gd name="T38" fmla="*/ 4 w 3532"/>
                <a:gd name="T39" fmla="*/ 1664 h 3444"/>
                <a:gd name="T40" fmla="*/ 200 w 3532"/>
                <a:gd name="T41" fmla="*/ 976 h 3444"/>
                <a:gd name="T42" fmla="*/ 226 w 3532"/>
                <a:gd name="T43" fmla="*/ 959 h 3444"/>
                <a:gd name="T44" fmla="*/ 255 w 3532"/>
                <a:gd name="T45" fmla="*/ 963 h 3444"/>
                <a:gd name="T46" fmla="*/ 1491 w 3532"/>
                <a:gd name="T47" fmla="*/ 2055 h 3444"/>
                <a:gd name="T48" fmla="*/ 1521 w 3532"/>
                <a:gd name="T49" fmla="*/ 2057 h 3444"/>
                <a:gd name="T50" fmla="*/ 1546 w 3532"/>
                <a:gd name="T51" fmla="*/ 2077 h 3444"/>
                <a:gd name="T52" fmla="*/ 1940 w 3532"/>
                <a:gd name="T53" fmla="*/ 2711 h 3444"/>
                <a:gd name="T54" fmla="*/ 1933 w 3532"/>
                <a:gd name="T55" fmla="*/ 2779 h 3444"/>
                <a:gd name="T56" fmla="*/ 1315 w 3532"/>
                <a:gd name="T57" fmla="*/ 3402 h 3444"/>
                <a:gd name="T58" fmla="*/ 1256 w 3532"/>
                <a:gd name="T59" fmla="*/ 3439 h 3444"/>
                <a:gd name="T60" fmla="*/ 1187 w 3532"/>
                <a:gd name="T61" fmla="*/ 3439 h 3444"/>
                <a:gd name="T62" fmla="*/ 567 w 3532"/>
                <a:gd name="T63" fmla="*/ 3035 h 3444"/>
                <a:gd name="T64" fmla="*/ 549 w 3532"/>
                <a:gd name="T65" fmla="*/ 3009 h 3444"/>
                <a:gd name="T66" fmla="*/ 551 w 3532"/>
                <a:gd name="T67" fmla="*/ 2978 h 3444"/>
                <a:gd name="T68" fmla="*/ 1987 w 3532"/>
                <a:gd name="T69" fmla="*/ 2144 h 3444"/>
                <a:gd name="T70" fmla="*/ 1988 w 3532"/>
                <a:gd name="T71" fmla="*/ 2114 h 3444"/>
                <a:gd name="T72" fmla="*/ 2009 w 3532"/>
                <a:gd name="T73" fmla="*/ 2091 h 3444"/>
                <a:gd name="T74" fmla="*/ 2707 w 3532"/>
                <a:gd name="T75" fmla="*/ 1899 h 3444"/>
                <a:gd name="T76" fmla="*/ 2780 w 3532"/>
                <a:gd name="T77" fmla="*/ 1910 h 3444"/>
                <a:gd name="T78" fmla="*/ 2832 w 3532"/>
                <a:gd name="T79" fmla="*/ 1953 h 3444"/>
                <a:gd name="T80" fmla="*/ 3229 w 3532"/>
                <a:gd name="T81" fmla="*/ 2739 h 3444"/>
                <a:gd name="T82" fmla="*/ 3227 w 3532"/>
                <a:gd name="T83" fmla="*/ 2806 h 3444"/>
                <a:gd name="T84" fmla="*/ 3184 w 3532"/>
                <a:gd name="T85" fmla="*/ 2871 h 3444"/>
                <a:gd name="T86" fmla="*/ 2624 w 3532"/>
                <a:gd name="T87" fmla="*/ 3314 h 3444"/>
                <a:gd name="T88" fmla="*/ 2593 w 3532"/>
                <a:gd name="T89" fmla="*/ 3313 h 3444"/>
                <a:gd name="T90" fmla="*/ 2570 w 3532"/>
                <a:gd name="T91" fmla="*/ 3292 h 3444"/>
                <a:gd name="T92" fmla="*/ 2206 w 3532"/>
                <a:gd name="T93" fmla="*/ 1686 h 3444"/>
                <a:gd name="T94" fmla="*/ 2183 w 3532"/>
                <a:gd name="T95" fmla="*/ 1667 h 3444"/>
                <a:gd name="T96" fmla="*/ 2176 w 3532"/>
                <a:gd name="T97" fmla="*/ 1635 h 3444"/>
                <a:gd name="T98" fmla="*/ 2229 w 3532"/>
                <a:gd name="T99" fmla="*/ 892 h 3444"/>
                <a:gd name="T100" fmla="*/ 2275 w 3532"/>
                <a:gd name="T101" fmla="*/ 841 h 3444"/>
                <a:gd name="T102" fmla="*/ 3142 w 3532"/>
                <a:gd name="T103" fmla="*/ 700 h 3444"/>
                <a:gd name="T104" fmla="*/ 3211 w 3532"/>
                <a:gd name="T105" fmla="*/ 706 h 3444"/>
                <a:gd name="T106" fmla="*/ 3268 w 3532"/>
                <a:gd name="T107" fmla="*/ 746 h 3444"/>
                <a:gd name="T108" fmla="*/ 3530 w 3532"/>
                <a:gd name="T109" fmla="*/ 1438 h 3444"/>
                <a:gd name="T110" fmla="*/ 3529 w 3532"/>
                <a:gd name="T111" fmla="*/ 1469 h 3444"/>
                <a:gd name="T112" fmla="*/ 3510 w 3532"/>
                <a:gd name="T113" fmla="*/ 1493 h 3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32" h="3444">
                  <a:moveTo>
                    <a:pt x="2072" y="52"/>
                  </a:moveTo>
                  <a:lnTo>
                    <a:pt x="1861" y="1317"/>
                  </a:lnTo>
                  <a:lnTo>
                    <a:pt x="1860" y="1322"/>
                  </a:lnTo>
                  <a:lnTo>
                    <a:pt x="1858" y="1327"/>
                  </a:lnTo>
                  <a:lnTo>
                    <a:pt x="1856" y="1332"/>
                  </a:lnTo>
                  <a:lnTo>
                    <a:pt x="1853" y="1336"/>
                  </a:lnTo>
                  <a:lnTo>
                    <a:pt x="1849" y="1340"/>
                  </a:lnTo>
                  <a:lnTo>
                    <a:pt x="1846" y="1343"/>
                  </a:lnTo>
                  <a:lnTo>
                    <a:pt x="1842" y="1346"/>
                  </a:lnTo>
                  <a:lnTo>
                    <a:pt x="1837" y="1348"/>
                  </a:lnTo>
                  <a:lnTo>
                    <a:pt x="1833" y="1350"/>
                  </a:lnTo>
                  <a:lnTo>
                    <a:pt x="1828" y="1351"/>
                  </a:lnTo>
                  <a:lnTo>
                    <a:pt x="1822" y="1352"/>
                  </a:lnTo>
                  <a:lnTo>
                    <a:pt x="1817" y="1353"/>
                  </a:lnTo>
                  <a:lnTo>
                    <a:pt x="1811" y="1352"/>
                  </a:lnTo>
                  <a:lnTo>
                    <a:pt x="1806" y="1352"/>
                  </a:lnTo>
                  <a:lnTo>
                    <a:pt x="1801" y="1351"/>
                  </a:lnTo>
                  <a:lnTo>
                    <a:pt x="1795" y="1349"/>
                  </a:lnTo>
                  <a:lnTo>
                    <a:pt x="1163" y="1105"/>
                  </a:lnTo>
                  <a:lnTo>
                    <a:pt x="1149" y="1099"/>
                  </a:lnTo>
                  <a:lnTo>
                    <a:pt x="1136" y="1092"/>
                  </a:lnTo>
                  <a:lnTo>
                    <a:pt x="1125" y="1085"/>
                  </a:lnTo>
                  <a:lnTo>
                    <a:pt x="1114" y="1077"/>
                  </a:lnTo>
                  <a:lnTo>
                    <a:pt x="1104" y="1069"/>
                  </a:lnTo>
                  <a:lnTo>
                    <a:pt x="1096" y="1060"/>
                  </a:lnTo>
                  <a:lnTo>
                    <a:pt x="1089" y="1050"/>
                  </a:lnTo>
                  <a:lnTo>
                    <a:pt x="1083" y="1041"/>
                  </a:lnTo>
                  <a:lnTo>
                    <a:pt x="1078" y="1031"/>
                  </a:lnTo>
                  <a:lnTo>
                    <a:pt x="1074" y="1020"/>
                  </a:lnTo>
                  <a:lnTo>
                    <a:pt x="1071" y="1010"/>
                  </a:lnTo>
                  <a:lnTo>
                    <a:pt x="1068" y="999"/>
                  </a:lnTo>
                  <a:lnTo>
                    <a:pt x="1067" y="986"/>
                  </a:lnTo>
                  <a:lnTo>
                    <a:pt x="1067" y="975"/>
                  </a:lnTo>
                  <a:lnTo>
                    <a:pt x="1068" y="963"/>
                  </a:lnTo>
                  <a:lnTo>
                    <a:pt x="1069" y="951"/>
                  </a:lnTo>
                  <a:lnTo>
                    <a:pt x="1204" y="141"/>
                  </a:lnTo>
                  <a:lnTo>
                    <a:pt x="1206" y="130"/>
                  </a:lnTo>
                  <a:lnTo>
                    <a:pt x="1209" y="118"/>
                  </a:lnTo>
                  <a:lnTo>
                    <a:pt x="1213" y="107"/>
                  </a:lnTo>
                  <a:lnTo>
                    <a:pt x="1218" y="97"/>
                  </a:lnTo>
                  <a:lnTo>
                    <a:pt x="1224" y="86"/>
                  </a:lnTo>
                  <a:lnTo>
                    <a:pt x="1231" y="77"/>
                  </a:lnTo>
                  <a:lnTo>
                    <a:pt x="1238" y="69"/>
                  </a:lnTo>
                  <a:lnTo>
                    <a:pt x="1246" y="61"/>
                  </a:lnTo>
                  <a:lnTo>
                    <a:pt x="1255" y="54"/>
                  </a:lnTo>
                  <a:lnTo>
                    <a:pt x="1265" y="47"/>
                  </a:lnTo>
                  <a:lnTo>
                    <a:pt x="1275" y="42"/>
                  </a:lnTo>
                  <a:lnTo>
                    <a:pt x="1287" y="37"/>
                  </a:lnTo>
                  <a:lnTo>
                    <a:pt x="1300" y="33"/>
                  </a:lnTo>
                  <a:lnTo>
                    <a:pt x="1313" y="29"/>
                  </a:lnTo>
                  <a:lnTo>
                    <a:pt x="1327" y="27"/>
                  </a:lnTo>
                  <a:lnTo>
                    <a:pt x="1342" y="26"/>
                  </a:lnTo>
                  <a:lnTo>
                    <a:pt x="2020" y="0"/>
                  </a:lnTo>
                  <a:lnTo>
                    <a:pt x="2026" y="0"/>
                  </a:lnTo>
                  <a:lnTo>
                    <a:pt x="2031" y="1"/>
                  </a:lnTo>
                  <a:lnTo>
                    <a:pt x="2036" y="2"/>
                  </a:lnTo>
                  <a:lnTo>
                    <a:pt x="2042" y="3"/>
                  </a:lnTo>
                  <a:lnTo>
                    <a:pt x="2046" y="5"/>
                  </a:lnTo>
                  <a:lnTo>
                    <a:pt x="2051" y="8"/>
                  </a:lnTo>
                  <a:lnTo>
                    <a:pt x="2055" y="11"/>
                  </a:lnTo>
                  <a:lnTo>
                    <a:pt x="2059" y="14"/>
                  </a:lnTo>
                  <a:lnTo>
                    <a:pt x="2062" y="18"/>
                  </a:lnTo>
                  <a:lnTo>
                    <a:pt x="2066" y="22"/>
                  </a:lnTo>
                  <a:lnTo>
                    <a:pt x="2068" y="26"/>
                  </a:lnTo>
                  <a:lnTo>
                    <a:pt x="2070" y="32"/>
                  </a:lnTo>
                  <a:lnTo>
                    <a:pt x="2072" y="37"/>
                  </a:lnTo>
                  <a:lnTo>
                    <a:pt x="2072" y="42"/>
                  </a:lnTo>
                  <a:lnTo>
                    <a:pt x="2073" y="47"/>
                  </a:lnTo>
                  <a:lnTo>
                    <a:pt x="2072" y="52"/>
                  </a:lnTo>
                  <a:close/>
                  <a:moveTo>
                    <a:pt x="255" y="963"/>
                  </a:moveTo>
                  <a:lnTo>
                    <a:pt x="1394" y="1551"/>
                  </a:lnTo>
                  <a:lnTo>
                    <a:pt x="1399" y="1554"/>
                  </a:lnTo>
                  <a:lnTo>
                    <a:pt x="1403" y="1557"/>
                  </a:lnTo>
                  <a:lnTo>
                    <a:pt x="1408" y="1561"/>
                  </a:lnTo>
                  <a:lnTo>
                    <a:pt x="1411" y="1565"/>
                  </a:lnTo>
                  <a:lnTo>
                    <a:pt x="1413" y="1569"/>
                  </a:lnTo>
                  <a:lnTo>
                    <a:pt x="1415" y="1574"/>
                  </a:lnTo>
                  <a:lnTo>
                    <a:pt x="1417" y="1578"/>
                  </a:lnTo>
                  <a:lnTo>
                    <a:pt x="1418" y="1583"/>
                  </a:lnTo>
                  <a:lnTo>
                    <a:pt x="1418" y="1588"/>
                  </a:lnTo>
                  <a:lnTo>
                    <a:pt x="1418" y="1593"/>
                  </a:lnTo>
                  <a:lnTo>
                    <a:pt x="1417" y="1599"/>
                  </a:lnTo>
                  <a:lnTo>
                    <a:pt x="1416" y="1605"/>
                  </a:lnTo>
                  <a:lnTo>
                    <a:pt x="1414" y="1610"/>
                  </a:lnTo>
                  <a:lnTo>
                    <a:pt x="1412" y="1614"/>
                  </a:lnTo>
                  <a:lnTo>
                    <a:pt x="1409" y="1619"/>
                  </a:lnTo>
                  <a:lnTo>
                    <a:pt x="1405" y="1624"/>
                  </a:lnTo>
                  <a:lnTo>
                    <a:pt x="978" y="2151"/>
                  </a:lnTo>
                  <a:lnTo>
                    <a:pt x="969" y="2162"/>
                  </a:lnTo>
                  <a:lnTo>
                    <a:pt x="958" y="2172"/>
                  </a:lnTo>
                  <a:lnTo>
                    <a:pt x="948" y="2181"/>
                  </a:lnTo>
                  <a:lnTo>
                    <a:pt x="938" y="2188"/>
                  </a:lnTo>
                  <a:lnTo>
                    <a:pt x="926" y="2195"/>
                  </a:lnTo>
                  <a:lnTo>
                    <a:pt x="915" y="2200"/>
                  </a:lnTo>
                  <a:lnTo>
                    <a:pt x="904" y="2204"/>
                  </a:lnTo>
                  <a:lnTo>
                    <a:pt x="893" y="2208"/>
                  </a:lnTo>
                  <a:lnTo>
                    <a:pt x="882" y="2209"/>
                  </a:lnTo>
                  <a:lnTo>
                    <a:pt x="871" y="2210"/>
                  </a:lnTo>
                  <a:lnTo>
                    <a:pt x="859" y="2209"/>
                  </a:lnTo>
                  <a:lnTo>
                    <a:pt x="848" y="2208"/>
                  </a:lnTo>
                  <a:lnTo>
                    <a:pt x="837" y="2206"/>
                  </a:lnTo>
                  <a:lnTo>
                    <a:pt x="826" y="2201"/>
                  </a:lnTo>
                  <a:lnTo>
                    <a:pt x="815" y="2197"/>
                  </a:lnTo>
                  <a:lnTo>
                    <a:pt x="803" y="2192"/>
                  </a:lnTo>
                  <a:lnTo>
                    <a:pt x="74" y="1816"/>
                  </a:lnTo>
                  <a:lnTo>
                    <a:pt x="64" y="1810"/>
                  </a:lnTo>
                  <a:lnTo>
                    <a:pt x="54" y="1803"/>
                  </a:lnTo>
                  <a:lnTo>
                    <a:pt x="45" y="1796"/>
                  </a:lnTo>
                  <a:lnTo>
                    <a:pt x="37" y="1789"/>
                  </a:lnTo>
                  <a:lnTo>
                    <a:pt x="28" y="1779"/>
                  </a:lnTo>
                  <a:lnTo>
                    <a:pt x="21" y="1771"/>
                  </a:lnTo>
                  <a:lnTo>
                    <a:pt x="15" y="1761"/>
                  </a:lnTo>
                  <a:lnTo>
                    <a:pt x="10" y="1751"/>
                  </a:lnTo>
                  <a:lnTo>
                    <a:pt x="6" y="1741"/>
                  </a:lnTo>
                  <a:lnTo>
                    <a:pt x="3" y="1729"/>
                  </a:lnTo>
                  <a:lnTo>
                    <a:pt x="1" y="1717"/>
                  </a:lnTo>
                  <a:lnTo>
                    <a:pt x="0" y="1704"/>
                  </a:lnTo>
                  <a:lnTo>
                    <a:pt x="0" y="1691"/>
                  </a:lnTo>
                  <a:lnTo>
                    <a:pt x="1" y="1678"/>
                  </a:lnTo>
                  <a:lnTo>
                    <a:pt x="4" y="1664"/>
                  </a:lnTo>
                  <a:lnTo>
                    <a:pt x="7" y="1648"/>
                  </a:lnTo>
                  <a:lnTo>
                    <a:pt x="190" y="995"/>
                  </a:lnTo>
                  <a:lnTo>
                    <a:pt x="192" y="990"/>
                  </a:lnTo>
                  <a:lnTo>
                    <a:pt x="194" y="985"/>
                  </a:lnTo>
                  <a:lnTo>
                    <a:pt x="197" y="980"/>
                  </a:lnTo>
                  <a:lnTo>
                    <a:pt x="200" y="976"/>
                  </a:lnTo>
                  <a:lnTo>
                    <a:pt x="203" y="972"/>
                  </a:lnTo>
                  <a:lnTo>
                    <a:pt x="207" y="969"/>
                  </a:lnTo>
                  <a:lnTo>
                    <a:pt x="212" y="965"/>
                  </a:lnTo>
                  <a:lnTo>
                    <a:pt x="216" y="963"/>
                  </a:lnTo>
                  <a:lnTo>
                    <a:pt x="221" y="961"/>
                  </a:lnTo>
                  <a:lnTo>
                    <a:pt x="226" y="959"/>
                  </a:lnTo>
                  <a:lnTo>
                    <a:pt x="230" y="958"/>
                  </a:lnTo>
                  <a:lnTo>
                    <a:pt x="235" y="958"/>
                  </a:lnTo>
                  <a:lnTo>
                    <a:pt x="240" y="958"/>
                  </a:lnTo>
                  <a:lnTo>
                    <a:pt x="245" y="959"/>
                  </a:lnTo>
                  <a:lnTo>
                    <a:pt x="250" y="960"/>
                  </a:lnTo>
                  <a:lnTo>
                    <a:pt x="255" y="963"/>
                  </a:lnTo>
                  <a:close/>
                  <a:moveTo>
                    <a:pt x="560" y="2966"/>
                  </a:moveTo>
                  <a:lnTo>
                    <a:pt x="1474" y="2066"/>
                  </a:lnTo>
                  <a:lnTo>
                    <a:pt x="1478" y="2062"/>
                  </a:lnTo>
                  <a:lnTo>
                    <a:pt x="1482" y="2059"/>
                  </a:lnTo>
                  <a:lnTo>
                    <a:pt x="1487" y="2057"/>
                  </a:lnTo>
                  <a:lnTo>
                    <a:pt x="1491" y="2055"/>
                  </a:lnTo>
                  <a:lnTo>
                    <a:pt x="1496" y="2054"/>
                  </a:lnTo>
                  <a:lnTo>
                    <a:pt x="1501" y="2053"/>
                  </a:lnTo>
                  <a:lnTo>
                    <a:pt x="1506" y="2054"/>
                  </a:lnTo>
                  <a:lnTo>
                    <a:pt x="1511" y="2054"/>
                  </a:lnTo>
                  <a:lnTo>
                    <a:pt x="1516" y="2055"/>
                  </a:lnTo>
                  <a:lnTo>
                    <a:pt x="1521" y="2057"/>
                  </a:lnTo>
                  <a:lnTo>
                    <a:pt x="1526" y="2059"/>
                  </a:lnTo>
                  <a:lnTo>
                    <a:pt x="1531" y="2062"/>
                  </a:lnTo>
                  <a:lnTo>
                    <a:pt x="1535" y="2065"/>
                  </a:lnTo>
                  <a:lnTo>
                    <a:pt x="1539" y="2069"/>
                  </a:lnTo>
                  <a:lnTo>
                    <a:pt x="1543" y="2073"/>
                  </a:lnTo>
                  <a:lnTo>
                    <a:pt x="1546" y="2077"/>
                  </a:lnTo>
                  <a:lnTo>
                    <a:pt x="1914" y="2647"/>
                  </a:lnTo>
                  <a:lnTo>
                    <a:pt x="1922" y="2660"/>
                  </a:lnTo>
                  <a:lnTo>
                    <a:pt x="1928" y="2673"/>
                  </a:lnTo>
                  <a:lnTo>
                    <a:pt x="1933" y="2685"/>
                  </a:lnTo>
                  <a:lnTo>
                    <a:pt x="1937" y="2699"/>
                  </a:lnTo>
                  <a:lnTo>
                    <a:pt x="1940" y="2711"/>
                  </a:lnTo>
                  <a:lnTo>
                    <a:pt x="1941" y="2723"/>
                  </a:lnTo>
                  <a:lnTo>
                    <a:pt x="1942" y="2734"/>
                  </a:lnTo>
                  <a:lnTo>
                    <a:pt x="1941" y="2745"/>
                  </a:lnTo>
                  <a:lnTo>
                    <a:pt x="1939" y="2758"/>
                  </a:lnTo>
                  <a:lnTo>
                    <a:pt x="1936" y="2768"/>
                  </a:lnTo>
                  <a:lnTo>
                    <a:pt x="1933" y="2779"/>
                  </a:lnTo>
                  <a:lnTo>
                    <a:pt x="1928" y="2789"/>
                  </a:lnTo>
                  <a:lnTo>
                    <a:pt x="1922" y="2799"/>
                  </a:lnTo>
                  <a:lnTo>
                    <a:pt x="1915" y="2808"/>
                  </a:lnTo>
                  <a:lnTo>
                    <a:pt x="1908" y="2818"/>
                  </a:lnTo>
                  <a:lnTo>
                    <a:pt x="1900" y="2827"/>
                  </a:lnTo>
                  <a:lnTo>
                    <a:pt x="1315" y="3402"/>
                  </a:lnTo>
                  <a:lnTo>
                    <a:pt x="1307" y="3410"/>
                  </a:lnTo>
                  <a:lnTo>
                    <a:pt x="1297" y="3419"/>
                  </a:lnTo>
                  <a:lnTo>
                    <a:pt x="1288" y="3425"/>
                  </a:lnTo>
                  <a:lnTo>
                    <a:pt x="1277" y="3431"/>
                  </a:lnTo>
                  <a:lnTo>
                    <a:pt x="1267" y="3435"/>
                  </a:lnTo>
                  <a:lnTo>
                    <a:pt x="1256" y="3439"/>
                  </a:lnTo>
                  <a:lnTo>
                    <a:pt x="1245" y="3442"/>
                  </a:lnTo>
                  <a:lnTo>
                    <a:pt x="1234" y="3443"/>
                  </a:lnTo>
                  <a:lnTo>
                    <a:pt x="1222" y="3444"/>
                  </a:lnTo>
                  <a:lnTo>
                    <a:pt x="1211" y="3443"/>
                  </a:lnTo>
                  <a:lnTo>
                    <a:pt x="1199" y="3442"/>
                  </a:lnTo>
                  <a:lnTo>
                    <a:pt x="1187" y="3439"/>
                  </a:lnTo>
                  <a:lnTo>
                    <a:pt x="1174" y="3435"/>
                  </a:lnTo>
                  <a:lnTo>
                    <a:pt x="1161" y="3430"/>
                  </a:lnTo>
                  <a:lnTo>
                    <a:pt x="1148" y="3423"/>
                  </a:lnTo>
                  <a:lnTo>
                    <a:pt x="1136" y="3415"/>
                  </a:lnTo>
                  <a:lnTo>
                    <a:pt x="572" y="3038"/>
                  </a:lnTo>
                  <a:lnTo>
                    <a:pt x="567" y="3035"/>
                  </a:lnTo>
                  <a:lnTo>
                    <a:pt x="563" y="3031"/>
                  </a:lnTo>
                  <a:lnTo>
                    <a:pt x="559" y="3027"/>
                  </a:lnTo>
                  <a:lnTo>
                    <a:pt x="556" y="3023"/>
                  </a:lnTo>
                  <a:lnTo>
                    <a:pt x="553" y="3018"/>
                  </a:lnTo>
                  <a:lnTo>
                    <a:pt x="551" y="3014"/>
                  </a:lnTo>
                  <a:lnTo>
                    <a:pt x="549" y="3009"/>
                  </a:lnTo>
                  <a:lnTo>
                    <a:pt x="548" y="3004"/>
                  </a:lnTo>
                  <a:lnTo>
                    <a:pt x="548" y="2999"/>
                  </a:lnTo>
                  <a:lnTo>
                    <a:pt x="548" y="2994"/>
                  </a:lnTo>
                  <a:lnTo>
                    <a:pt x="548" y="2988"/>
                  </a:lnTo>
                  <a:lnTo>
                    <a:pt x="549" y="2983"/>
                  </a:lnTo>
                  <a:lnTo>
                    <a:pt x="551" y="2978"/>
                  </a:lnTo>
                  <a:lnTo>
                    <a:pt x="553" y="2974"/>
                  </a:lnTo>
                  <a:lnTo>
                    <a:pt x="556" y="2970"/>
                  </a:lnTo>
                  <a:lnTo>
                    <a:pt x="560" y="2966"/>
                  </a:lnTo>
                  <a:close/>
                  <a:moveTo>
                    <a:pt x="2570" y="3292"/>
                  </a:moveTo>
                  <a:lnTo>
                    <a:pt x="1990" y="2150"/>
                  </a:lnTo>
                  <a:lnTo>
                    <a:pt x="1987" y="2144"/>
                  </a:lnTo>
                  <a:lnTo>
                    <a:pt x="1986" y="2139"/>
                  </a:lnTo>
                  <a:lnTo>
                    <a:pt x="1985" y="2134"/>
                  </a:lnTo>
                  <a:lnTo>
                    <a:pt x="1985" y="2128"/>
                  </a:lnTo>
                  <a:lnTo>
                    <a:pt x="1986" y="2124"/>
                  </a:lnTo>
                  <a:lnTo>
                    <a:pt x="1987" y="2119"/>
                  </a:lnTo>
                  <a:lnTo>
                    <a:pt x="1988" y="2114"/>
                  </a:lnTo>
                  <a:lnTo>
                    <a:pt x="1990" y="2110"/>
                  </a:lnTo>
                  <a:lnTo>
                    <a:pt x="1993" y="2105"/>
                  </a:lnTo>
                  <a:lnTo>
                    <a:pt x="1996" y="2101"/>
                  </a:lnTo>
                  <a:lnTo>
                    <a:pt x="2000" y="2098"/>
                  </a:lnTo>
                  <a:lnTo>
                    <a:pt x="2003" y="2094"/>
                  </a:lnTo>
                  <a:lnTo>
                    <a:pt x="2009" y="2091"/>
                  </a:lnTo>
                  <a:lnTo>
                    <a:pt x="2013" y="2088"/>
                  </a:lnTo>
                  <a:lnTo>
                    <a:pt x="2018" y="2086"/>
                  </a:lnTo>
                  <a:lnTo>
                    <a:pt x="2024" y="2084"/>
                  </a:lnTo>
                  <a:lnTo>
                    <a:pt x="2678" y="1906"/>
                  </a:lnTo>
                  <a:lnTo>
                    <a:pt x="2693" y="1902"/>
                  </a:lnTo>
                  <a:lnTo>
                    <a:pt x="2707" y="1899"/>
                  </a:lnTo>
                  <a:lnTo>
                    <a:pt x="2720" y="1898"/>
                  </a:lnTo>
                  <a:lnTo>
                    <a:pt x="2734" y="1898"/>
                  </a:lnTo>
                  <a:lnTo>
                    <a:pt x="2746" y="1900"/>
                  </a:lnTo>
                  <a:lnTo>
                    <a:pt x="2758" y="1902"/>
                  </a:lnTo>
                  <a:lnTo>
                    <a:pt x="2769" y="1906"/>
                  </a:lnTo>
                  <a:lnTo>
                    <a:pt x="2780" y="1910"/>
                  </a:lnTo>
                  <a:lnTo>
                    <a:pt x="2791" y="1915"/>
                  </a:lnTo>
                  <a:lnTo>
                    <a:pt x="2800" y="1921"/>
                  </a:lnTo>
                  <a:lnTo>
                    <a:pt x="2809" y="1928"/>
                  </a:lnTo>
                  <a:lnTo>
                    <a:pt x="2817" y="1936"/>
                  </a:lnTo>
                  <a:lnTo>
                    <a:pt x="2825" y="1944"/>
                  </a:lnTo>
                  <a:lnTo>
                    <a:pt x="2832" y="1953"/>
                  </a:lnTo>
                  <a:lnTo>
                    <a:pt x="2838" y="1963"/>
                  </a:lnTo>
                  <a:lnTo>
                    <a:pt x="2845" y="1974"/>
                  </a:lnTo>
                  <a:lnTo>
                    <a:pt x="3216" y="2706"/>
                  </a:lnTo>
                  <a:lnTo>
                    <a:pt x="3221" y="2717"/>
                  </a:lnTo>
                  <a:lnTo>
                    <a:pt x="3225" y="2727"/>
                  </a:lnTo>
                  <a:lnTo>
                    <a:pt x="3229" y="2739"/>
                  </a:lnTo>
                  <a:lnTo>
                    <a:pt x="3231" y="2751"/>
                  </a:lnTo>
                  <a:lnTo>
                    <a:pt x="3232" y="2762"/>
                  </a:lnTo>
                  <a:lnTo>
                    <a:pt x="3233" y="2773"/>
                  </a:lnTo>
                  <a:lnTo>
                    <a:pt x="3232" y="2784"/>
                  </a:lnTo>
                  <a:lnTo>
                    <a:pt x="3230" y="2795"/>
                  </a:lnTo>
                  <a:lnTo>
                    <a:pt x="3227" y="2806"/>
                  </a:lnTo>
                  <a:lnTo>
                    <a:pt x="3223" y="2818"/>
                  </a:lnTo>
                  <a:lnTo>
                    <a:pt x="3218" y="2829"/>
                  </a:lnTo>
                  <a:lnTo>
                    <a:pt x="3212" y="2839"/>
                  </a:lnTo>
                  <a:lnTo>
                    <a:pt x="3204" y="2850"/>
                  </a:lnTo>
                  <a:lnTo>
                    <a:pt x="3194" y="2860"/>
                  </a:lnTo>
                  <a:lnTo>
                    <a:pt x="3184" y="2871"/>
                  </a:lnTo>
                  <a:lnTo>
                    <a:pt x="3173" y="2881"/>
                  </a:lnTo>
                  <a:lnTo>
                    <a:pt x="2643" y="3304"/>
                  </a:lnTo>
                  <a:lnTo>
                    <a:pt x="2638" y="3307"/>
                  </a:lnTo>
                  <a:lnTo>
                    <a:pt x="2633" y="3310"/>
                  </a:lnTo>
                  <a:lnTo>
                    <a:pt x="2629" y="3312"/>
                  </a:lnTo>
                  <a:lnTo>
                    <a:pt x="2624" y="3314"/>
                  </a:lnTo>
                  <a:lnTo>
                    <a:pt x="2619" y="3315"/>
                  </a:lnTo>
                  <a:lnTo>
                    <a:pt x="2613" y="3316"/>
                  </a:lnTo>
                  <a:lnTo>
                    <a:pt x="2608" y="3316"/>
                  </a:lnTo>
                  <a:lnTo>
                    <a:pt x="2603" y="3315"/>
                  </a:lnTo>
                  <a:lnTo>
                    <a:pt x="2598" y="3314"/>
                  </a:lnTo>
                  <a:lnTo>
                    <a:pt x="2593" y="3313"/>
                  </a:lnTo>
                  <a:lnTo>
                    <a:pt x="2588" y="3311"/>
                  </a:lnTo>
                  <a:lnTo>
                    <a:pt x="2584" y="3308"/>
                  </a:lnTo>
                  <a:lnTo>
                    <a:pt x="2580" y="3305"/>
                  </a:lnTo>
                  <a:lnTo>
                    <a:pt x="2576" y="3302"/>
                  </a:lnTo>
                  <a:lnTo>
                    <a:pt x="2573" y="3297"/>
                  </a:lnTo>
                  <a:lnTo>
                    <a:pt x="2570" y="3292"/>
                  </a:lnTo>
                  <a:close/>
                  <a:moveTo>
                    <a:pt x="3494" y="1498"/>
                  </a:moveTo>
                  <a:lnTo>
                    <a:pt x="2227" y="1688"/>
                  </a:lnTo>
                  <a:lnTo>
                    <a:pt x="2222" y="1688"/>
                  </a:lnTo>
                  <a:lnTo>
                    <a:pt x="2216" y="1688"/>
                  </a:lnTo>
                  <a:lnTo>
                    <a:pt x="2211" y="1687"/>
                  </a:lnTo>
                  <a:lnTo>
                    <a:pt x="2206" y="1686"/>
                  </a:lnTo>
                  <a:lnTo>
                    <a:pt x="2202" y="1684"/>
                  </a:lnTo>
                  <a:lnTo>
                    <a:pt x="2198" y="1681"/>
                  </a:lnTo>
                  <a:lnTo>
                    <a:pt x="2194" y="1678"/>
                  </a:lnTo>
                  <a:lnTo>
                    <a:pt x="2190" y="1675"/>
                  </a:lnTo>
                  <a:lnTo>
                    <a:pt x="2187" y="1671"/>
                  </a:lnTo>
                  <a:lnTo>
                    <a:pt x="2183" y="1667"/>
                  </a:lnTo>
                  <a:lnTo>
                    <a:pt x="2181" y="1661"/>
                  </a:lnTo>
                  <a:lnTo>
                    <a:pt x="2179" y="1657"/>
                  </a:lnTo>
                  <a:lnTo>
                    <a:pt x="2177" y="1652"/>
                  </a:lnTo>
                  <a:lnTo>
                    <a:pt x="2176" y="1646"/>
                  </a:lnTo>
                  <a:lnTo>
                    <a:pt x="2176" y="1641"/>
                  </a:lnTo>
                  <a:lnTo>
                    <a:pt x="2176" y="1635"/>
                  </a:lnTo>
                  <a:lnTo>
                    <a:pt x="2213" y="959"/>
                  </a:lnTo>
                  <a:lnTo>
                    <a:pt x="2214" y="944"/>
                  </a:lnTo>
                  <a:lnTo>
                    <a:pt x="2217" y="929"/>
                  </a:lnTo>
                  <a:lnTo>
                    <a:pt x="2220" y="915"/>
                  </a:lnTo>
                  <a:lnTo>
                    <a:pt x="2224" y="903"/>
                  </a:lnTo>
                  <a:lnTo>
                    <a:pt x="2229" y="892"/>
                  </a:lnTo>
                  <a:lnTo>
                    <a:pt x="2235" y="881"/>
                  </a:lnTo>
                  <a:lnTo>
                    <a:pt x="2241" y="871"/>
                  </a:lnTo>
                  <a:lnTo>
                    <a:pt x="2250" y="862"/>
                  </a:lnTo>
                  <a:lnTo>
                    <a:pt x="2257" y="854"/>
                  </a:lnTo>
                  <a:lnTo>
                    <a:pt x="2266" y="847"/>
                  </a:lnTo>
                  <a:lnTo>
                    <a:pt x="2275" y="841"/>
                  </a:lnTo>
                  <a:lnTo>
                    <a:pt x="2285" y="836"/>
                  </a:lnTo>
                  <a:lnTo>
                    <a:pt x="2296" y="831"/>
                  </a:lnTo>
                  <a:lnTo>
                    <a:pt x="2307" y="827"/>
                  </a:lnTo>
                  <a:lnTo>
                    <a:pt x="2319" y="824"/>
                  </a:lnTo>
                  <a:lnTo>
                    <a:pt x="2331" y="822"/>
                  </a:lnTo>
                  <a:lnTo>
                    <a:pt x="3142" y="700"/>
                  </a:lnTo>
                  <a:lnTo>
                    <a:pt x="3154" y="699"/>
                  </a:lnTo>
                  <a:lnTo>
                    <a:pt x="3166" y="699"/>
                  </a:lnTo>
                  <a:lnTo>
                    <a:pt x="3177" y="699"/>
                  </a:lnTo>
                  <a:lnTo>
                    <a:pt x="3189" y="700"/>
                  </a:lnTo>
                  <a:lnTo>
                    <a:pt x="3200" y="702"/>
                  </a:lnTo>
                  <a:lnTo>
                    <a:pt x="3211" y="706"/>
                  </a:lnTo>
                  <a:lnTo>
                    <a:pt x="3222" y="710"/>
                  </a:lnTo>
                  <a:lnTo>
                    <a:pt x="3232" y="715"/>
                  </a:lnTo>
                  <a:lnTo>
                    <a:pt x="3241" y="721"/>
                  </a:lnTo>
                  <a:lnTo>
                    <a:pt x="3250" y="728"/>
                  </a:lnTo>
                  <a:lnTo>
                    <a:pt x="3259" y="737"/>
                  </a:lnTo>
                  <a:lnTo>
                    <a:pt x="3268" y="746"/>
                  </a:lnTo>
                  <a:lnTo>
                    <a:pt x="3275" y="758"/>
                  </a:lnTo>
                  <a:lnTo>
                    <a:pt x="3282" y="769"/>
                  </a:lnTo>
                  <a:lnTo>
                    <a:pt x="3289" y="782"/>
                  </a:lnTo>
                  <a:lnTo>
                    <a:pt x="3294" y="796"/>
                  </a:lnTo>
                  <a:lnTo>
                    <a:pt x="3529" y="1433"/>
                  </a:lnTo>
                  <a:lnTo>
                    <a:pt x="3530" y="1438"/>
                  </a:lnTo>
                  <a:lnTo>
                    <a:pt x="3531" y="1443"/>
                  </a:lnTo>
                  <a:lnTo>
                    <a:pt x="3532" y="1449"/>
                  </a:lnTo>
                  <a:lnTo>
                    <a:pt x="3532" y="1454"/>
                  </a:lnTo>
                  <a:lnTo>
                    <a:pt x="3531" y="1459"/>
                  </a:lnTo>
                  <a:lnTo>
                    <a:pt x="3530" y="1464"/>
                  </a:lnTo>
                  <a:lnTo>
                    <a:pt x="3529" y="1469"/>
                  </a:lnTo>
                  <a:lnTo>
                    <a:pt x="3527" y="1474"/>
                  </a:lnTo>
                  <a:lnTo>
                    <a:pt x="3525" y="1478"/>
                  </a:lnTo>
                  <a:lnTo>
                    <a:pt x="3522" y="1483"/>
                  </a:lnTo>
                  <a:lnTo>
                    <a:pt x="3518" y="1487"/>
                  </a:lnTo>
                  <a:lnTo>
                    <a:pt x="3515" y="1490"/>
                  </a:lnTo>
                  <a:lnTo>
                    <a:pt x="3510" y="1493"/>
                  </a:lnTo>
                  <a:lnTo>
                    <a:pt x="3506" y="1495"/>
                  </a:lnTo>
                  <a:lnTo>
                    <a:pt x="3501" y="1497"/>
                  </a:lnTo>
                  <a:lnTo>
                    <a:pt x="3494" y="1498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089792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Вертикальный заголовок и текст">
    <p:bg>
      <p:bgPr>
        <a:solidFill>
          <a:srgbClr val="53575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3"/>
          <p:cNvSpPr>
            <a:spLocks noChangeAspect="1" noChangeArrowheads="1" noTextEdit="1"/>
          </p:cNvSpPr>
          <p:nvPr userDrawn="1"/>
        </p:nvSpPr>
        <p:spPr bwMode="auto">
          <a:xfrm>
            <a:off x="15" y="393700"/>
            <a:ext cx="9906000" cy="646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Freeform 6"/>
          <p:cNvSpPr>
            <a:spLocks/>
          </p:cNvSpPr>
          <p:nvPr userDrawn="1"/>
        </p:nvSpPr>
        <p:spPr bwMode="auto">
          <a:xfrm>
            <a:off x="6719242" y="2214742"/>
            <a:ext cx="990600" cy="2163763"/>
          </a:xfrm>
          <a:custGeom>
            <a:avLst/>
            <a:gdLst>
              <a:gd name="T0" fmla="*/ 1727 w 1727"/>
              <a:gd name="T1" fmla="*/ 4091 h 4091"/>
              <a:gd name="T2" fmla="*/ 356 w 1727"/>
              <a:gd name="T3" fmla="*/ 3560 h 4091"/>
              <a:gd name="T4" fmla="*/ 329 w 1727"/>
              <a:gd name="T5" fmla="*/ 3550 h 4091"/>
              <a:gd name="T6" fmla="*/ 304 w 1727"/>
              <a:gd name="T7" fmla="*/ 3538 h 4091"/>
              <a:gd name="T8" fmla="*/ 279 w 1727"/>
              <a:gd name="T9" fmla="*/ 3526 h 4091"/>
              <a:gd name="T10" fmla="*/ 256 w 1727"/>
              <a:gd name="T11" fmla="*/ 3514 h 4091"/>
              <a:gd name="T12" fmla="*/ 234 w 1727"/>
              <a:gd name="T13" fmla="*/ 3501 h 4091"/>
              <a:gd name="T14" fmla="*/ 213 w 1727"/>
              <a:gd name="T15" fmla="*/ 3487 h 4091"/>
              <a:gd name="T16" fmla="*/ 193 w 1727"/>
              <a:gd name="T17" fmla="*/ 3473 h 4091"/>
              <a:gd name="T18" fmla="*/ 174 w 1727"/>
              <a:gd name="T19" fmla="*/ 3458 h 4091"/>
              <a:gd name="T20" fmla="*/ 156 w 1727"/>
              <a:gd name="T21" fmla="*/ 3443 h 4091"/>
              <a:gd name="T22" fmla="*/ 140 w 1727"/>
              <a:gd name="T23" fmla="*/ 3428 h 4091"/>
              <a:gd name="T24" fmla="*/ 123 w 1727"/>
              <a:gd name="T25" fmla="*/ 3411 h 4091"/>
              <a:gd name="T26" fmla="*/ 108 w 1727"/>
              <a:gd name="T27" fmla="*/ 3394 h 4091"/>
              <a:gd name="T28" fmla="*/ 94 w 1727"/>
              <a:gd name="T29" fmla="*/ 3378 h 4091"/>
              <a:gd name="T30" fmla="*/ 81 w 1727"/>
              <a:gd name="T31" fmla="*/ 3360 h 4091"/>
              <a:gd name="T32" fmla="*/ 69 w 1727"/>
              <a:gd name="T33" fmla="*/ 3342 h 4091"/>
              <a:gd name="T34" fmla="*/ 59 w 1727"/>
              <a:gd name="T35" fmla="*/ 3324 h 4091"/>
              <a:gd name="T36" fmla="*/ 49 w 1727"/>
              <a:gd name="T37" fmla="*/ 3306 h 4091"/>
              <a:gd name="T38" fmla="*/ 40 w 1727"/>
              <a:gd name="T39" fmla="*/ 3286 h 4091"/>
              <a:gd name="T40" fmla="*/ 32 w 1727"/>
              <a:gd name="T41" fmla="*/ 3267 h 4091"/>
              <a:gd name="T42" fmla="*/ 25 w 1727"/>
              <a:gd name="T43" fmla="*/ 3247 h 4091"/>
              <a:gd name="T44" fmla="*/ 19 w 1727"/>
              <a:gd name="T45" fmla="*/ 3227 h 4091"/>
              <a:gd name="T46" fmla="*/ 13 w 1727"/>
              <a:gd name="T47" fmla="*/ 3207 h 4091"/>
              <a:gd name="T48" fmla="*/ 9 w 1727"/>
              <a:gd name="T49" fmla="*/ 3187 h 4091"/>
              <a:gd name="T50" fmla="*/ 6 w 1727"/>
              <a:gd name="T51" fmla="*/ 3165 h 4091"/>
              <a:gd name="T52" fmla="*/ 4 w 1727"/>
              <a:gd name="T53" fmla="*/ 3145 h 4091"/>
              <a:gd name="T54" fmla="*/ 1 w 1727"/>
              <a:gd name="T55" fmla="*/ 3123 h 4091"/>
              <a:gd name="T56" fmla="*/ 0 w 1727"/>
              <a:gd name="T57" fmla="*/ 3102 h 4091"/>
              <a:gd name="T58" fmla="*/ 0 w 1727"/>
              <a:gd name="T59" fmla="*/ 3080 h 4091"/>
              <a:gd name="T60" fmla="*/ 1 w 1727"/>
              <a:gd name="T61" fmla="*/ 3058 h 4091"/>
              <a:gd name="T62" fmla="*/ 4 w 1727"/>
              <a:gd name="T63" fmla="*/ 3036 h 4091"/>
              <a:gd name="T64" fmla="*/ 6 w 1727"/>
              <a:gd name="T65" fmla="*/ 3014 h 4091"/>
              <a:gd name="T66" fmla="*/ 9 w 1727"/>
              <a:gd name="T67" fmla="*/ 2991 h 4091"/>
              <a:gd name="T68" fmla="*/ 508 w 1727"/>
              <a:gd name="T69" fmla="*/ 0 h 4091"/>
              <a:gd name="T70" fmla="*/ 482 w 1727"/>
              <a:gd name="T71" fmla="*/ 2806 h 4091"/>
              <a:gd name="T72" fmla="*/ 483 w 1727"/>
              <a:gd name="T73" fmla="*/ 2832 h 4091"/>
              <a:gd name="T74" fmla="*/ 484 w 1727"/>
              <a:gd name="T75" fmla="*/ 2859 h 4091"/>
              <a:gd name="T76" fmla="*/ 487 w 1727"/>
              <a:gd name="T77" fmla="*/ 2885 h 4091"/>
              <a:gd name="T78" fmla="*/ 492 w 1727"/>
              <a:gd name="T79" fmla="*/ 2910 h 4091"/>
              <a:gd name="T80" fmla="*/ 497 w 1727"/>
              <a:gd name="T81" fmla="*/ 2937 h 4091"/>
              <a:gd name="T82" fmla="*/ 504 w 1727"/>
              <a:gd name="T83" fmla="*/ 2963 h 4091"/>
              <a:gd name="T84" fmla="*/ 511 w 1727"/>
              <a:gd name="T85" fmla="*/ 2989 h 4091"/>
              <a:gd name="T86" fmla="*/ 521 w 1727"/>
              <a:gd name="T87" fmla="*/ 3015 h 4091"/>
              <a:gd name="T88" fmla="*/ 531 w 1727"/>
              <a:gd name="T89" fmla="*/ 3039 h 4091"/>
              <a:gd name="T90" fmla="*/ 542 w 1727"/>
              <a:gd name="T91" fmla="*/ 3064 h 4091"/>
              <a:gd name="T92" fmla="*/ 555 w 1727"/>
              <a:gd name="T93" fmla="*/ 3086 h 4091"/>
              <a:gd name="T94" fmla="*/ 569 w 1727"/>
              <a:gd name="T95" fmla="*/ 3109 h 4091"/>
              <a:gd name="T96" fmla="*/ 585 w 1727"/>
              <a:gd name="T97" fmla="*/ 3131 h 4091"/>
              <a:gd name="T98" fmla="*/ 602 w 1727"/>
              <a:gd name="T99" fmla="*/ 3150 h 4091"/>
              <a:gd name="T100" fmla="*/ 619 w 1727"/>
              <a:gd name="T101" fmla="*/ 3168 h 4091"/>
              <a:gd name="T102" fmla="*/ 639 w 1727"/>
              <a:gd name="T103" fmla="*/ 3186 h 4091"/>
              <a:gd name="T104" fmla="*/ 1727 w 1727"/>
              <a:gd name="T105" fmla="*/ 4091 h 40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727" h="4091">
                <a:moveTo>
                  <a:pt x="1727" y="4091"/>
                </a:moveTo>
                <a:lnTo>
                  <a:pt x="356" y="3560"/>
                </a:lnTo>
                <a:lnTo>
                  <a:pt x="329" y="3550"/>
                </a:lnTo>
                <a:lnTo>
                  <a:pt x="304" y="3538"/>
                </a:lnTo>
                <a:lnTo>
                  <a:pt x="279" y="3526"/>
                </a:lnTo>
                <a:lnTo>
                  <a:pt x="256" y="3514"/>
                </a:lnTo>
                <a:lnTo>
                  <a:pt x="234" y="3501"/>
                </a:lnTo>
                <a:lnTo>
                  <a:pt x="213" y="3487"/>
                </a:lnTo>
                <a:lnTo>
                  <a:pt x="193" y="3473"/>
                </a:lnTo>
                <a:lnTo>
                  <a:pt x="174" y="3458"/>
                </a:lnTo>
                <a:lnTo>
                  <a:pt x="156" y="3443"/>
                </a:lnTo>
                <a:lnTo>
                  <a:pt x="140" y="3428"/>
                </a:lnTo>
                <a:lnTo>
                  <a:pt x="123" y="3411"/>
                </a:lnTo>
                <a:lnTo>
                  <a:pt x="108" y="3394"/>
                </a:lnTo>
                <a:lnTo>
                  <a:pt x="94" y="3378"/>
                </a:lnTo>
                <a:lnTo>
                  <a:pt x="81" y="3360"/>
                </a:lnTo>
                <a:lnTo>
                  <a:pt x="69" y="3342"/>
                </a:lnTo>
                <a:lnTo>
                  <a:pt x="59" y="3324"/>
                </a:lnTo>
                <a:lnTo>
                  <a:pt x="49" y="3306"/>
                </a:lnTo>
                <a:lnTo>
                  <a:pt x="40" y="3286"/>
                </a:lnTo>
                <a:lnTo>
                  <a:pt x="32" y="3267"/>
                </a:lnTo>
                <a:lnTo>
                  <a:pt x="25" y="3247"/>
                </a:lnTo>
                <a:lnTo>
                  <a:pt x="19" y="3227"/>
                </a:lnTo>
                <a:lnTo>
                  <a:pt x="13" y="3207"/>
                </a:lnTo>
                <a:lnTo>
                  <a:pt x="9" y="3187"/>
                </a:lnTo>
                <a:lnTo>
                  <a:pt x="6" y="3165"/>
                </a:lnTo>
                <a:lnTo>
                  <a:pt x="4" y="3145"/>
                </a:lnTo>
                <a:lnTo>
                  <a:pt x="1" y="3123"/>
                </a:lnTo>
                <a:lnTo>
                  <a:pt x="0" y="3102"/>
                </a:lnTo>
                <a:lnTo>
                  <a:pt x="0" y="3080"/>
                </a:lnTo>
                <a:lnTo>
                  <a:pt x="1" y="3058"/>
                </a:lnTo>
                <a:lnTo>
                  <a:pt x="4" y="3036"/>
                </a:lnTo>
                <a:lnTo>
                  <a:pt x="6" y="3014"/>
                </a:lnTo>
                <a:lnTo>
                  <a:pt x="9" y="2991"/>
                </a:lnTo>
                <a:lnTo>
                  <a:pt x="508" y="0"/>
                </a:lnTo>
                <a:lnTo>
                  <a:pt x="482" y="2806"/>
                </a:lnTo>
                <a:lnTo>
                  <a:pt x="483" y="2832"/>
                </a:lnTo>
                <a:lnTo>
                  <a:pt x="484" y="2859"/>
                </a:lnTo>
                <a:lnTo>
                  <a:pt x="487" y="2885"/>
                </a:lnTo>
                <a:lnTo>
                  <a:pt x="492" y="2910"/>
                </a:lnTo>
                <a:lnTo>
                  <a:pt x="497" y="2937"/>
                </a:lnTo>
                <a:lnTo>
                  <a:pt x="504" y="2963"/>
                </a:lnTo>
                <a:lnTo>
                  <a:pt x="511" y="2989"/>
                </a:lnTo>
                <a:lnTo>
                  <a:pt x="521" y="3015"/>
                </a:lnTo>
                <a:lnTo>
                  <a:pt x="531" y="3039"/>
                </a:lnTo>
                <a:lnTo>
                  <a:pt x="542" y="3064"/>
                </a:lnTo>
                <a:lnTo>
                  <a:pt x="555" y="3086"/>
                </a:lnTo>
                <a:lnTo>
                  <a:pt x="569" y="3109"/>
                </a:lnTo>
                <a:lnTo>
                  <a:pt x="585" y="3131"/>
                </a:lnTo>
                <a:lnTo>
                  <a:pt x="602" y="3150"/>
                </a:lnTo>
                <a:lnTo>
                  <a:pt x="619" y="3168"/>
                </a:lnTo>
                <a:lnTo>
                  <a:pt x="639" y="3186"/>
                </a:lnTo>
                <a:lnTo>
                  <a:pt x="1727" y="4091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Freeform 8"/>
          <p:cNvSpPr>
            <a:spLocks/>
          </p:cNvSpPr>
          <p:nvPr userDrawn="1"/>
        </p:nvSpPr>
        <p:spPr bwMode="auto">
          <a:xfrm>
            <a:off x="9102939" y="3473452"/>
            <a:ext cx="803143" cy="1114425"/>
          </a:xfrm>
          <a:custGeom>
            <a:avLst/>
            <a:gdLst>
              <a:gd name="T0" fmla="*/ 0 w 1401"/>
              <a:gd name="T1" fmla="*/ 2106 h 2106"/>
              <a:gd name="T2" fmla="*/ 81 w 1401"/>
              <a:gd name="T3" fmla="*/ 638 h 2106"/>
              <a:gd name="T4" fmla="*/ 82 w 1401"/>
              <a:gd name="T5" fmla="*/ 609 h 2106"/>
              <a:gd name="T6" fmla="*/ 86 w 1401"/>
              <a:gd name="T7" fmla="*/ 581 h 2106"/>
              <a:gd name="T8" fmla="*/ 90 w 1401"/>
              <a:gd name="T9" fmla="*/ 555 h 2106"/>
              <a:gd name="T10" fmla="*/ 94 w 1401"/>
              <a:gd name="T11" fmla="*/ 529 h 2106"/>
              <a:gd name="T12" fmla="*/ 100 w 1401"/>
              <a:gd name="T13" fmla="*/ 504 h 2106"/>
              <a:gd name="T14" fmla="*/ 106 w 1401"/>
              <a:gd name="T15" fmla="*/ 480 h 2106"/>
              <a:gd name="T16" fmla="*/ 114 w 1401"/>
              <a:gd name="T17" fmla="*/ 456 h 2106"/>
              <a:gd name="T18" fmla="*/ 122 w 1401"/>
              <a:gd name="T19" fmla="*/ 433 h 2106"/>
              <a:gd name="T20" fmla="*/ 131 w 1401"/>
              <a:gd name="T21" fmla="*/ 412 h 2106"/>
              <a:gd name="T22" fmla="*/ 141 w 1401"/>
              <a:gd name="T23" fmla="*/ 391 h 2106"/>
              <a:gd name="T24" fmla="*/ 151 w 1401"/>
              <a:gd name="T25" fmla="*/ 371 h 2106"/>
              <a:gd name="T26" fmla="*/ 162 w 1401"/>
              <a:gd name="T27" fmla="*/ 351 h 2106"/>
              <a:gd name="T28" fmla="*/ 174 w 1401"/>
              <a:gd name="T29" fmla="*/ 333 h 2106"/>
              <a:gd name="T30" fmla="*/ 187 w 1401"/>
              <a:gd name="T31" fmla="*/ 316 h 2106"/>
              <a:gd name="T32" fmla="*/ 200 w 1401"/>
              <a:gd name="T33" fmla="*/ 299 h 2106"/>
              <a:gd name="T34" fmla="*/ 214 w 1401"/>
              <a:gd name="T35" fmla="*/ 283 h 2106"/>
              <a:gd name="T36" fmla="*/ 229 w 1401"/>
              <a:gd name="T37" fmla="*/ 268 h 2106"/>
              <a:gd name="T38" fmla="*/ 244 w 1401"/>
              <a:gd name="T39" fmla="*/ 253 h 2106"/>
              <a:gd name="T40" fmla="*/ 259 w 1401"/>
              <a:gd name="T41" fmla="*/ 240 h 2106"/>
              <a:gd name="T42" fmla="*/ 277 w 1401"/>
              <a:gd name="T43" fmla="*/ 227 h 2106"/>
              <a:gd name="T44" fmla="*/ 294 w 1401"/>
              <a:gd name="T45" fmla="*/ 215 h 2106"/>
              <a:gd name="T46" fmla="*/ 311 w 1401"/>
              <a:gd name="T47" fmla="*/ 203 h 2106"/>
              <a:gd name="T48" fmla="*/ 330 w 1401"/>
              <a:gd name="T49" fmla="*/ 194 h 2106"/>
              <a:gd name="T50" fmla="*/ 348 w 1401"/>
              <a:gd name="T51" fmla="*/ 184 h 2106"/>
              <a:gd name="T52" fmla="*/ 367 w 1401"/>
              <a:gd name="T53" fmla="*/ 174 h 2106"/>
              <a:gd name="T54" fmla="*/ 387 w 1401"/>
              <a:gd name="T55" fmla="*/ 167 h 2106"/>
              <a:gd name="T56" fmla="*/ 407 w 1401"/>
              <a:gd name="T57" fmla="*/ 159 h 2106"/>
              <a:gd name="T58" fmla="*/ 428 w 1401"/>
              <a:gd name="T59" fmla="*/ 153 h 2106"/>
              <a:gd name="T60" fmla="*/ 450 w 1401"/>
              <a:gd name="T61" fmla="*/ 146 h 2106"/>
              <a:gd name="T62" fmla="*/ 471 w 1401"/>
              <a:gd name="T63" fmla="*/ 141 h 2106"/>
              <a:gd name="T64" fmla="*/ 493 w 1401"/>
              <a:gd name="T65" fmla="*/ 136 h 2106"/>
              <a:gd name="T66" fmla="*/ 515 w 1401"/>
              <a:gd name="T67" fmla="*/ 133 h 2106"/>
              <a:gd name="T68" fmla="*/ 1401 w 1401"/>
              <a:gd name="T69" fmla="*/ 0 h 2106"/>
              <a:gd name="T70" fmla="*/ 1401 w 1401"/>
              <a:gd name="T71" fmla="*/ 348 h 2106"/>
              <a:gd name="T72" fmla="*/ 837 w 1401"/>
              <a:gd name="T73" fmla="*/ 525 h 2106"/>
              <a:gd name="T74" fmla="*/ 813 w 1401"/>
              <a:gd name="T75" fmla="*/ 534 h 2106"/>
              <a:gd name="T76" fmla="*/ 789 w 1401"/>
              <a:gd name="T77" fmla="*/ 543 h 2106"/>
              <a:gd name="T78" fmla="*/ 765 w 1401"/>
              <a:gd name="T79" fmla="*/ 554 h 2106"/>
              <a:gd name="T80" fmla="*/ 740 w 1401"/>
              <a:gd name="T81" fmla="*/ 566 h 2106"/>
              <a:gd name="T82" fmla="*/ 717 w 1401"/>
              <a:gd name="T83" fmla="*/ 580 h 2106"/>
              <a:gd name="T84" fmla="*/ 695 w 1401"/>
              <a:gd name="T85" fmla="*/ 594 h 2106"/>
              <a:gd name="T86" fmla="*/ 672 w 1401"/>
              <a:gd name="T87" fmla="*/ 609 h 2106"/>
              <a:gd name="T88" fmla="*/ 650 w 1401"/>
              <a:gd name="T89" fmla="*/ 627 h 2106"/>
              <a:gd name="T90" fmla="*/ 631 w 1401"/>
              <a:gd name="T91" fmla="*/ 644 h 2106"/>
              <a:gd name="T92" fmla="*/ 612 w 1401"/>
              <a:gd name="T93" fmla="*/ 662 h 2106"/>
              <a:gd name="T94" fmla="*/ 593 w 1401"/>
              <a:gd name="T95" fmla="*/ 682 h 2106"/>
              <a:gd name="T96" fmla="*/ 576 w 1401"/>
              <a:gd name="T97" fmla="*/ 702 h 2106"/>
              <a:gd name="T98" fmla="*/ 561 w 1401"/>
              <a:gd name="T99" fmla="*/ 724 h 2106"/>
              <a:gd name="T100" fmla="*/ 547 w 1401"/>
              <a:gd name="T101" fmla="*/ 745 h 2106"/>
              <a:gd name="T102" fmla="*/ 535 w 1401"/>
              <a:gd name="T103" fmla="*/ 768 h 2106"/>
              <a:gd name="T104" fmla="*/ 524 w 1401"/>
              <a:gd name="T105" fmla="*/ 792 h 2106"/>
              <a:gd name="T106" fmla="*/ 0 w 1401"/>
              <a:gd name="T107" fmla="*/ 2106 h 2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401" h="2106">
                <a:moveTo>
                  <a:pt x="0" y="2106"/>
                </a:moveTo>
                <a:lnTo>
                  <a:pt x="81" y="638"/>
                </a:lnTo>
                <a:lnTo>
                  <a:pt x="82" y="609"/>
                </a:lnTo>
                <a:lnTo>
                  <a:pt x="86" y="581"/>
                </a:lnTo>
                <a:lnTo>
                  <a:pt x="90" y="555"/>
                </a:lnTo>
                <a:lnTo>
                  <a:pt x="94" y="529"/>
                </a:lnTo>
                <a:lnTo>
                  <a:pt x="100" y="504"/>
                </a:lnTo>
                <a:lnTo>
                  <a:pt x="106" y="480"/>
                </a:lnTo>
                <a:lnTo>
                  <a:pt x="114" y="456"/>
                </a:lnTo>
                <a:lnTo>
                  <a:pt x="122" y="433"/>
                </a:lnTo>
                <a:lnTo>
                  <a:pt x="131" y="412"/>
                </a:lnTo>
                <a:lnTo>
                  <a:pt x="141" y="391"/>
                </a:lnTo>
                <a:lnTo>
                  <a:pt x="151" y="371"/>
                </a:lnTo>
                <a:lnTo>
                  <a:pt x="162" y="351"/>
                </a:lnTo>
                <a:lnTo>
                  <a:pt x="174" y="333"/>
                </a:lnTo>
                <a:lnTo>
                  <a:pt x="187" y="316"/>
                </a:lnTo>
                <a:lnTo>
                  <a:pt x="200" y="299"/>
                </a:lnTo>
                <a:lnTo>
                  <a:pt x="214" y="283"/>
                </a:lnTo>
                <a:lnTo>
                  <a:pt x="229" y="268"/>
                </a:lnTo>
                <a:lnTo>
                  <a:pt x="244" y="253"/>
                </a:lnTo>
                <a:lnTo>
                  <a:pt x="259" y="240"/>
                </a:lnTo>
                <a:lnTo>
                  <a:pt x="277" y="227"/>
                </a:lnTo>
                <a:lnTo>
                  <a:pt x="294" y="215"/>
                </a:lnTo>
                <a:lnTo>
                  <a:pt x="311" y="203"/>
                </a:lnTo>
                <a:lnTo>
                  <a:pt x="330" y="194"/>
                </a:lnTo>
                <a:lnTo>
                  <a:pt x="348" y="184"/>
                </a:lnTo>
                <a:lnTo>
                  <a:pt x="367" y="174"/>
                </a:lnTo>
                <a:lnTo>
                  <a:pt x="387" y="167"/>
                </a:lnTo>
                <a:lnTo>
                  <a:pt x="407" y="159"/>
                </a:lnTo>
                <a:lnTo>
                  <a:pt x="428" y="153"/>
                </a:lnTo>
                <a:lnTo>
                  <a:pt x="450" y="146"/>
                </a:lnTo>
                <a:lnTo>
                  <a:pt x="471" y="141"/>
                </a:lnTo>
                <a:lnTo>
                  <a:pt x="493" y="136"/>
                </a:lnTo>
                <a:lnTo>
                  <a:pt x="515" y="133"/>
                </a:lnTo>
                <a:lnTo>
                  <a:pt x="1401" y="0"/>
                </a:lnTo>
                <a:lnTo>
                  <a:pt x="1401" y="348"/>
                </a:lnTo>
                <a:lnTo>
                  <a:pt x="837" y="525"/>
                </a:lnTo>
                <a:lnTo>
                  <a:pt x="813" y="534"/>
                </a:lnTo>
                <a:lnTo>
                  <a:pt x="789" y="543"/>
                </a:lnTo>
                <a:lnTo>
                  <a:pt x="765" y="554"/>
                </a:lnTo>
                <a:lnTo>
                  <a:pt x="740" y="566"/>
                </a:lnTo>
                <a:lnTo>
                  <a:pt x="717" y="580"/>
                </a:lnTo>
                <a:lnTo>
                  <a:pt x="695" y="594"/>
                </a:lnTo>
                <a:lnTo>
                  <a:pt x="672" y="609"/>
                </a:lnTo>
                <a:lnTo>
                  <a:pt x="650" y="627"/>
                </a:lnTo>
                <a:lnTo>
                  <a:pt x="631" y="644"/>
                </a:lnTo>
                <a:lnTo>
                  <a:pt x="612" y="662"/>
                </a:lnTo>
                <a:lnTo>
                  <a:pt x="593" y="682"/>
                </a:lnTo>
                <a:lnTo>
                  <a:pt x="576" y="702"/>
                </a:lnTo>
                <a:lnTo>
                  <a:pt x="561" y="724"/>
                </a:lnTo>
                <a:lnTo>
                  <a:pt x="547" y="745"/>
                </a:lnTo>
                <a:lnTo>
                  <a:pt x="535" y="768"/>
                </a:lnTo>
                <a:lnTo>
                  <a:pt x="524" y="792"/>
                </a:lnTo>
                <a:lnTo>
                  <a:pt x="0" y="2106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0" name="Freeform 10"/>
          <p:cNvSpPr>
            <a:spLocks/>
          </p:cNvSpPr>
          <p:nvPr userDrawn="1"/>
        </p:nvSpPr>
        <p:spPr bwMode="auto">
          <a:xfrm>
            <a:off x="9321287" y="5721350"/>
            <a:ext cx="584729" cy="179388"/>
          </a:xfrm>
          <a:custGeom>
            <a:avLst/>
            <a:gdLst>
              <a:gd name="T0" fmla="*/ 0 w 1021"/>
              <a:gd name="T1" fmla="*/ 278 h 338"/>
              <a:gd name="T2" fmla="*/ 1021 w 1021"/>
              <a:gd name="T3" fmla="*/ 0 h 338"/>
              <a:gd name="T4" fmla="*/ 1021 w 1021"/>
              <a:gd name="T5" fmla="*/ 338 h 338"/>
              <a:gd name="T6" fmla="*/ 0 w 1021"/>
              <a:gd name="T7" fmla="*/ 278 h 3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021" h="338">
                <a:moveTo>
                  <a:pt x="0" y="278"/>
                </a:moveTo>
                <a:lnTo>
                  <a:pt x="1021" y="0"/>
                </a:lnTo>
                <a:lnTo>
                  <a:pt x="1021" y="338"/>
                </a:lnTo>
                <a:lnTo>
                  <a:pt x="0" y="278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2" name="Freeform 12"/>
          <p:cNvSpPr>
            <a:spLocks/>
          </p:cNvSpPr>
          <p:nvPr userDrawn="1"/>
        </p:nvSpPr>
        <p:spPr bwMode="auto">
          <a:xfrm>
            <a:off x="8057225" y="6461304"/>
            <a:ext cx="278606" cy="396875"/>
          </a:xfrm>
          <a:custGeom>
            <a:avLst/>
            <a:gdLst>
              <a:gd name="T0" fmla="*/ 0 w 484"/>
              <a:gd name="T1" fmla="*/ 0 h 749"/>
              <a:gd name="T2" fmla="*/ 484 w 484"/>
              <a:gd name="T3" fmla="*/ 749 h 749"/>
              <a:gd name="T4" fmla="*/ 191 w 484"/>
              <a:gd name="T5" fmla="*/ 749 h 749"/>
              <a:gd name="T6" fmla="*/ 0 w 484"/>
              <a:gd name="T7" fmla="*/ 0 h 7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84" h="749">
                <a:moveTo>
                  <a:pt x="0" y="0"/>
                </a:moveTo>
                <a:lnTo>
                  <a:pt x="484" y="749"/>
                </a:lnTo>
                <a:lnTo>
                  <a:pt x="191" y="749"/>
                </a:lnTo>
                <a:lnTo>
                  <a:pt x="0" y="0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14" name="Freeform 14"/>
          <p:cNvSpPr>
            <a:spLocks/>
          </p:cNvSpPr>
          <p:nvPr userDrawn="1"/>
        </p:nvSpPr>
        <p:spPr bwMode="auto">
          <a:xfrm>
            <a:off x="4617648" y="5487988"/>
            <a:ext cx="2445544" cy="769938"/>
          </a:xfrm>
          <a:custGeom>
            <a:avLst/>
            <a:gdLst>
              <a:gd name="T0" fmla="*/ 4268 w 4268"/>
              <a:gd name="T1" fmla="*/ 95 h 1455"/>
              <a:gd name="T2" fmla="*/ 3342 w 4268"/>
              <a:gd name="T3" fmla="*/ 1237 h 1455"/>
              <a:gd name="T4" fmla="*/ 3324 w 4268"/>
              <a:gd name="T5" fmla="*/ 1259 h 1455"/>
              <a:gd name="T6" fmla="*/ 3305 w 4268"/>
              <a:gd name="T7" fmla="*/ 1280 h 1455"/>
              <a:gd name="T8" fmla="*/ 3287 w 4268"/>
              <a:gd name="T9" fmla="*/ 1300 h 1455"/>
              <a:gd name="T10" fmla="*/ 3268 w 4268"/>
              <a:gd name="T11" fmla="*/ 1317 h 1455"/>
              <a:gd name="T12" fmla="*/ 3248 w 4268"/>
              <a:gd name="T13" fmla="*/ 1334 h 1455"/>
              <a:gd name="T14" fmla="*/ 3229 w 4268"/>
              <a:gd name="T15" fmla="*/ 1351 h 1455"/>
              <a:gd name="T16" fmla="*/ 3209 w 4268"/>
              <a:gd name="T17" fmla="*/ 1366 h 1455"/>
              <a:gd name="T18" fmla="*/ 3190 w 4268"/>
              <a:gd name="T19" fmla="*/ 1379 h 1455"/>
              <a:gd name="T20" fmla="*/ 3169 w 4268"/>
              <a:gd name="T21" fmla="*/ 1392 h 1455"/>
              <a:gd name="T22" fmla="*/ 3150 w 4268"/>
              <a:gd name="T23" fmla="*/ 1402 h 1455"/>
              <a:gd name="T24" fmla="*/ 3129 w 4268"/>
              <a:gd name="T25" fmla="*/ 1412 h 1455"/>
              <a:gd name="T26" fmla="*/ 3109 w 4268"/>
              <a:gd name="T27" fmla="*/ 1422 h 1455"/>
              <a:gd name="T28" fmla="*/ 3088 w 4268"/>
              <a:gd name="T29" fmla="*/ 1429 h 1455"/>
              <a:gd name="T30" fmla="*/ 3068 w 4268"/>
              <a:gd name="T31" fmla="*/ 1436 h 1455"/>
              <a:gd name="T32" fmla="*/ 3047 w 4268"/>
              <a:gd name="T33" fmla="*/ 1442 h 1455"/>
              <a:gd name="T34" fmla="*/ 3027 w 4268"/>
              <a:gd name="T35" fmla="*/ 1447 h 1455"/>
              <a:gd name="T36" fmla="*/ 3006 w 4268"/>
              <a:gd name="T37" fmla="*/ 1451 h 1455"/>
              <a:gd name="T38" fmla="*/ 2985 w 4268"/>
              <a:gd name="T39" fmla="*/ 1453 h 1455"/>
              <a:gd name="T40" fmla="*/ 2964 w 4268"/>
              <a:gd name="T41" fmla="*/ 1455 h 1455"/>
              <a:gd name="T42" fmla="*/ 2944 w 4268"/>
              <a:gd name="T43" fmla="*/ 1455 h 1455"/>
              <a:gd name="T44" fmla="*/ 2922 w 4268"/>
              <a:gd name="T45" fmla="*/ 1455 h 1455"/>
              <a:gd name="T46" fmla="*/ 2902 w 4268"/>
              <a:gd name="T47" fmla="*/ 1454 h 1455"/>
              <a:gd name="T48" fmla="*/ 2881 w 4268"/>
              <a:gd name="T49" fmla="*/ 1452 h 1455"/>
              <a:gd name="T50" fmla="*/ 2859 w 4268"/>
              <a:gd name="T51" fmla="*/ 1449 h 1455"/>
              <a:gd name="T52" fmla="*/ 2839 w 4268"/>
              <a:gd name="T53" fmla="*/ 1444 h 1455"/>
              <a:gd name="T54" fmla="*/ 2818 w 4268"/>
              <a:gd name="T55" fmla="*/ 1440 h 1455"/>
              <a:gd name="T56" fmla="*/ 2797 w 4268"/>
              <a:gd name="T57" fmla="*/ 1434 h 1455"/>
              <a:gd name="T58" fmla="*/ 2776 w 4268"/>
              <a:gd name="T59" fmla="*/ 1427 h 1455"/>
              <a:gd name="T60" fmla="*/ 2756 w 4268"/>
              <a:gd name="T61" fmla="*/ 1420 h 1455"/>
              <a:gd name="T62" fmla="*/ 2735 w 4268"/>
              <a:gd name="T63" fmla="*/ 1411 h 1455"/>
              <a:gd name="T64" fmla="*/ 2715 w 4268"/>
              <a:gd name="T65" fmla="*/ 1402 h 1455"/>
              <a:gd name="T66" fmla="*/ 2694 w 4268"/>
              <a:gd name="T67" fmla="*/ 1393 h 1455"/>
              <a:gd name="T68" fmla="*/ 0 w 4268"/>
              <a:gd name="T69" fmla="*/ 0 h 1455"/>
              <a:gd name="T70" fmla="*/ 2664 w 4268"/>
              <a:gd name="T71" fmla="*/ 885 h 1455"/>
              <a:gd name="T72" fmla="*/ 2688 w 4268"/>
              <a:gd name="T73" fmla="*/ 893 h 1455"/>
              <a:gd name="T74" fmla="*/ 2714 w 4268"/>
              <a:gd name="T75" fmla="*/ 899 h 1455"/>
              <a:gd name="T76" fmla="*/ 2740 w 4268"/>
              <a:gd name="T77" fmla="*/ 905 h 1455"/>
              <a:gd name="T78" fmla="*/ 2767 w 4268"/>
              <a:gd name="T79" fmla="*/ 909 h 1455"/>
              <a:gd name="T80" fmla="*/ 2792 w 4268"/>
              <a:gd name="T81" fmla="*/ 911 h 1455"/>
              <a:gd name="T82" fmla="*/ 2819 w 4268"/>
              <a:gd name="T83" fmla="*/ 913 h 1455"/>
              <a:gd name="T84" fmla="*/ 2846 w 4268"/>
              <a:gd name="T85" fmla="*/ 913 h 1455"/>
              <a:gd name="T86" fmla="*/ 2873 w 4268"/>
              <a:gd name="T87" fmla="*/ 913 h 1455"/>
              <a:gd name="T88" fmla="*/ 2900 w 4268"/>
              <a:gd name="T89" fmla="*/ 910 h 1455"/>
              <a:gd name="T90" fmla="*/ 2927 w 4268"/>
              <a:gd name="T91" fmla="*/ 907 h 1455"/>
              <a:gd name="T92" fmla="*/ 2953 w 4268"/>
              <a:gd name="T93" fmla="*/ 901 h 1455"/>
              <a:gd name="T94" fmla="*/ 2979 w 4268"/>
              <a:gd name="T95" fmla="*/ 895 h 1455"/>
              <a:gd name="T96" fmla="*/ 3004 w 4268"/>
              <a:gd name="T97" fmla="*/ 887 h 1455"/>
              <a:gd name="T98" fmla="*/ 3028 w 4268"/>
              <a:gd name="T99" fmla="*/ 878 h 1455"/>
              <a:gd name="T100" fmla="*/ 3051 w 4268"/>
              <a:gd name="T101" fmla="*/ 866 h 1455"/>
              <a:gd name="T102" fmla="*/ 3073 w 4268"/>
              <a:gd name="T103" fmla="*/ 853 h 1455"/>
              <a:gd name="T104" fmla="*/ 4268 w 4268"/>
              <a:gd name="T105" fmla="*/ 95 h 14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268" h="1455">
                <a:moveTo>
                  <a:pt x="4268" y="95"/>
                </a:moveTo>
                <a:lnTo>
                  <a:pt x="3342" y="1237"/>
                </a:lnTo>
                <a:lnTo>
                  <a:pt x="3324" y="1259"/>
                </a:lnTo>
                <a:lnTo>
                  <a:pt x="3305" y="1280"/>
                </a:lnTo>
                <a:lnTo>
                  <a:pt x="3287" y="1300"/>
                </a:lnTo>
                <a:lnTo>
                  <a:pt x="3268" y="1317"/>
                </a:lnTo>
                <a:lnTo>
                  <a:pt x="3248" y="1334"/>
                </a:lnTo>
                <a:lnTo>
                  <a:pt x="3229" y="1351"/>
                </a:lnTo>
                <a:lnTo>
                  <a:pt x="3209" y="1366"/>
                </a:lnTo>
                <a:lnTo>
                  <a:pt x="3190" y="1379"/>
                </a:lnTo>
                <a:lnTo>
                  <a:pt x="3169" y="1392"/>
                </a:lnTo>
                <a:lnTo>
                  <a:pt x="3150" y="1402"/>
                </a:lnTo>
                <a:lnTo>
                  <a:pt x="3129" y="1412"/>
                </a:lnTo>
                <a:lnTo>
                  <a:pt x="3109" y="1422"/>
                </a:lnTo>
                <a:lnTo>
                  <a:pt x="3088" y="1429"/>
                </a:lnTo>
                <a:lnTo>
                  <a:pt x="3068" y="1436"/>
                </a:lnTo>
                <a:lnTo>
                  <a:pt x="3047" y="1442"/>
                </a:lnTo>
                <a:lnTo>
                  <a:pt x="3027" y="1447"/>
                </a:lnTo>
                <a:lnTo>
                  <a:pt x="3006" y="1451"/>
                </a:lnTo>
                <a:lnTo>
                  <a:pt x="2985" y="1453"/>
                </a:lnTo>
                <a:lnTo>
                  <a:pt x="2964" y="1455"/>
                </a:lnTo>
                <a:lnTo>
                  <a:pt x="2944" y="1455"/>
                </a:lnTo>
                <a:lnTo>
                  <a:pt x="2922" y="1455"/>
                </a:lnTo>
                <a:lnTo>
                  <a:pt x="2902" y="1454"/>
                </a:lnTo>
                <a:lnTo>
                  <a:pt x="2881" y="1452"/>
                </a:lnTo>
                <a:lnTo>
                  <a:pt x="2859" y="1449"/>
                </a:lnTo>
                <a:lnTo>
                  <a:pt x="2839" y="1444"/>
                </a:lnTo>
                <a:lnTo>
                  <a:pt x="2818" y="1440"/>
                </a:lnTo>
                <a:lnTo>
                  <a:pt x="2797" y="1434"/>
                </a:lnTo>
                <a:lnTo>
                  <a:pt x="2776" y="1427"/>
                </a:lnTo>
                <a:lnTo>
                  <a:pt x="2756" y="1420"/>
                </a:lnTo>
                <a:lnTo>
                  <a:pt x="2735" y="1411"/>
                </a:lnTo>
                <a:lnTo>
                  <a:pt x="2715" y="1402"/>
                </a:lnTo>
                <a:lnTo>
                  <a:pt x="2694" y="1393"/>
                </a:lnTo>
                <a:lnTo>
                  <a:pt x="0" y="0"/>
                </a:lnTo>
                <a:lnTo>
                  <a:pt x="2664" y="885"/>
                </a:lnTo>
                <a:lnTo>
                  <a:pt x="2688" y="893"/>
                </a:lnTo>
                <a:lnTo>
                  <a:pt x="2714" y="899"/>
                </a:lnTo>
                <a:lnTo>
                  <a:pt x="2740" y="905"/>
                </a:lnTo>
                <a:lnTo>
                  <a:pt x="2767" y="909"/>
                </a:lnTo>
                <a:lnTo>
                  <a:pt x="2792" y="911"/>
                </a:lnTo>
                <a:lnTo>
                  <a:pt x="2819" y="913"/>
                </a:lnTo>
                <a:lnTo>
                  <a:pt x="2846" y="913"/>
                </a:lnTo>
                <a:lnTo>
                  <a:pt x="2873" y="913"/>
                </a:lnTo>
                <a:lnTo>
                  <a:pt x="2900" y="910"/>
                </a:lnTo>
                <a:lnTo>
                  <a:pt x="2927" y="907"/>
                </a:lnTo>
                <a:lnTo>
                  <a:pt x="2953" y="901"/>
                </a:lnTo>
                <a:lnTo>
                  <a:pt x="2979" y="895"/>
                </a:lnTo>
                <a:lnTo>
                  <a:pt x="3004" y="887"/>
                </a:lnTo>
                <a:lnTo>
                  <a:pt x="3028" y="878"/>
                </a:lnTo>
                <a:lnTo>
                  <a:pt x="3051" y="866"/>
                </a:lnTo>
                <a:lnTo>
                  <a:pt x="3073" y="853"/>
                </a:lnTo>
                <a:lnTo>
                  <a:pt x="4268" y="95"/>
                </a:lnTo>
                <a:close/>
              </a:path>
            </a:pathLst>
          </a:custGeom>
          <a:solidFill>
            <a:srgbClr val="FE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5" name="Группа 14"/>
          <p:cNvGrpSpPr/>
          <p:nvPr userDrawn="1"/>
        </p:nvGrpSpPr>
        <p:grpSpPr>
          <a:xfrm>
            <a:off x="4459430" y="1936750"/>
            <a:ext cx="5446581" cy="4921250"/>
            <a:chOff x="4116388" y="1936750"/>
            <a:chExt cx="5027613" cy="4921250"/>
          </a:xfrm>
        </p:grpSpPr>
        <p:sp>
          <p:nvSpPr>
            <p:cNvPr id="5" name="Freeform 5"/>
            <p:cNvSpPr>
              <a:spLocks/>
            </p:cNvSpPr>
            <p:nvPr userDrawn="1"/>
          </p:nvSpPr>
          <p:spPr bwMode="auto">
            <a:xfrm>
              <a:off x="6203950" y="1936750"/>
              <a:ext cx="1966913" cy="2646363"/>
            </a:xfrm>
            <a:custGeom>
              <a:avLst/>
              <a:gdLst>
                <a:gd name="T0" fmla="*/ 2936 w 3717"/>
                <a:gd name="T1" fmla="*/ 4866 h 5000"/>
                <a:gd name="T2" fmla="*/ 2932 w 3717"/>
                <a:gd name="T3" fmla="*/ 4886 h 5000"/>
                <a:gd name="T4" fmla="*/ 2924 w 3717"/>
                <a:gd name="T5" fmla="*/ 4905 h 5000"/>
                <a:gd name="T6" fmla="*/ 2915 w 3717"/>
                <a:gd name="T7" fmla="*/ 4922 h 5000"/>
                <a:gd name="T8" fmla="*/ 2905 w 3717"/>
                <a:gd name="T9" fmla="*/ 4938 h 5000"/>
                <a:gd name="T10" fmla="*/ 2893 w 3717"/>
                <a:gd name="T11" fmla="*/ 4952 h 5000"/>
                <a:gd name="T12" fmla="*/ 2879 w 3717"/>
                <a:gd name="T13" fmla="*/ 4964 h 5000"/>
                <a:gd name="T14" fmla="*/ 2847 w 3717"/>
                <a:gd name="T15" fmla="*/ 4983 h 5000"/>
                <a:gd name="T16" fmla="*/ 2811 w 3717"/>
                <a:gd name="T17" fmla="*/ 4996 h 5000"/>
                <a:gd name="T18" fmla="*/ 2773 w 3717"/>
                <a:gd name="T19" fmla="*/ 5000 h 5000"/>
                <a:gd name="T20" fmla="*/ 2733 w 3717"/>
                <a:gd name="T21" fmla="*/ 4998 h 5000"/>
                <a:gd name="T22" fmla="*/ 2693 w 3717"/>
                <a:gd name="T23" fmla="*/ 4987 h 5000"/>
                <a:gd name="T24" fmla="*/ 329 w 3717"/>
                <a:gd name="T25" fmla="*/ 4073 h 5000"/>
                <a:gd name="T26" fmla="*/ 279 w 3717"/>
                <a:gd name="T27" fmla="*/ 4049 h 5000"/>
                <a:gd name="T28" fmla="*/ 233 w 3717"/>
                <a:gd name="T29" fmla="*/ 4024 h 5000"/>
                <a:gd name="T30" fmla="*/ 192 w 3717"/>
                <a:gd name="T31" fmla="*/ 3996 h 5000"/>
                <a:gd name="T32" fmla="*/ 155 w 3717"/>
                <a:gd name="T33" fmla="*/ 3966 h 5000"/>
                <a:gd name="T34" fmla="*/ 122 w 3717"/>
                <a:gd name="T35" fmla="*/ 3934 h 5000"/>
                <a:gd name="T36" fmla="*/ 93 w 3717"/>
                <a:gd name="T37" fmla="*/ 3900 h 5000"/>
                <a:gd name="T38" fmla="*/ 70 w 3717"/>
                <a:gd name="T39" fmla="*/ 3865 h 5000"/>
                <a:gd name="T40" fmla="*/ 48 w 3717"/>
                <a:gd name="T41" fmla="*/ 3829 h 5000"/>
                <a:gd name="T42" fmla="*/ 32 w 3717"/>
                <a:gd name="T43" fmla="*/ 3790 h 5000"/>
                <a:gd name="T44" fmla="*/ 18 w 3717"/>
                <a:gd name="T45" fmla="*/ 3750 h 5000"/>
                <a:gd name="T46" fmla="*/ 8 w 3717"/>
                <a:gd name="T47" fmla="*/ 3710 h 5000"/>
                <a:gd name="T48" fmla="*/ 3 w 3717"/>
                <a:gd name="T49" fmla="*/ 3668 h 5000"/>
                <a:gd name="T50" fmla="*/ 0 w 3717"/>
                <a:gd name="T51" fmla="*/ 3625 h 5000"/>
                <a:gd name="T52" fmla="*/ 0 w 3717"/>
                <a:gd name="T53" fmla="*/ 3581 h 5000"/>
                <a:gd name="T54" fmla="*/ 5 w 3717"/>
                <a:gd name="T55" fmla="*/ 3537 h 5000"/>
                <a:gd name="T56" fmla="*/ 507 w 3717"/>
                <a:gd name="T57" fmla="*/ 523 h 5000"/>
                <a:gd name="T58" fmla="*/ 516 w 3717"/>
                <a:gd name="T59" fmla="*/ 479 h 5000"/>
                <a:gd name="T60" fmla="*/ 527 w 3717"/>
                <a:gd name="T61" fmla="*/ 437 h 5000"/>
                <a:gd name="T62" fmla="*/ 541 w 3717"/>
                <a:gd name="T63" fmla="*/ 396 h 5000"/>
                <a:gd name="T64" fmla="*/ 560 w 3717"/>
                <a:gd name="T65" fmla="*/ 357 h 5000"/>
                <a:gd name="T66" fmla="*/ 580 w 3717"/>
                <a:gd name="T67" fmla="*/ 320 h 5000"/>
                <a:gd name="T68" fmla="*/ 604 w 3717"/>
                <a:gd name="T69" fmla="*/ 286 h 5000"/>
                <a:gd name="T70" fmla="*/ 631 w 3717"/>
                <a:gd name="T71" fmla="*/ 254 h 5000"/>
                <a:gd name="T72" fmla="*/ 661 w 3717"/>
                <a:gd name="T73" fmla="*/ 224 h 5000"/>
                <a:gd name="T74" fmla="*/ 694 w 3717"/>
                <a:gd name="T75" fmla="*/ 198 h 5000"/>
                <a:gd name="T76" fmla="*/ 730 w 3717"/>
                <a:gd name="T77" fmla="*/ 173 h 5000"/>
                <a:gd name="T78" fmla="*/ 770 w 3717"/>
                <a:gd name="T79" fmla="*/ 153 h 5000"/>
                <a:gd name="T80" fmla="*/ 814 w 3717"/>
                <a:gd name="T81" fmla="*/ 135 h 5000"/>
                <a:gd name="T82" fmla="*/ 859 w 3717"/>
                <a:gd name="T83" fmla="*/ 121 h 5000"/>
                <a:gd name="T84" fmla="*/ 909 w 3717"/>
                <a:gd name="T85" fmla="*/ 109 h 5000"/>
                <a:gd name="T86" fmla="*/ 962 w 3717"/>
                <a:gd name="T87" fmla="*/ 101 h 5000"/>
                <a:gd name="T88" fmla="*/ 1019 w 3717"/>
                <a:gd name="T89" fmla="*/ 97 h 5000"/>
                <a:gd name="T90" fmla="*/ 3544 w 3717"/>
                <a:gd name="T91" fmla="*/ 0 h 5000"/>
                <a:gd name="T92" fmla="*/ 3584 w 3717"/>
                <a:gd name="T93" fmla="*/ 6 h 5000"/>
                <a:gd name="T94" fmla="*/ 3622 w 3717"/>
                <a:gd name="T95" fmla="*/ 20 h 5000"/>
                <a:gd name="T96" fmla="*/ 3654 w 3717"/>
                <a:gd name="T97" fmla="*/ 41 h 5000"/>
                <a:gd name="T98" fmla="*/ 3680 w 3717"/>
                <a:gd name="T99" fmla="*/ 67 h 5000"/>
                <a:gd name="T100" fmla="*/ 3696 w 3717"/>
                <a:gd name="T101" fmla="*/ 89 h 5000"/>
                <a:gd name="T102" fmla="*/ 3705 w 3717"/>
                <a:gd name="T103" fmla="*/ 106 h 5000"/>
                <a:gd name="T104" fmla="*/ 3710 w 3717"/>
                <a:gd name="T105" fmla="*/ 124 h 5000"/>
                <a:gd name="T106" fmla="*/ 3715 w 3717"/>
                <a:gd name="T107" fmla="*/ 142 h 5000"/>
                <a:gd name="T108" fmla="*/ 3717 w 3717"/>
                <a:gd name="T109" fmla="*/ 162 h 5000"/>
                <a:gd name="T110" fmla="*/ 3716 w 3717"/>
                <a:gd name="T111" fmla="*/ 182 h 5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717" h="5000">
                  <a:moveTo>
                    <a:pt x="3715" y="192"/>
                  </a:moveTo>
                  <a:lnTo>
                    <a:pt x="2936" y="4866"/>
                  </a:lnTo>
                  <a:lnTo>
                    <a:pt x="2934" y="4876"/>
                  </a:lnTo>
                  <a:lnTo>
                    <a:pt x="2932" y="4886"/>
                  </a:lnTo>
                  <a:lnTo>
                    <a:pt x="2928" y="4895"/>
                  </a:lnTo>
                  <a:lnTo>
                    <a:pt x="2924" y="4905"/>
                  </a:lnTo>
                  <a:lnTo>
                    <a:pt x="2921" y="4914"/>
                  </a:lnTo>
                  <a:lnTo>
                    <a:pt x="2915" y="4922"/>
                  </a:lnTo>
                  <a:lnTo>
                    <a:pt x="2911" y="4930"/>
                  </a:lnTo>
                  <a:lnTo>
                    <a:pt x="2905" y="4938"/>
                  </a:lnTo>
                  <a:lnTo>
                    <a:pt x="2899" y="4945"/>
                  </a:lnTo>
                  <a:lnTo>
                    <a:pt x="2893" y="4952"/>
                  </a:lnTo>
                  <a:lnTo>
                    <a:pt x="2886" y="4958"/>
                  </a:lnTo>
                  <a:lnTo>
                    <a:pt x="2879" y="4964"/>
                  </a:lnTo>
                  <a:lnTo>
                    <a:pt x="2863" y="4974"/>
                  </a:lnTo>
                  <a:lnTo>
                    <a:pt x="2847" y="4983"/>
                  </a:lnTo>
                  <a:lnTo>
                    <a:pt x="2829" y="4991"/>
                  </a:lnTo>
                  <a:lnTo>
                    <a:pt x="2811" y="4996"/>
                  </a:lnTo>
                  <a:lnTo>
                    <a:pt x="2792" y="4999"/>
                  </a:lnTo>
                  <a:lnTo>
                    <a:pt x="2773" y="5000"/>
                  </a:lnTo>
                  <a:lnTo>
                    <a:pt x="2752" y="5000"/>
                  </a:lnTo>
                  <a:lnTo>
                    <a:pt x="2733" y="4998"/>
                  </a:lnTo>
                  <a:lnTo>
                    <a:pt x="2713" y="4994"/>
                  </a:lnTo>
                  <a:lnTo>
                    <a:pt x="2693" y="4987"/>
                  </a:lnTo>
                  <a:lnTo>
                    <a:pt x="355" y="4083"/>
                  </a:lnTo>
                  <a:lnTo>
                    <a:pt x="329" y="4073"/>
                  </a:lnTo>
                  <a:lnTo>
                    <a:pt x="303" y="4061"/>
                  </a:lnTo>
                  <a:lnTo>
                    <a:pt x="279" y="4049"/>
                  </a:lnTo>
                  <a:lnTo>
                    <a:pt x="255" y="4037"/>
                  </a:lnTo>
                  <a:lnTo>
                    <a:pt x="233" y="4024"/>
                  </a:lnTo>
                  <a:lnTo>
                    <a:pt x="212" y="4010"/>
                  </a:lnTo>
                  <a:lnTo>
                    <a:pt x="192" y="3996"/>
                  </a:lnTo>
                  <a:lnTo>
                    <a:pt x="173" y="3981"/>
                  </a:lnTo>
                  <a:lnTo>
                    <a:pt x="155" y="3966"/>
                  </a:lnTo>
                  <a:lnTo>
                    <a:pt x="139" y="3951"/>
                  </a:lnTo>
                  <a:lnTo>
                    <a:pt x="122" y="3934"/>
                  </a:lnTo>
                  <a:lnTo>
                    <a:pt x="107" y="3917"/>
                  </a:lnTo>
                  <a:lnTo>
                    <a:pt x="93" y="3900"/>
                  </a:lnTo>
                  <a:lnTo>
                    <a:pt x="81" y="3883"/>
                  </a:lnTo>
                  <a:lnTo>
                    <a:pt x="70" y="3865"/>
                  </a:lnTo>
                  <a:lnTo>
                    <a:pt x="58" y="3847"/>
                  </a:lnTo>
                  <a:lnTo>
                    <a:pt x="48" y="3829"/>
                  </a:lnTo>
                  <a:lnTo>
                    <a:pt x="39" y="3809"/>
                  </a:lnTo>
                  <a:lnTo>
                    <a:pt x="32" y="3790"/>
                  </a:lnTo>
                  <a:lnTo>
                    <a:pt x="24" y="3770"/>
                  </a:lnTo>
                  <a:lnTo>
                    <a:pt x="18" y="3750"/>
                  </a:lnTo>
                  <a:lnTo>
                    <a:pt x="12" y="3730"/>
                  </a:lnTo>
                  <a:lnTo>
                    <a:pt x="8" y="3710"/>
                  </a:lnTo>
                  <a:lnTo>
                    <a:pt x="5" y="3688"/>
                  </a:lnTo>
                  <a:lnTo>
                    <a:pt x="3" y="3668"/>
                  </a:lnTo>
                  <a:lnTo>
                    <a:pt x="0" y="3646"/>
                  </a:lnTo>
                  <a:lnTo>
                    <a:pt x="0" y="3625"/>
                  </a:lnTo>
                  <a:lnTo>
                    <a:pt x="0" y="3603"/>
                  </a:lnTo>
                  <a:lnTo>
                    <a:pt x="0" y="3581"/>
                  </a:lnTo>
                  <a:lnTo>
                    <a:pt x="3" y="3559"/>
                  </a:lnTo>
                  <a:lnTo>
                    <a:pt x="5" y="3537"/>
                  </a:lnTo>
                  <a:lnTo>
                    <a:pt x="8" y="3514"/>
                  </a:lnTo>
                  <a:lnTo>
                    <a:pt x="507" y="523"/>
                  </a:lnTo>
                  <a:lnTo>
                    <a:pt x="510" y="501"/>
                  </a:lnTo>
                  <a:lnTo>
                    <a:pt x="516" y="479"/>
                  </a:lnTo>
                  <a:lnTo>
                    <a:pt x="521" y="457"/>
                  </a:lnTo>
                  <a:lnTo>
                    <a:pt x="527" y="437"/>
                  </a:lnTo>
                  <a:lnTo>
                    <a:pt x="534" y="416"/>
                  </a:lnTo>
                  <a:lnTo>
                    <a:pt x="541" y="396"/>
                  </a:lnTo>
                  <a:lnTo>
                    <a:pt x="550" y="376"/>
                  </a:lnTo>
                  <a:lnTo>
                    <a:pt x="560" y="357"/>
                  </a:lnTo>
                  <a:lnTo>
                    <a:pt x="570" y="339"/>
                  </a:lnTo>
                  <a:lnTo>
                    <a:pt x="580" y="320"/>
                  </a:lnTo>
                  <a:lnTo>
                    <a:pt x="592" y="303"/>
                  </a:lnTo>
                  <a:lnTo>
                    <a:pt x="604" y="286"/>
                  </a:lnTo>
                  <a:lnTo>
                    <a:pt x="617" y="270"/>
                  </a:lnTo>
                  <a:lnTo>
                    <a:pt x="631" y="254"/>
                  </a:lnTo>
                  <a:lnTo>
                    <a:pt x="646" y="239"/>
                  </a:lnTo>
                  <a:lnTo>
                    <a:pt x="661" y="224"/>
                  </a:lnTo>
                  <a:lnTo>
                    <a:pt x="678" y="211"/>
                  </a:lnTo>
                  <a:lnTo>
                    <a:pt x="694" y="198"/>
                  </a:lnTo>
                  <a:lnTo>
                    <a:pt x="712" y="185"/>
                  </a:lnTo>
                  <a:lnTo>
                    <a:pt x="730" y="173"/>
                  </a:lnTo>
                  <a:lnTo>
                    <a:pt x="750" y="163"/>
                  </a:lnTo>
                  <a:lnTo>
                    <a:pt x="770" y="153"/>
                  </a:lnTo>
                  <a:lnTo>
                    <a:pt x="791" y="143"/>
                  </a:lnTo>
                  <a:lnTo>
                    <a:pt x="814" y="135"/>
                  </a:lnTo>
                  <a:lnTo>
                    <a:pt x="836" y="127"/>
                  </a:lnTo>
                  <a:lnTo>
                    <a:pt x="859" y="121"/>
                  </a:lnTo>
                  <a:lnTo>
                    <a:pt x="884" y="114"/>
                  </a:lnTo>
                  <a:lnTo>
                    <a:pt x="909" y="109"/>
                  </a:lnTo>
                  <a:lnTo>
                    <a:pt x="936" y="104"/>
                  </a:lnTo>
                  <a:lnTo>
                    <a:pt x="962" y="101"/>
                  </a:lnTo>
                  <a:lnTo>
                    <a:pt x="990" y="99"/>
                  </a:lnTo>
                  <a:lnTo>
                    <a:pt x="1019" y="97"/>
                  </a:lnTo>
                  <a:lnTo>
                    <a:pt x="3523" y="0"/>
                  </a:lnTo>
                  <a:lnTo>
                    <a:pt x="3544" y="0"/>
                  </a:lnTo>
                  <a:lnTo>
                    <a:pt x="3564" y="2"/>
                  </a:lnTo>
                  <a:lnTo>
                    <a:pt x="3584" y="6"/>
                  </a:lnTo>
                  <a:lnTo>
                    <a:pt x="3603" y="13"/>
                  </a:lnTo>
                  <a:lnTo>
                    <a:pt x="3622" y="20"/>
                  </a:lnTo>
                  <a:lnTo>
                    <a:pt x="3638" y="30"/>
                  </a:lnTo>
                  <a:lnTo>
                    <a:pt x="3654" y="41"/>
                  </a:lnTo>
                  <a:lnTo>
                    <a:pt x="3668" y="53"/>
                  </a:lnTo>
                  <a:lnTo>
                    <a:pt x="3680" y="67"/>
                  </a:lnTo>
                  <a:lnTo>
                    <a:pt x="3692" y="82"/>
                  </a:lnTo>
                  <a:lnTo>
                    <a:pt x="3696" y="89"/>
                  </a:lnTo>
                  <a:lnTo>
                    <a:pt x="3700" y="98"/>
                  </a:lnTo>
                  <a:lnTo>
                    <a:pt x="3705" y="106"/>
                  </a:lnTo>
                  <a:lnTo>
                    <a:pt x="3708" y="115"/>
                  </a:lnTo>
                  <a:lnTo>
                    <a:pt x="3710" y="124"/>
                  </a:lnTo>
                  <a:lnTo>
                    <a:pt x="3713" y="132"/>
                  </a:lnTo>
                  <a:lnTo>
                    <a:pt x="3715" y="142"/>
                  </a:lnTo>
                  <a:lnTo>
                    <a:pt x="3716" y="152"/>
                  </a:lnTo>
                  <a:lnTo>
                    <a:pt x="3717" y="162"/>
                  </a:lnTo>
                  <a:lnTo>
                    <a:pt x="3717" y="171"/>
                  </a:lnTo>
                  <a:lnTo>
                    <a:pt x="3716" y="182"/>
                  </a:lnTo>
                  <a:lnTo>
                    <a:pt x="3715" y="192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7" name="Freeform 7"/>
            <p:cNvSpPr>
              <a:spLocks/>
            </p:cNvSpPr>
            <p:nvPr userDrawn="1"/>
          </p:nvSpPr>
          <p:spPr bwMode="auto">
            <a:xfrm>
              <a:off x="8372475" y="3473450"/>
              <a:ext cx="771525" cy="1765300"/>
            </a:xfrm>
            <a:custGeom>
              <a:avLst/>
              <a:gdLst>
                <a:gd name="T0" fmla="*/ 1458 w 1458"/>
                <a:gd name="T1" fmla="*/ 3144 h 3336"/>
                <a:gd name="T2" fmla="*/ 190 w 1458"/>
                <a:gd name="T3" fmla="*/ 3335 h 3336"/>
                <a:gd name="T4" fmla="*/ 180 w 1458"/>
                <a:gd name="T5" fmla="*/ 3336 h 3336"/>
                <a:gd name="T6" fmla="*/ 170 w 1458"/>
                <a:gd name="T7" fmla="*/ 3336 h 3336"/>
                <a:gd name="T8" fmla="*/ 160 w 1458"/>
                <a:gd name="T9" fmla="*/ 3336 h 3336"/>
                <a:gd name="T10" fmla="*/ 150 w 1458"/>
                <a:gd name="T11" fmla="*/ 3336 h 3336"/>
                <a:gd name="T12" fmla="*/ 140 w 1458"/>
                <a:gd name="T13" fmla="*/ 3334 h 3336"/>
                <a:gd name="T14" fmla="*/ 131 w 1458"/>
                <a:gd name="T15" fmla="*/ 3333 h 3336"/>
                <a:gd name="T16" fmla="*/ 122 w 1458"/>
                <a:gd name="T17" fmla="*/ 3329 h 3336"/>
                <a:gd name="T18" fmla="*/ 112 w 1458"/>
                <a:gd name="T19" fmla="*/ 3327 h 3336"/>
                <a:gd name="T20" fmla="*/ 104 w 1458"/>
                <a:gd name="T21" fmla="*/ 3323 h 3336"/>
                <a:gd name="T22" fmla="*/ 96 w 1458"/>
                <a:gd name="T23" fmla="*/ 3320 h 3336"/>
                <a:gd name="T24" fmla="*/ 87 w 1458"/>
                <a:gd name="T25" fmla="*/ 3315 h 3336"/>
                <a:gd name="T26" fmla="*/ 80 w 1458"/>
                <a:gd name="T27" fmla="*/ 3310 h 3336"/>
                <a:gd name="T28" fmla="*/ 65 w 1458"/>
                <a:gd name="T29" fmla="*/ 3299 h 3336"/>
                <a:gd name="T30" fmla="*/ 52 w 1458"/>
                <a:gd name="T31" fmla="*/ 3286 h 3336"/>
                <a:gd name="T32" fmla="*/ 39 w 1458"/>
                <a:gd name="T33" fmla="*/ 3271 h 3336"/>
                <a:gd name="T34" fmla="*/ 28 w 1458"/>
                <a:gd name="T35" fmla="*/ 3256 h 3336"/>
                <a:gd name="T36" fmla="*/ 19 w 1458"/>
                <a:gd name="T37" fmla="*/ 3239 h 3336"/>
                <a:gd name="T38" fmla="*/ 12 w 1458"/>
                <a:gd name="T39" fmla="*/ 3220 h 3336"/>
                <a:gd name="T40" fmla="*/ 6 w 1458"/>
                <a:gd name="T41" fmla="*/ 3202 h 3336"/>
                <a:gd name="T42" fmla="*/ 2 w 1458"/>
                <a:gd name="T43" fmla="*/ 3181 h 3336"/>
                <a:gd name="T44" fmla="*/ 0 w 1458"/>
                <a:gd name="T45" fmla="*/ 3162 h 3336"/>
                <a:gd name="T46" fmla="*/ 0 w 1458"/>
                <a:gd name="T47" fmla="*/ 3140 h 3336"/>
                <a:gd name="T48" fmla="*/ 138 w 1458"/>
                <a:gd name="T49" fmla="*/ 638 h 3336"/>
                <a:gd name="T50" fmla="*/ 139 w 1458"/>
                <a:gd name="T51" fmla="*/ 609 h 3336"/>
                <a:gd name="T52" fmla="*/ 143 w 1458"/>
                <a:gd name="T53" fmla="*/ 582 h 3336"/>
                <a:gd name="T54" fmla="*/ 147 w 1458"/>
                <a:gd name="T55" fmla="*/ 555 h 3336"/>
                <a:gd name="T56" fmla="*/ 151 w 1458"/>
                <a:gd name="T57" fmla="*/ 529 h 3336"/>
                <a:gd name="T58" fmla="*/ 157 w 1458"/>
                <a:gd name="T59" fmla="*/ 504 h 3336"/>
                <a:gd name="T60" fmla="*/ 163 w 1458"/>
                <a:gd name="T61" fmla="*/ 480 h 3336"/>
                <a:gd name="T62" fmla="*/ 171 w 1458"/>
                <a:gd name="T63" fmla="*/ 456 h 3336"/>
                <a:gd name="T64" fmla="*/ 179 w 1458"/>
                <a:gd name="T65" fmla="*/ 433 h 3336"/>
                <a:gd name="T66" fmla="*/ 188 w 1458"/>
                <a:gd name="T67" fmla="*/ 412 h 3336"/>
                <a:gd name="T68" fmla="*/ 198 w 1458"/>
                <a:gd name="T69" fmla="*/ 391 h 3336"/>
                <a:gd name="T70" fmla="*/ 208 w 1458"/>
                <a:gd name="T71" fmla="*/ 371 h 3336"/>
                <a:gd name="T72" fmla="*/ 219 w 1458"/>
                <a:gd name="T73" fmla="*/ 351 h 3336"/>
                <a:gd name="T74" fmla="*/ 231 w 1458"/>
                <a:gd name="T75" fmla="*/ 333 h 3336"/>
                <a:gd name="T76" fmla="*/ 244 w 1458"/>
                <a:gd name="T77" fmla="*/ 316 h 3336"/>
                <a:gd name="T78" fmla="*/ 257 w 1458"/>
                <a:gd name="T79" fmla="*/ 299 h 3336"/>
                <a:gd name="T80" fmla="*/ 271 w 1458"/>
                <a:gd name="T81" fmla="*/ 283 h 3336"/>
                <a:gd name="T82" fmla="*/ 286 w 1458"/>
                <a:gd name="T83" fmla="*/ 268 h 3336"/>
                <a:gd name="T84" fmla="*/ 301 w 1458"/>
                <a:gd name="T85" fmla="*/ 253 h 3336"/>
                <a:gd name="T86" fmla="*/ 318 w 1458"/>
                <a:gd name="T87" fmla="*/ 240 h 3336"/>
                <a:gd name="T88" fmla="*/ 334 w 1458"/>
                <a:gd name="T89" fmla="*/ 227 h 3336"/>
                <a:gd name="T90" fmla="*/ 351 w 1458"/>
                <a:gd name="T91" fmla="*/ 215 h 3336"/>
                <a:gd name="T92" fmla="*/ 368 w 1458"/>
                <a:gd name="T93" fmla="*/ 203 h 3336"/>
                <a:gd name="T94" fmla="*/ 387 w 1458"/>
                <a:gd name="T95" fmla="*/ 194 h 3336"/>
                <a:gd name="T96" fmla="*/ 405 w 1458"/>
                <a:gd name="T97" fmla="*/ 184 h 3336"/>
                <a:gd name="T98" fmla="*/ 424 w 1458"/>
                <a:gd name="T99" fmla="*/ 174 h 3336"/>
                <a:gd name="T100" fmla="*/ 444 w 1458"/>
                <a:gd name="T101" fmla="*/ 167 h 3336"/>
                <a:gd name="T102" fmla="*/ 464 w 1458"/>
                <a:gd name="T103" fmla="*/ 159 h 3336"/>
                <a:gd name="T104" fmla="*/ 485 w 1458"/>
                <a:gd name="T105" fmla="*/ 153 h 3336"/>
                <a:gd name="T106" fmla="*/ 507 w 1458"/>
                <a:gd name="T107" fmla="*/ 146 h 3336"/>
                <a:gd name="T108" fmla="*/ 528 w 1458"/>
                <a:gd name="T109" fmla="*/ 141 h 3336"/>
                <a:gd name="T110" fmla="*/ 550 w 1458"/>
                <a:gd name="T111" fmla="*/ 136 h 3336"/>
                <a:gd name="T112" fmla="*/ 572 w 1458"/>
                <a:gd name="T113" fmla="*/ 133 h 3336"/>
                <a:gd name="T114" fmla="*/ 1458 w 1458"/>
                <a:gd name="T115" fmla="*/ 0 h 3336"/>
                <a:gd name="T116" fmla="*/ 1458 w 1458"/>
                <a:gd name="T117" fmla="*/ 3144 h 3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58" h="3336">
                  <a:moveTo>
                    <a:pt x="1458" y="3144"/>
                  </a:moveTo>
                  <a:lnTo>
                    <a:pt x="190" y="3335"/>
                  </a:lnTo>
                  <a:lnTo>
                    <a:pt x="180" y="3336"/>
                  </a:lnTo>
                  <a:lnTo>
                    <a:pt x="170" y="3336"/>
                  </a:lnTo>
                  <a:lnTo>
                    <a:pt x="160" y="3336"/>
                  </a:lnTo>
                  <a:lnTo>
                    <a:pt x="150" y="3336"/>
                  </a:lnTo>
                  <a:lnTo>
                    <a:pt x="140" y="3334"/>
                  </a:lnTo>
                  <a:lnTo>
                    <a:pt x="131" y="3333"/>
                  </a:lnTo>
                  <a:lnTo>
                    <a:pt x="122" y="3329"/>
                  </a:lnTo>
                  <a:lnTo>
                    <a:pt x="112" y="3327"/>
                  </a:lnTo>
                  <a:lnTo>
                    <a:pt x="104" y="3323"/>
                  </a:lnTo>
                  <a:lnTo>
                    <a:pt x="96" y="3320"/>
                  </a:lnTo>
                  <a:lnTo>
                    <a:pt x="87" y="3315"/>
                  </a:lnTo>
                  <a:lnTo>
                    <a:pt x="80" y="3310"/>
                  </a:lnTo>
                  <a:lnTo>
                    <a:pt x="65" y="3299"/>
                  </a:lnTo>
                  <a:lnTo>
                    <a:pt x="52" y="3286"/>
                  </a:lnTo>
                  <a:lnTo>
                    <a:pt x="39" y="3271"/>
                  </a:lnTo>
                  <a:lnTo>
                    <a:pt x="28" y="3256"/>
                  </a:lnTo>
                  <a:lnTo>
                    <a:pt x="19" y="3239"/>
                  </a:lnTo>
                  <a:lnTo>
                    <a:pt x="12" y="3220"/>
                  </a:lnTo>
                  <a:lnTo>
                    <a:pt x="6" y="3202"/>
                  </a:lnTo>
                  <a:lnTo>
                    <a:pt x="2" y="3181"/>
                  </a:lnTo>
                  <a:lnTo>
                    <a:pt x="0" y="3162"/>
                  </a:lnTo>
                  <a:lnTo>
                    <a:pt x="0" y="3140"/>
                  </a:lnTo>
                  <a:lnTo>
                    <a:pt x="138" y="638"/>
                  </a:lnTo>
                  <a:lnTo>
                    <a:pt x="139" y="609"/>
                  </a:lnTo>
                  <a:lnTo>
                    <a:pt x="143" y="582"/>
                  </a:lnTo>
                  <a:lnTo>
                    <a:pt x="147" y="555"/>
                  </a:lnTo>
                  <a:lnTo>
                    <a:pt x="151" y="529"/>
                  </a:lnTo>
                  <a:lnTo>
                    <a:pt x="157" y="504"/>
                  </a:lnTo>
                  <a:lnTo>
                    <a:pt x="163" y="480"/>
                  </a:lnTo>
                  <a:lnTo>
                    <a:pt x="171" y="456"/>
                  </a:lnTo>
                  <a:lnTo>
                    <a:pt x="179" y="433"/>
                  </a:lnTo>
                  <a:lnTo>
                    <a:pt x="188" y="412"/>
                  </a:lnTo>
                  <a:lnTo>
                    <a:pt x="198" y="391"/>
                  </a:lnTo>
                  <a:lnTo>
                    <a:pt x="208" y="371"/>
                  </a:lnTo>
                  <a:lnTo>
                    <a:pt x="219" y="351"/>
                  </a:lnTo>
                  <a:lnTo>
                    <a:pt x="231" y="333"/>
                  </a:lnTo>
                  <a:lnTo>
                    <a:pt x="244" y="316"/>
                  </a:lnTo>
                  <a:lnTo>
                    <a:pt x="257" y="299"/>
                  </a:lnTo>
                  <a:lnTo>
                    <a:pt x="271" y="283"/>
                  </a:lnTo>
                  <a:lnTo>
                    <a:pt x="286" y="268"/>
                  </a:lnTo>
                  <a:lnTo>
                    <a:pt x="301" y="253"/>
                  </a:lnTo>
                  <a:lnTo>
                    <a:pt x="318" y="240"/>
                  </a:lnTo>
                  <a:lnTo>
                    <a:pt x="334" y="227"/>
                  </a:lnTo>
                  <a:lnTo>
                    <a:pt x="351" y="215"/>
                  </a:lnTo>
                  <a:lnTo>
                    <a:pt x="368" y="203"/>
                  </a:lnTo>
                  <a:lnTo>
                    <a:pt x="387" y="194"/>
                  </a:lnTo>
                  <a:lnTo>
                    <a:pt x="405" y="184"/>
                  </a:lnTo>
                  <a:lnTo>
                    <a:pt x="424" y="174"/>
                  </a:lnTo>
                  <a:lnTo>
                    <a:pt x="444" y="167"/>
                  </a:lnTo>
                  <a:lnTo>
                    <a:pt x="464" y="159"/>
                  </a:lnTo>
                  <a:lnTo>
                    <a:pt x="485" y="153"/>
                  </a:lnTo>
                  <a:lnTo>
                    <a:pt x="507" y="146"/>
                  </a:lnTo>
                  <a:lnTo>
                    <a:pt x="528" y="141"/>
                  </a:lnTo>
                  <a:lnTo>
                    <a:pt x="550" y="136"/>
                  </a:lnTo>
                  <a:lnTo>
                    <a:pt x="572" y="133"/>
                  </a:lnTo>
                  <a:lnTo>
                    <a:pt x="1458" y="0"/>
                  </a:lnTo>
                  <a:lnTo>
                    <a:pt x="1458" y="3144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9" name="Freeform 9"/>
            <p:cNvSpPr>
              <a:spLocks/>
            </p:cNvSpPr>
            <p:nvPr userDrawn="1"/>
          </p:nvSpPr>
          <p:spPr bwMode="auto">
            <a:xfrm>
              <a:off x="7999413" y="5721350"/>
              <a:ext cx="1144588" cy="1136650"/>
            </a:xfrm>
            <a:custGeom>
              <a:avLst/>
              <a:gdLst>
                <a:gd name="T0" fmla="*/ 705 w 2162"/>
                <a:gd name="T1" fmla="*/ 2147 h 2147"/>
                <a:gd name="T2" fmla="*/ 17 w 2162"/>
                <a:gd name="T3" fmla="*/ 792 h 2147"/>
                <a:gd name="T4" fmla="*/ 13 w 2162"/>
                <a:gd name="T5" fmla="*/ 782 h 2147"/>
                <a:gd name="T6" fmla="*/ 8 w 2162"/>
                <a:gd name="T7" fmla="*/ 773 h 2147"/>
                <a:gd name="T8" fmla="*/ 5 w 2162"/>
                <a:gd name="T9" fmla="*/ 764 h 2147"/>
                <a:gd name="T10" fmla="*/ 3 w 2162"/>
                <a:gd name="T11" fmla="*/ 754 h 2147"/>
                <a:gd name="T12" fmla="*/ 1 w 2162"/>
                <a:gd name="T13" fmla="*/ 744 h 2147"/>
                <a:gd name="T14" fmla="*/ 0 w 2162"/>
                <a:gd name="T15" fmla="*/ 735 h 2147"/>
                <a:gd name="T16" fmla="*/ 0 w 2162"/>
                <a:gd name="T17" fmla="*/ 726 h 2147"/>
                <a:gd name="T18" fmla="*/ 0 w 2162"/>
                <a:gd name="T19" fmla="*/ 716 h 2147"/>
                <a:gd name="T20" fmla="*/ 0 w 2162"/>
                <a:gd name="T21" fmla="*/ 707 h 2147"/>
                <a:gd name="T22" fmla="*/ 1 w 2162"/>
                <a:gd name="T23" fmla="*/ 698 h 2147"/>
                <a:gd name="T24" fmla="*/ 3 w 2162"/>
                <a:gd name="T25" fmla="*/ 688 h 2147"/>
                <a:gd name="T26" fmla="*/ 5 w 2162"/>
                <a:gd name="T27" fmla="*/ 680 h 2147"/>
                <a:gd name="T28" fmla="*/ 12 w 2162"/>
                <a:gd name="T29" fmla="*/ 662 h 2147"/>
                <a:gd name="T30" fmla="*/ 19 w 2162"/>
                <a:gd name="T31" fmla="*/ 645 h 2147"/>
                <a:gd name="T32" fmla="*/ 29 w 2162"/>
                <a:gd name="T33" fmla="*/ 629 h 2147"/>
                <a:gd name="T34" fmla="*/ 41 w 2162"/>
                <a:gd name="T35" fmla="*/ 614 h 2147"/>
                <a:gd name="T36" fmla="*/ 54 w 2162"/>
                <a:gd name="T37" fmla="*/ 600 h 2147"/>
                <a:gd name="T38" fmla="*/ 69 w 2162"/>
                <a:gd name="T39" fmla="*/ 587 h 2147"/>
                <a:gd name="T40" fmla="*/ 85 w 2162"/>
                <a:gd name="T41" fmla="*/ 576 h 2147"/>
                <a:gd name="T42" fmla="*/ 102 w 2162"/>
                <a:gd name="T43" fmla="*/ 565 h 2147"/>
                <a:gd name="T44" fmla="*/ 121 w 2162"/>
                <a:gd name="T45" fmla="*/ 558 h 2147"/>
                <a:gd name="T46" fmla="*/ 141 w 2162"/>
                <a:gd name="T47" fmla="*/ 551 h 2147"/>
                <a:gd name="T48" fmla="*/ 2162 w 2162"/>
                <a:gd name="T49" fmla="*/ 0 h 2147"/>
                <a:gd name="T50" fmla="*/ 2162 w 2162"/>
                <a:gd name="T51" fmla="*/ 2147 h 2147"/>
                <a:gd name="T52" fmla="*/ 705 w 2162"/>
                <a:gd name="T53" fmla="*/ 2147 h 2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162" h="2147">
                  <a:moveTo>
                    <a:pt x="705" y="2147"/>
                  </a:moveTo>
                  <a:lnTo>
                    <a:pt x="17" y="792"/>
                  </a:lnTo>
                  <a:lnTo>
                    <a:pt x="13" y="782"/>
                  </a:lnTo>
                  <a:lnTo>
                    <a:pt x="8" y="773"/>
                  </a:lnTo>
                  <a:lnTo>
                    <a:pt x="5" y="764"/>
                  </a:lnTo>
                  <a:lnTo>
                    <a:pt x="3" y="754"/>
                  </a:lnTo>
                  <a:lnTo>
                    <a:pt x="1" y="744"/>
                  </a:lnTo>
                  <a:lnTo>
                    <a:pt x="0" y="735"/>
                  </a:lnTo>
                  <a:lnTo>
                    <a:pt x="0" y="726"/>
                  </a:lnTo>
                  <a:lnTo>
                    <a:pt x="0" y="716"/>
                  </a:lnTo>
                  <a:lnTo>
                    <a:pt x="0" y="707"/>
                  </a:lnTo>
                  <a:lnTo>
                    <a:pt x="1" y="698"/>
                  </a:lnTo>
                  <a:lnTo>
                    <a:pt x="3" y="688"/>
                  </a:lnTo>
                  <a:lnTo>
                    <a:pt x="5" y="680"/>
                  </a:lnTo>
                  <a:lnTo>
                    <a:pt x="12" y="662"/>
                  </a:lnTo>
                  <a:lnTo>
                    <a:pt x="19" y="645"/>
                  </a:lnTo>
                  <a:lnTo>
                    <a:pt x="29" y="629"/>
                  </a:lnTo>
                  <a:lnTo>
                    <a:pt x="41" y="614"/>
                  </a:lnTo>
                  <a:lnTo>
                    <a:pt x="54" y="600"/>
                  </a:lnTo>
                  <a:lnTo>
                    <a:pt x="69" y="587"/>
                  </a:lnTo>
                  <a:lnTo>
                    <a:pt x="85" y="576"/>
                  </a:lnTo>
                  <a:lnTo>
                    <a:pt x="102" y="565"/>
                  </a:lnTo>
                  <a:lnTo>
                    <a:pt x="121" y="558"/>
                  </a:lnTo>
                  <a:lnTo>
                    <a:pt x="141" y="551"/>
                  </a:lnTo>
                  <a:lnTo>
                    <a:pt x="2162" y="0"/>
                  </a:lnTo>
                  <a:lnTo>
                    <a:pt x="2162" y="2147"/>
                  </a:lnTo>
                  <a:lnTo>
                    <a:pt x="705" y="2147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1" name="Freeform 11"/>
            <p:cNvSpPr>
              <a:spLocks/>
            </p:cNvSpPr>
            <p:nvPr userDrawn="1"/>
          </p:nvSpPr>
          <p:spPr bwMode="auto">
            <a:xfrm>
              <a:off x="6105525" y="5953125"/>
              <a:ext cx="1589088" cy="904875"/>
            </a:xfrm>
            <a:custGeom>
              <a:avLst/>
              <a:gdLst>
                <a:gd name="T0" fmla="*/ 0 w 3003"/>
                <a:gd name="T1" fmla="*/ 1709 h 1709"/>
                <a:gd name="T2" fmla="*/ 1688 w 3003"/>
                <a:gd name="T3" fmla="*/ 45 h 1709"/>
                <a:gd name="T4" fmla="*/ 1695 w 3003"/>
                <a:gd name="T5" fmla="*/ 39 h 1709"/>
                <a:gd name="T6" fmla="*/ 1704 w 3003"/>
                <a:gd name="T7" fmla="*/ 32 h 1709"/>
                <a:gd name="T8" fmla="*/ 1711 w 3003"/>
                <a:gd name="T9" fmla="*/ 26 h 1709"/>
                <a:gd name="T10" fmla="*/ 1720 w 3003"/>
                <a:gd name="T11" fmla="*/ 20 h 1709"/>
                <a:gd name="T12" fmla="*/ 1729 w 3003"/>
                <a:gd name="T13" fmla="*/ 16 h 1709"/>
                <a:gd name="T14" fmla="*/ 1737 w 3003"/>
                <a:gd name="T15" fmla="*/ 12 h 1709"/>
                <a:gd name="T16" fmla="*/ 1746 w 3003"/>
                <a:gd name="T17" fmla="*/ 8 h 1709"/>
                <a:gd name="T18" fmla="*/ 1755 w 3003"/>
                <a:gd name="T19" fmla="*/ 6 h 1709"/>
                <a:gd name="T20" fmla="*/ 1764 w 3003"/>
                <a:gd name="T21" fmla="*/ 3 h 1709"/>
                <a:gd name="T22" fmla="*/ 1773 w 3003"/>
                <a:gd name="T23" fmla="*/ 2 h 1709"/>
                <a:gd name="T24" fmla="*/ 1783 w 3003"/>
                <a:gd name="T25" fmla="*/ 1 h 1709"/>
                <a:gd name="T26" fmla="*/ 1791 w 3003"/>
                <a:gd name="T27" fmla="*/ 0 h 1709"/>
                <a:gd name="T28" fmla="*/ 1811 w 3003"/>
                <a:gd name="T29" fmla="*/ 0 h 1709"/>
                <a:gd name="T30" fmla="*/ 1829 w 3003"/>
                <a:gd name="T31" fmla="*/ 3 h 1709"/>
                <a:gd name="T32" fmla="*/ 1847 w 3003"/>
                <a:gd name="T33" fmla="*/ 7 h 1709"/>
                <a:gd name="T34" fmla="*/ 1865 w 3003"/>
                <a:gd name="T35" fmla="*/ 14 h 1709"/>
                <a:gd name="T36" fmla="*/ 1882 w 3003"/>
                <a:gd name="T37" fmla="*/ 22 h 1709"/>
                <a:gd name="T38" fmla="*/ 1899 w 3003"/>
                <a:gd name="T39" fmla="*/ 32 h 1709"/>
                <a:gd name="T40" fmla="*/ 1914 w 3003"/>
                <a:gd name="T41" fmla="*/ 44 h 1709"/>
                <a:gd name="T42" fmla="*/ 1930 w 3003"/>
                <a:gd name="T43" fmla="*/ 58 h 1709"/>
                <a:gd name="T44" fmla="*/ 1944 w 3003"/>
                <a:gd name="T45" fmla="*/ 73 h 1709"/>
                <a:gd name="T46" fmla="*/ 1955 w 3003"/>
                <a:gd name="T47" fmla="*/ 90 h 1709"/>
                <a:gd name="T48" fmla="*/ 3003 w 3003"/>
                <a:gd name="T49" fmla="*/ 1709 h 1709"/>
                <a:gd name="T50" fmla="*/ 0 w 3003"/>
                <a:gd name="T51" fmla="*/ 1709 h 1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03" h="1709">
                  <a:moveTo>
                    <a:pt x="0" y="1709"/>
                  </a:moveTo>
                  <a:lnTo>
                    <a:pt x="1688" y="45"/>
                  </a:lnTo>
                  <a:lnTo>
                    <a:pt x="1695" y="39"/>
                  </a:lnTo>
                  <a:lnTo>
                    <a:pt x="1704" y="32"/>
                  </a:lnTo>
                  <a:lnTo>
                    <a:pt x="1711" y="26"/>
                  </a:lnTo>
                  <a:lnTo>
                    <a:pt x="1720" y="20"/>
                  </a:lnTo>
                  <a:lnTo>
                    <a:pt x="1729" y="16"/>
                  </a:lnTo>
                  <a:lnTo>
                    <a:pt x="1737" y="12"/>
                  </a:lnTo>
                  <a:lnTo>
                    <a:pt x="1746" y="8"/>
                  </a:lnTo>
                  <a:lnTo>
                    <a:pt x="1755" y="6"/>
                  </a:lnTo>
                  <a:lnTo>
                    <a:pt x="1764" y="3"/>
                  </a:lnTo>
                  <a:lnTo>
                    <a:pt x="1773" y="2"/>
                  </a:lnTo>
                  <a:lnTo>
                    <a:pt x="1783" y="1"/>
                  </a:lnTo>
                  <a:lnTo>
                    <a:pt x="1791" y="0"/>
                  </a:lnTo>
                  <a:lnTo>
                    <a:pt x="1811" y="0"/>
                  </a:lnTo>
                  <a:lnTo>
                    <a:pt x="1829" y="3"/>
                  </a:lnTo>
                  <a:lnTo>
                    <a:pt x="1847" y="7"/>
                  </a:lnTo>
                  <a:lnTo>
                    <a:pt x="1865" y="14"/>
                  </a:lnTo>
                  <a:lnTo>
                    <a:pt x="1882" y="22"/>
                  </a:lnTo>
                  <a:lnTo>
                    <a:pt x="1899" y="32"/>
                  </a:lnTo>
                  <a:lnTo>
                    <a:pt x="1914" y="44"/>
                  </a:lnTo>
                  <a:lnTo>
                    <a:pt x="1930" y="58"/>
                  </a:lnTo>
                  <a:lnTo>
                    <a:pt x="1944" y="73"/>
                  </a:lnTo>
                  <a:lnTo>
                    <a:pt x="1955" y="90"/>
                  </a:lnTo>
                  <a:lnTo>
                    <a:pt x="3003" y="1709"/>
                  </a:lnTo>
                  <a:lnTo>
                    <a:pt x="0" y="1709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3" name="Freeform 13"/>
            <p:cNvSpPr>
              <a:spLocks/>
            </p:cNvSpPr>
            <p:nvPr userDrawn="1"/>
          </p:nvSpPr>
          <p:spPr bwMode="auto">
            <a:xfrm>
              <a:off x="4116388" y="3810000"/>
              <a:ext cx="2773363" cy="2447925"/>
            </a:xfrm>
            <a:custGeom>
              <a:avLst/>
              <a:gdLst>
                <a:gd name="T0" fmla="*/ 5156 w 5241"/>
                <a:gd name="T1" fmla="*/ 2193 h 4627"/>
                <a:gd name="T2" fmla="*/ 5173 w 5241"/>
                <a:gd name="T3" fmla="*/ 2204 h 4627"/>
                <a:gd name="T4" fmla="*/ 5190 w 5241"/>
                <a:gd name="T5" fmla="*/ 2216 h 4627"/>
                <a:gd name="T6" fmla="*/ 5203 w 5241"/>
                <a:gd name="T7" fmla="*/ 2230 h 4627"/>
                <a:gd name="T8" fmla="*/ 5214 w 5241"/>
                <a:gd name="T9" fmla="*/ 2244 h 4627"/>
                <a:gd name="T10" fmla="*/ 5224 w 5241"/>
                <a:gd name="T11" fmla="*/ 2260 h 4627"/>
                <a:gd name="T12" fmla="*/ 5232 w 5241"/>
                <a:gd name="T13" fmla="*/ 2278 h 4627"/>
                <a:gd name="T14" fmla="*/ 5240 w 5241"/>
                <a:gd name="T15" fmla="*/ 2314 h 4627"/>
                <a:gd name="T16" fmla="*/ 5241 w 5241"/>
                <a:gd name="T17" fmla="*/ 2352 h 4627"/>
                <a:gd name="T18" fmla="*/ 5234 w 5241"/>
                <a:gd name="T19" fmla="*/ 2390 h 4627"/>
                <a:gd name="T20" fmla="*/ 5219 w 5241"/>
                <a:gd name="T21" fmla="*/ 2427 h 4627"/>
                <a:gd name="T22" fmla="*/ 5196 w 5241"/>
                <a:gd name="T23" fmla="*/ 2461 h 4627"/>
                <a:gd name="T24" fmla="*/ 3600 w 5241"/>
                <a:gd name="T25" fmla="*/ 4431 h 4627"/>
                <a:gd name="T26" fmla="*/ 3563 w 5241"/>
                <a:gd name="T27" fmla="*/ 4471 h 4627"/>
                <a:gd name="T28" fmla="*/ 3524 w 5241"/>
                <a:gd name="T29" fmla="*/ 4506 h 4627"/>
                <a:gd name="T30" fmla="*/ 3485 w 5241"/>
                <a:gd name="T31" fmla="*/ 4537 h 4627"/>
                <a:gd name="T32" fmla="*/ 3445 w 5241"/>
                <a:gd name="T33" fmla="*/ 4562 h 4627"/>
                <a:gd name="T34" fmla="*/ 3405 w 5241"/>
                <a:gd name="T35" fmla="*/ 4584 h 4627"/>
                <a:gd name="T36" fmla="*/ 3364 w 5241"/>
                <a:gd name="T37" fmla="*/ 4601 h 4627"/>
                <a:gd name="T38" fmla="*/ 3323 w 5241"/>
                <a:gd name="T39" fmla="*/ 4614 h 4627"/>
                <a:gd name="T40" fmla="*/ 3281 w 5241"/>
                <a:gd name="T41" fmla="*/ 4623 h 4627"/>
                <a:gd name="T42" fmla="*/ 3240 w 5241"/>
                <a:gd name="T43" fmla="*/ 4627 h 4627"/>
                <a:gd name="T44" fmla="*/ 3198 w 5241"/>
                <a:gd name="T45" fmla="*/ 4627 h 4627"/>
                <a:gd name="T46" fmla="*/ 3157 w 5241"/>
                <a:gd name="T47" fmla="*/ 4624 h 4627"/>
                <a:gd name="T48" fmla="*/ 3115 w 5241"/>
                <a:gd name="T49" fmla="*/ 4616 h 4627"/>
                <a:gd name="T50" fmla="*/ 3073 w 5241"/>
                <a:gd name="T51" fmla="*/ 4606 h 4627"/>
                <a:gd name="T52" fmla="*/ 3032 w 5241"/>
                <a:gd name="T53" fmla="*/ 4592 h 4627"/>
                <a:gd name="T54" fmla="*/ 2991 w 5241"/>
                <a:gd name="T55" fmla="*/ 4574 h 4627"/>
                <a:gd name="T56" fmla="*/ 277 w 5241"/>
                <a:gd name="T57" fmla="*/ 3172 h 4627"/>
                <a:gd name="T58" fmla="*/ 237 w 5241"/>
                <a:gd name="T59" fmla="*/ 3150 h 4627"/>
                <a:gd name="T60" fmla="*/ 200 w 5241"/>
                <a:gd name="T61" fmla="*/ 3125 h 4627"/>
                <a:gd name="T62" fmla="*/ 166 w 5241"/>
                <a:gd name="T63" fmla="*/ 3099 h 4627"/>
                <a:gd name="T64" fmla="*/ 134 w 5241"/>
                <a:gd name="T65" fmla="*/ 3070 h 4627"/>
                <a:gd name="T66" fmla="*/ 106 w 5241"/>
                <a:gd name="T67" fmla="*/ 3039 h 4627"/>
                <a:gd name="T68" fmla="*/ 81 w 5241"/>
                <a:gd name="T69" fmla="*/ 3006 h 4627"/>
                <a:gd name="T70" fmla="*/ 58 w 5241"/>
                <a:gd name="T71" fmla="*/ 2971 h 4627"/>
                <a:gd name="T72" fmla="*/ 40 w 5241"/>
                <a:gd name="T73" fmla="*/ 2933 h 4627"/>
                <a:gd name="T74" fmla="*/ 24 w 5241"/>
                <a:gd name="T75" fmla="*/ 2893 h 4627"/>
                <a:gd name="T76" fmla="*/ 13 w 5241"/>
                <a:gd name="T77" fmla="*/ 2851 h 4627"/>
                <a:gd name="T78" fmla="*/ 4 w 5241"/>
                <a:gd name="T79" fmla="*/ 2807 h 4627"/>
                <a:gd name="T80" fmla="*/ 1 w 5241"/>
                <a:gd name="T81" fmla="*/ 2761 h 4627"/>
                <a:gd name="T82" fmla="*/ 1 w 5241"/>
                <a:gd name="T83" fmla="*/ 2713 h 4627"/>
                <a:gd name="T84" fmla="*/ 6 w 5241"/>
                <a:gd name="T85" fmla="*/ 2662 h 4627"/>
                <a:gd name="T86" fmla="*/ 14 w 5241"/>
                <a:gd name="T87" fmla="*/ 2609 h 4627"/>
                <a:gd name="T88" fmla="*/ 28 w 5241"/>
                <a:gd name="T89" fmla="*/ 2554 h 4627"/>
                <a:gd name="T90" fmla="*/ 711 w 5241"/>
                <a:gd name="T91" fmla="*/ 121 h 4627"/>
                <a:gd name="T92" fmla="*/ 729 w 5241"/>
                <a:gd name="T93" fmla="*/ 84 h 4627"/>
                <a:gd name="T94" fmla="*/ 753 w 5241"/>
                <a:gd name="T95" fmla="*/ 54 h 4627"/>
                <a:gd name="T96" fmla="*/ 782 w 5241"/>
                <a:gd name="T97" fmla="*/ 29 h 4627"/>
                <a:gd name="T98" fmla="*/ 816 w 5241"/>
                <a:gd name="T99" fmla="*/ 11 h 4627"/>
                <a:gd name="T100" fmla="*/ 843 w 5241"/>
                <a:gd name="T101" fmla="*/ 3 h 4627"/>
                <a:gd name="T102" fmla="*/ 861 w 5241"/>
                <a:gd name="T103" fmla="*/ 1 h 4627"/>
                <a:gd name="T104" fmla="*/ 879 w 5241"/>
                <a:gd name="T105" fmla="*/ 0 h 4627"/>
                <a:gd name="T106" fmla="*/ 899 w 5241"/>
                <a:gd name="T107" fmla="*/ 2 h 4627"/>
                <a:gd name="T108" fmla="*/ 917 w 5241"/>
                <a:gd name="T109" fmla="*/ 7 h 4627"/>
                <a:gd name="T110" fmla="*/ 937 w 5241"/>
                <a:gd name="T111" fmla="*/ 13 h 4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241" h="4627">
                  <a:moveTo>
                    <a:pt x="946" y="19"/>
                  </a:moveTo>
                  <a:lnTo>
                    <a:pt x="5156" y="2193"/>
                  </a:lnTo>
                  <a:lnTo>
                    <a:pt x="5165" y="2199"/>
                  </a:lnTo>
                  <a:lnTo>
                    <a:pt x="5173" y="2204"/>
                  </a:lnTo>
                  <a:lnTo>
                    <a:pt x="5182" y="2210"/>
                  </a:lnTo>
                  <a:lnTo>
                    <a:pt x="5190" y="2216"/>
                  </a:lnTo>
                  <a:lnTo>
                    <a:pt x="5196" y="2223"/>
                  </a:lnTo>
                  <a:lnTo>
                    <a:pt x="5203" y="2230"/>
                  </a:lnTo>
                  <a:lnTo>
                    <a:pt x="5209" y="2237"/>
                  </a:lnTo>
                  <a:lnTo>
                    <a:pt x="5214" y="2244"/>
                  </a:lnTo>
                  <a:lnTo>
                    <a:pt x="5220" y="2253"/>
                  </a:lnTo>
                  <a:lnTo>
                    <a:pt x="5224" y="2260"/>
                  </a:lnTo>
                  <a:lnTo>
                    <a:pt x="5228" y="2269"/>
                  </a:lnTo>
                  <a:lnTo>
                    <a:pt x="5232" y="2278"/>
                  </a:lnTo>
                  <a:lnTo>
                    <a:pt x="5237" y="2296"/>
                  </a:lnTo>
                  <a:lnTo>
                    <a:pt x="5240" y="2314"/>
                  </a:lnTo>
                  <a:lnTo>
                    <a:pt x="5241" y="2333"/>
                  </a:lnTo>
                  <a:lnTo>
                    <a:pt x="5241" y="2352"/>
                  </a:lnTo>
                  <a:lnTo>
                    <a:pt x="5238" y="2370"/>
                  </a:lnTo>
                  <a:lnTo>
                    <a:pt x="5234" y="2390"/>
                  </a:lnTo>
                  <a:lnTo>
                    <a:pt x="5227" y="2408"/>
                  </a:lnTo>
                  <a:lnTo>
                    <a:pt x="5219" y="2427"/>
                  </a:lnTo>
                  <a:lnTo>
                    <a:pt x="5209" y="2445"/>
                  </a:lnTo>
                  <a:lnTo>
                    <a:pt x="5196" y="2461"/>
                  </a:lnTo>
                  <a:lnTo>
                    <a:pt x="3619" y="4409"/>
                  </a:lnTo>
                  <a:lnTo>
                    <a:pt x="3600" y="4431"/>
                  </a:lnTo>
                  <a:lnTo>
                    <a:pt x="3581" y="4451"/>
                  </a:lnTo>
                  <a:lnTo>
                    <a:pt x="3563" y="4471"/>
                  </a:lnTo>
                  <a:lnTo>
                    <a:pt x="3544" y="4489"/>
                  </a:lnTo>
                  <a:lnTo>
                    <a:pt x="3524" y="4506"/>
                  </a:lnTo>
                  <a:lnTo>
                    <a:pt x="3505" y="4523"/>
                  </a:lnTo>
                  <a:lnTo>
                    <a:pt x="3485" y="4537"/>
                  </a:lnTo>
                  <a:lnTo>
                    <a:pt x="3466" y="4551"/>
                  </a:lnTo>
                  <a:lnTo>
                    <a:pt x="3445" y="4562"/>
                  </a:lnTo>
                  <a:lnTo>
                    <a:pt x="3426" y="4574"/>
                  </a:lnTo>
                  <a:lnTo>
                    <a:pt x="3405" y="4584"/>
                  </a:lnTo>
                  <a:lnTo>
                    <a:pt x="3385" y="4594"/>
                  </a:lnTo>
                  <a:lnTo>
                    <a:pt x="3364" y="4601"/>
                  </a:lnTo>
                  <a:lnTo>
                    <a:pt x="3344" y="4608"/>
                  </a:lnTo>
                  <a:lnTo>
                    <a:pt x="3323" y="4614"/>
                  </a:lnTo>
                  <a:lnTo>
                    <a:pt x="3303" y="4619"/>
                  </a:lnTo>
                  <a:lnTo>
                    <a:pt x="3281" y="4623"/>
                  </a:lnTo>
                  <a:lnTo>
                    <a:pt x="3261" y="4625"/>
                  </a:lnTo>
                  <a:lnTo>
                    <a:pt x="3240" y="4627"/>
                  </a:lnTo>
                  <a:lnTo>
                    <a:pt x="3220" y="4627"/>
                  </a:lnTo>
                  <a:lnTo>
                    <a:pt x="3198" y="4627"/>
                  </a:lnTo>
                  <a:lnTo>
                    <a:pt x="3178" y="4626"/>
                  </a:lnTo>
                  <a:lnTo>
                    <a:pt x="3157" y="4624"/>
                  </a:lnTo>
                  <a:lnTo>
                    <a:pt x="3135" y="4621"/>
                  </a:lnTo>
                  <a:lnTo>
                    <a:pt x="3115" y="4616"/>
                  </a:lnTo>
                  <a:lnTo>
                    <a:pt x="3094" y="4612"/>
                  </a:lnTo>
                  <a:lnTo>
                    <a:pt x="3073" y="4606"/>
                  </a:lnTo>
                  <a:lnTo>
                    <a:pt x="3052" y="4599"/>
                  </a:lnTo>
                  <a:lnTo>
                    <a:pt x="3032" y="4592"/>
                  </a:lnTo>
                  <a:lnTo>
                    <a:pt x="3011" y="4583"/>
                  </a:lnTo>
                  <a:lnTo>
                    <a:pt x="2991" y="4574"/>
                  </a:lnTo>
                  <a:lnTo>
                    <a:pt x="2970" y="4564"/>
                  </a:lnTo>
                  <a:lnTo>
                    <a:pt x="277" y="3172"/>
                  </a:lnTo>
                  <a:lnTo>
                    <a:pt x="256" y="3161"/>
                  </a:lnTo>
                  <a:lnTo>
                    <a:pt x="237" y="3150"/>
                  </a:lnTo>
                  <a:lnTo>
                    <a:pt x="218" y="3138"/>
                  </a:lnTo>
                  <a:lnTo>
                    <a:pt x="200" y="3125"/>
                  </a:lnTo>
                  <a:lnTo>
                    <a:pt x="183" y="3112"/>
                  </a:lnTo>
                  <a:lnTo>
                    <a:pt x="166" y="3099"/>
                  </a:lnTo>
                  <a:lnTo>
                    <a:pt x="150" y="3085"/>
                  </a:lnTo>
                  <a:lnTo>
                    <a:pt x="134" y="3070"/>
                  </a:lnTo>
                  <a:lnTo>
                    <a:pt x="120" y="3055"/>
                  </a:lnTo>
                  <a:lnTo>
                    <a:pt x="106" y="3039"/>
                  </a:lnTo>
                  <a:lnTo>
                    <a:pt x="93" y="3023"/>
                  </a:lnTo>
                  <a:lnTo>
                    <a:pt x="81" y="3006"/>
                  </a:lnTo>
                  <a:lnTo>
                    <a:pt x="69" y="2989"/>
                  </a:lnTo>
                  <a:lnTo>
                    <a:pt x="58" y="2971"/>
                  </a:lnTo>
                  <a:lnTo>
                    <a:pt x="49" y="2952"/>
                  </a:lnTo>
                  <a:lnTo>
                    <a:pt x="40" y="2933"/>
                  </a:lnTo>
                  <a:lnTo>
                    <a:pt x="31" y="2914"/>
                  </a:lnTo>
                  <a:lnTo>
                    <a:pt x="24" y="2893"/>
                  </a:lnTo>
                  <a:lnTo>
                    <a:pt x="17" y="2873"/>
                  </a:lnTo>
                  <a:lnTo>
                    <a:pt x="13" y="2851"/>
                  </a:lnTo>
                  <a:lnTo>
                    <a:pt x="8" y="2829"/>
                  </a:lnTo>
                  <a:lnTo>
                    <a:pt x="4" y="2807"/>
                  </a:lnTo>
                  <a:lnTo>
                    <a:pt x="2" y="2784"/>
                  </a:lnTo>
                  <a:lnTo>
                    <a:pt x="1" y="2761"/>
                  </a:lnTo>
                  <a:lnTo>
                    <a:pt x="0" y="2737"/>
                  </a:lnTo>
                  <a:lnTo>
                    <a:pt x="1" y="2713"/>
                  </a:lnTo>
                  <a:lnTo>
                    <a:pt x="2" y="2687"/>
                  </a:lnTo>
                  <a:lnTo>
                    <a:pt x="6" y="2662"/>
                  </a:lnTo>
                  <a:lnTo>
                    <a:pt x="10" y="2635"/>
                  </a:lnTo>
                  <a:lnTo>
                    <a:pt x="14" y="2609"/>
                  </a:lnTo>
                  <a:lnTo>
                    <a:pt x="21" y="2582"/>
                  </a:lnTo>
                  <a:lnTo>
                    <a:pt x="28" y="2554"/>
                  </a:lnTo>
                  <a:lnTo>
                    <a:pt x="704" y="141"/>
                  </a:lnTo>
                  <a:lnTo>
                    <a:pt x="711" y="121"/>
                  </a:lnTo>
                  <a:lnTo>
                    <a:pt x="718" y="102"/>
                  </a:lnTo>
                  <a:lnTo>
                    <a:pt x="729" y="84"/>
                  </a:lnTo>
                  <a:lnTo>
                    <a:pt x="740" y="68"/>
                  </a:lnTo>
                  <a:lnTo>
                    <a:pt x="753" y="54"/>
                  </a:lnTo>
                  <a:lnTo>
                    <a:pt x="767" y="40"/>
                  </a:lnTo>
                  <a:lnTo>
                    <a:pt x="782" y="29"/>
                  </a:lnTo>
                  <a:lnTo>
                    <a:pt x="798" y="20"/>
                  </a:lnTo>
                  <a:lnTo>
                    <a:pt x="816" y="11"/>
                  </a:lnTo>
                  <a:lnTo>
                    <a:pt x="833" y="6"/>
                  </a:lnTo>
                  <a:lnTo>
                    <a:pt x="843" y="3"/>
                  </a:lnTo>
                  <a:lnTo>
                    <a:pt x="851" y="2"/>
                  </a:lnTo>
                  <a:lnTo>
                    <a:pt x="861" y="1"/>
                  </a:lnTo>
                  <a:lnTo>
                    <a:pt x="871" y="0"/>
                  </a:lnTo>
                  <a:lnTo>
                    <a:pt x="879" y="0"/>
                  </a:lnTo>
                  <a:lnTo>
                    <a:pt x="889" y="1"/>
                  </a:lnTo>
                  <a:lnTo>
                    <a:pt x="899" y="2"/>
                  </a:lnTo>
                  <a:lnTo>
                    <a:pt x="908" y="5"/>
                  </a:lnTo>
                  <a:lnTo>
                    <a:pt x="917" y="7"/>
                  </a:lnTo>
                  <a:lnTo>
                    <a:pt x="927" y="10"/>
                  </a:lnTo>
                  <a:lnTo>
                    <a:pt x="937" y="13"/>
                  </a:lnTo>
                  <a:lnTo>
                    <a:pt x="946" y="19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6385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>
            <a:off x="15" y="3"/>
            <a:ext cx="9906000" cy="948807"/>
          </a:xfrm>
          <a:prstGeom prst="rect">
            <a:avLst/>
          </a:prstGeom>
          <a:solidFill>
            <a:srgbClr val="53575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96392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65" y="1122363"/>
            <a:ext cx="84201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1" y="3602038"/>
            <a:ext cx="74295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53" y="6356394"/>
            <a:ext cx="22288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03508A3-687E-42DC-B001-9C09FAB15517}" type="datetimeFigureOut">
              <a:rPr lang="ru-RU">
                <a:solidFill>
                  <a:prstClr val="black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.02.2020</a:t>
            </a:fld>
            <a:endParaRPr lang="ru-RU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82" y="6356394"/>
            <a:ext cx="3343275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96113" y="6356394"/>
            <a:ext cx="22288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0636AAC-79AD-4DF8-B487-79BCDEFFC817}" type="slidenum">
              <a:rPr lang="ru-RU">
                <a:solidFill>
                  <a:prstClr val="black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391406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44" y="365126"/>
            <a:ext cx="8543925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1044" y="1825625"/>
            <a:ext cx="8543925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53" y="6356394"/>
            <a:ext cx="22288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03508A3-687E-42DC-B001-9C09FAB15517}" type="datetimeFigureOut">
              <a:rPr lang="ru-RU">
                <a:solidFill>
                  <a:prstClr val="black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.02.2020</a:t>
            </a:fld>
            <a:endParaRPr lang="ru-RU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82" y="6356394"/>
            <a:ext cx="3343275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96113" y="6356394"/>
            <a:ext cx="22288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0636AAC-79AD-4DF8-B487-79BCDEFFC817}" type="slidenum">
              <a:rPr lang="ru-RU">
                <a:solidFill>
                  <a:prstClr val="black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276163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53" y="6356394"/>
            <a:ext cx="222885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03508A3-687E-42DC-B001-9C09FAB15517}" type="datetimeFigureOut">
              <a:rPr lang="ru-RU">
                <a:solidFill>
                  <a:prstClr val="black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.02.2020</a:t>
            </a:fld>
            <a:endParaRPr lang="ru-RU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202573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371067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148888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575092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14092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264454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476899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912639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246738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Вертикальный заголовок и текст">
    <p:bg>
      <p:bgPr>
        <a:solidFill>
          <a:srgbClr val="53575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1070" y="1640545"/>
            <a:ext cx="7994929" cy="5217459"/>
          </a:xfrm>
          <a:prstGeom prst="rect">
            <a:avLst/>
          </a:prstGeom>
        </p:spPr>
      </p:pic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>
          <a:xfrm>
            <a:off x="428512" y="548680"/>
            <a:ext cx="5694633" cy="648072"/>
          </a:xfrm>
          <a:prstGeom prst="rect">
            <a:avLst/>
          </a:prstGeom>
        </p:spPr>
        <p:txBody>
          <a:bodyPr/>
          <a:lstStyle>
            <a:lvl1pPr>
              <a:defRPr>
                <a:latin typeface="Road radio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791048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15" y="3"/>
            <a:ext cx="9906000" cy="948807"/>
          </a:xfrm>
          <a:prstGeom prst="rect">
            <a:avLst/>
          </a:prstGeom>
          <a:solidFill>
            <a:srgbClr val="53575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15" y="3"/>
            <a:ext cx="9906000" cy="948807"/>
          </a:xfrm>
          <a:prstGeom prst="rect">
            <a:avLst/>
          </a:prstGeom>
          <a:solidFill>
            <a:srgbClr val="53575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218037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65" y="1122363"/>
            <a:ext cx="84201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1" y="3602038"/>
            <a:ext cx="74295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53" y="6356520"/>
            <a:ext cx="2228850" cy="365125"/>
          </a:xfrm>
          <a:prstGeom prst="rect">
            <a:avLst/>
          </a:prstGeom>
        </p:spPr>
        <p:txBody>
          <a:bodyPr/>
          <a:lstStyle/>
          <a:p>
            <a:fld id="{503508A3-687E-42DC-B001-9C09FAB15517}" type="datetimeFigureOut">
              <a:rPr lang="ru-RU" smtClean="0">
                <a:solidFill>
                  <a:prstClr val="black"/>
                </a:solidFill>
              </a:rPr>
              <a:pPr/>
              <a:t>11.02.2020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84" y="6356520"/>
            <a:ext cx="3343275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96113" y="6356520"/>
            <a:ext cx="2228850" cy="365125"/>
          </a:xfrm>
          <a:prstGeom prst="rect">
            <a:avLst/>
          </a:prstGeom>
        </p:spPr>
        <p:txBody>
          <a:bodyPr/>
          <a:lstStyle/>
          <a:p>
            <a:fld id="{40636AAC-79AD-4DF8-B487-79BCDEFFC817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818737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44" y="365129"/>
            <a:ext cx="8543925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1044" y="1825625"/>
            <a:ext cx="8543925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53" y="6356520"/>
            <a:ext cx="2228850" cy="365125"/>
          </a:xfrm>
          <a:prstGeom prst="rect">
            <a:avLst/>
          </a:prstGeom>
        </p:spPr>
        <p:txBody>
          <a:bodyPr/>
          <a:lstStyle/>
          <a:p>
            <a:fld id="{503508A3-687E-42DC-B001-9C09FAB15517}" type="datetimeFigureOut">
              <a:rPr lang="ru-RU" smtClean="0">
                <a:solidFill>
                  <a:prstClr val="black"/>
                </a:solidFill>
              </a:rPr>
              <a:pPr/>
              <a:t>11.02.2020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84" y="6356520"/>
            <a:ext cx="3343275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96113" y="6356520"/>
            <a:ext cx="2228850" cy="365125"/>
          </a:xfrm>
          <a:prstGeom prst="rect">
            <a:avLst/>
          </a:prstGeom>
        </p:spPr>
        <p:txBody>
          <a:bodyPr/>
          <a:lstStyle/>
          <a:p>
            <a:fld id="{40636AAC-79AD-4DF8-B487-79BCDEFFC817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831853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53" y="6356520"/>
            <a:ext cx="2228850" cy="365125"/>
          </a:xfrm>
          <a:prstGeom prst="rect">
            <a:avLst/>
          </a:prstGeom>
        </p:spPr>
        <p:txBody>
          <a:bodyPr/>
          <a:lstStyle/>
          <a:p>
            <a:fld id="{503508A3-687E-42DC-B001-9C09FAB15517}" type="datetimeFigureOut">
              <a:rPr lang="ru-RU" smtClean="0">
                <a:solidFill>
                  <a:prstClr val="black"/>
                </a:solidFill>
              </a:rPr>
              <a:pPr/>
              <a:t>11.02.2020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97513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916801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56611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770149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375041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8578206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545603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871270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783454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>
            <a:off x="15" y="3"/>
            <a:ext cx="9906000" cy="948807"/>
          </a:xfrm>
          <a:prstGeom prst="rect">
            <a:avLst/>
          </a:prstGeom>
          <a:solidFill>
            <a:srgbClr val="53575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406084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53" y="6356520"/>
            <a:ext cx="2228850" cy="365125"/>
          </a:xfrm>
          <a:prstGeom prst="rect">
            <a:avLst/>
          </a:prstGeom>
        </p:spPr>
        <p:txBody>
          <a:bodyPr/>
          <a:lstStyle/>
          <a:p>
            <a:fld id="{503508A3-687E-42DC-B001-9C09FAB15517}" type="datetimeFigureOut">
              <a:rPr lang="ru-RU" smtClean="0">
                <a:solidFill>
                  <a:prstClr val="black"/>
                </a:solidFill>
              </a:rPr>
              <a:pPr/>
              <a:t>11.02.2020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162004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585946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83145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58655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wmf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.xml"/><Relationship Id="rId13" Type="http://schemas.openxmlformats.org/officeDocument/2006/relationships/slideLayout" Target="../slideLayouts/slideLayout171.xml"/><Relationship Id="rId3" Type="http://schemas.openxmlformats.org/officeDocument/2006/relationships/slideLayout" Target="../slideLayouts/slideLayout161.xml"/><Relationship Id="rId7" Type="http://schemas.openxmlformats.org/officeDocument/2006/relationships/slideLayout" Target="../slideLayouts/slideLayout165.xml"/><Relationship Id="rId12" Type="http://schemas.openxmlformats.org/officeDocument/2006/relationships/slideLayout" Target="../slideLayouts/slideLayout170.xml"/><Relationship Id="rId2" Type="http://schemas.openxmlformats.org/officeDocument/2006/relationships/slideLayout" Target="../slideLayouts/slideLayout160.xml"/><Relationship Id="rId1" Type="http://schemas.openxmlformats.org/officeDocument/2006/relationships/slideLayout" Target="../slideLayouts/slideLayout159.xml"/><Relationship Id="rId6" Type="http://schemas.openxmlformats.org/officeDocument/2006/relationships/slideLayout" Target="../slideLayouts/slideLayout164.xml"/><Relationship Id="rId11" Type="http://schemas.openxmlformats.org/officeDocument/2006/relationships/slideLayout" Target="../slideLayouts/slideLayout169.xml"/><Relationship Id="rId5" Type="http://schemas.openxmlformats.org/officeDocument/2006/relationships/slideLayout" Target="../slideLayouts/slideLayout163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168.xml"/><Relationship Id="rId4" Type="http://schemas.openxmlformats.org/officeDocument/2006/relationships/slideLayout" Target="../slideLayouts/slideLayout162.xml"/><Relationship Id="rId9" Type="http://schemas.openxmlformats.org/officeDocument/2006/relationships/slideLayout" Target="../slideLayouts/slideLayout167.xml"/><Relationship Id="rId14" Type="http://schemas.openxmlformats.org/officeDocument/2006/relationships/theme" Target="../theme/theme1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slideLayout" Target="../slideLayouts/slideLayout4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26" Type="http://schemas.openxmlformats.org/officeDocument/2006/relationships/slideLayout" Target="../slideLayouts/slideLayout68.xml"/><Relationship Id="rId3" Type="http://schemas.openxmlformats.org/officeDocument/2006/relationships/slideLayout" Target="../slideLayouts/slideLayout45.xml"/><Relationship Id="rId21" Type="http://schemas.openxmlformats.org/officeDocument/2006/relationships/slideLayout" Target="../slideLayouts/slideLayout63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5" Type="http://schemas.openxmlformats.org/officeDocument/2006/relationships/slideLayout" Target="../slideLayouts/slideLayout67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slideLayout" Target="../slideLayouts/slideLayout62.xml"/><Relationship Id="rId29" Type="http://schemas.openxmlformats.org/officeDocument/2006/relationships/slideLayout" Target="../slideLayouts/slideLayout71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24" Type="http://schemas.openxmlformats.org/officeDocument/2006/relationships/slideLayout" Target="../slideLayouts/slideLayout66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65.xml"/><Relationship Id="rId28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64.xml"/><Relationship Id="rId27" Type="http://schemas.openxmlformats.org/officeDocument/2006/relationships/slideLayout" Target="../slideLayouts/slideLayout69.xml"/><Relationship Id="rId30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image" Target="../media/image1.wmf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6.xml"/><Relationship Id="rId18" Type="http://schemas.openxmlformats.org/officeDocument/2006/relationships/slideLayout" Target="../slideLayouts/slideLayout101.xml"/><Relationship Id="rId26" Type="http://schemas.openxmlformats.org/officeDocument/2006/relationships/slideLayout" Target="../slideLayouts/slideLayout109.xml"/><Relationship Id="rId3" Type="http://schemas.openxmlformats.org/officeDocument/2006/relationships/slideLayout" Target="../slideLayouts/slideLayout86.xml"/><Relationship Id="rId21" Type="http://schemas.openxmlformats.org/officeDocument/2006/relationships/slideLayout" Target="../slideLayouts/slideLayout104.xml"/><Relationship Id="rId34" Type="http://schemas.openxmlformats.org/officeDocument/2006/relationships/tags" Target="../tags/tag1.xml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17" Type="http://schemas.openxmlformats.org/officeDocument/2006/relationships/slideLayout" Target="../slideLayouts/slideLayout100.xml"/><Relationship Id="rId25" Type="http://schemas.openxmlformats.org/officeDocument/2006/relationships/slideLayout" Target="../slideLayouts/slideLayout108.xml"/><Relationship Id="rId33" Type="http://schemas.openxmlformats.org/officeDocument/2006/relationships/vmlDrawing" Target="../drawings/vmlDrawing1.vml"/><Relationship Id="rId2" Type="http://schemas.openxmlformats.org/officeDocument/2006/relationships/slideLayout" Target="../slideLayouts/slideLayout85.xml"/><Relationship Id="rId16" Type="http://schemas.openxmlformats.org/officeDocument/2006/relationships/slideLayout" Target="../slideLayouts/slideLayout99.xml"/><Relationship Id="rId20" Type="http://schemas.openxmlformats.org/officeDocument/2006/relationships/slideLayout" Target="../slideLayouts/slideLayout103.xml"/><Relationship Id="rId29" Type="http://schemas.openxmlformats.org/officeDocument/2006/relationships/slideLayout" Target="../slideLayouts/slideLayout112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24" Type="http://schemas.openxmlformats.org/officeDocument/2006/relationships/slideLayout" Target="../slideLayouts/slideLayout107.xml"/><Relationship Id="rId32" Type="http://schemas.openxmlformats.org/officeDocument/2006/relationships/theme" Target="../theme/theme5.xml"/><Relationship Id="rId5" Type="http://schemas.openxmlformats.org/officeDocument/2006/relationships/slideLayout" Target="../slideLayouts/slideLayout88.xml"/><Relationship Id="rId15" Type="http://schemas.openxmlformats.org/officeDocument/2006/relationships/slideLayout" Target="../slideLayouts/slideLayout98.xml"/><Relationship Id="rId23" Type="http://schemas.openxmlformats.org/officeDocument/2006/relationships/slideLayout" Target="../slideLayouts/slideLayout106.xml"/><Relationship Id="rId28" Type="http://schemas.openxmlformats.org/officeDocument/2006/relationships/slideLayout" Target="../slideLayouts/slideLayout111.xml"/><Relationship Id="rId36" Type="http://schemas.openxmlformats.org/officeDocument/2006/relationships/image" Target="../media/image10.emf"/><Relationship Id="rId10" Type="http://schemas.openxmlformats.org/officeDocument/2006/relationships/slideLayout" Target="../slideLayouts/slideLayout93.xml"/><Relationship Id="rId19" Type="http://schemas.openxmlformats.org/officeDocument/2006/relationships/slideLayout" Target="../slideLayouts/slideLayout102.xml"/><Relationship Id="rId31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97.xml"/><Relationship Id="rId22" Type="http://schemas.openxmlformats.org/officeDocument/2006/relationships/slideLayout" Target="../slideLayouts/slideLayout105.xml"/><Relationship Id="rId27" Type="http://schemas.openxmlformats.org/officeDocument/2006/relationships/slideLayout" Target="../slideLayouts/slideLayout110.xml"/><Relationship Id="rId30" Type="http://schemas.openxmlformats.org/officeDocument/2006/relationships/slideLayout" Target="../slideLayouts/slideLayout113.xml"/><Relationship Id="rId35" Type="http://schemas.openxmlformats.org/officeDocument/2006/relationships/oleObject" Target="../embeddings/oleObject1.bin"/><Relationship Id="rId8" Type="http://schemas.openxmlformats.org/officeDocument/2006/relationships/slideLayout" Target="../slideLayouts/slideLayout9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121.xml"/><Relationship Id="rId12" Type="http://schemas.openxmlformats.org/officeDocument/2006/relationships/slideLayout" Target="../slideLayouts/slideLayout126.xml"/><Relationship Id="rId2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11" Type="http://schemas.openxmlformats.org/officeDocument/2006/relationships/slideLayout" Target="../slideLayouts/slideLayout125.xml"/><Relationship Id="rId5" Type="http://schemas.openxmlformats.org/officeDocument/2006/relationships/slideLayout" Target="../slideLayouts/slideLayout119.xml"/><Relationship Id="rId10" Type="http://schemas.openxmlformats.org/officeDocument/2006/relationships/slideLayout" Target="../slideLayouts/slideLayout124.xml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Relationship Id="rId14" Type="http://schemas.openxmlformats.org/officeDocument/2006/relationships/image" Target="../media/image1.w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4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129.xml"/><Relationship Id="rId7" Type="http://schemas.openxmlformats.org/officeDocument/2006/relationships/slideLayout" Target="../slideLayouts/slideLayout133.xml"/><Relationship Id="rId12" Type="http://schemas.openxmlformats.org/officeDocument/2006/relationships/slideLayout" Target="../slideLayouts/slideLayout138.xml"/><Relationship Id="rId2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127.xml"/><Relationship Id="rId6" Type="http://schemas.openxmlformats.org/officeDocument/2006/relationships/slideLayout" Target="../slideLayouts/slideLayout132.xml"/><Relationship Id="rId11" Type="http://schemas.openxmlformats.org/officeDocument/2006/relationships/slideLayout" Target="../slideLayouts/slideLayout137.xml"/><Relationship Id="rId5" Type="http://schemas.openxmlformats.org/officeDocument/2006/relationships/slideLayout" Target="../slideLayouts/slideLayout131.xml"/><Relationship Id="rId10" Type="http://schemas.openxmlformats.org/officeDocument/2006/relationships/slideLayout" Target="../slideLayouts/slideLayout136.xml"/><Relationship Id="rId4" Type="http://schemas.openxmlformats.org/officeDocument/2006/relationships/slideLayout" Target="../slideLayouts/slideLayout130.xml"/><Relationship Id="rId9" Type="http://schemas.openxmlformats.org/officeDocument/2006/relationships/slideLayout" Target="../slideLayouts/slideLayout135.xml"/><Relationship Id="rId14" Type="http://schemas.openxmlformats.org/officeDocument/2006/relationships/image" Target="../media/image1.w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heme" Target="../theme/theme8.xml"/><Relationship Id="rId3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145.xml"/><Relationship Id="rId2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39.xml"/><Relationship Id="rId6" Type="http://schemas.openxmlformats.org/officeDocument/2006/relationships/slideLayout" Target="../slideLayouts/slideLayout144.xml"/><Relationship Id="rId5" Type="http://schemas.openxmlformats.org/officeDocument/2006/relationships/slideLayout" Target="../slideLayouts/slideLayout143.xml"/><Relationship Id="rId4" Type="http://schemas.openxmlformats.org/officeDocument/2006/relationships/slideLayout" Target="../slideLayouts/slideLayout142.xml"/><Relationship Id="rId9" Type="http://schemas.openxmlformats.org/officeDocument/2006/relationships/image" Target="../media/image1.w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3.xml"/><Relationship Id="rId13" Type="http://schemas.openxmlformats.org/officeDocument/2006/relationships/slideLayout" Target="../slideLayouts/slideLayout158.xml"/><Relationship Id="rId3" Type="http://schemas.openxmlformats.org/officeDocument/2006/relationships/slideLayout" Target="../slideLayouts/slideLayout148.xml"/><Relationship Id="rId7" Type="http://schemas.openxmlformats.org/officeDocument/2006/relationships/slideLayout" Target="../slideLayouts/slideLayout152.xml"/><Relationship Id="rId12" Type="http://schemas.openxmlformats.org/officeDocument/2006/relationships/slideLayout" Target="../slideLayouts/slideLayout157.xml"/><Relationship Id="rId2" Type="http://schemas.openxmlformats.org/officeDocument/2006/relationships/slideLayout" Target="../slideLayouts/slideLayout147.xml"/><Relationship Id="rId1" Type="http://schemas.openxmlformats.org/officeDocument/2006/relationships/slideLayout" Target="../slideLayouts/slideLayout146.xml"/><Relationship Id="rId6" Type="http://schemas.openxmlformats.org/officeDocument/2006/relationships/slideLayout" Target="../slideLayouts/slideLayout151.xml"/><Relationship Id="rId11" Type="http://schemas.openxmlformats.org/officeDocument/2006/relationships/slideLayout" Target="../slideLayouts/slideLayout156.xml"/><Relationship Id="rId5" Type="http://schemas.openxmlformats.org/officeDocument/2006/relationships/slideLayout" Target="../slideLayouts/slideLayout150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155.xml"/><Relationship Id="rId4" Type="http://schemas.openxmlformats.org/officeDocument/2006/relationships/slideLayout" Target="../slideLayouts/slideLayout149.xml"/><Relationship Id="rId9" Type="http://schemas.openxmlformats.org/officeDocument/2006/relationships/slideLayout" Target="../slideLayouts/slideLayout154.xml"/><Relationship Id="rId1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310" y="6381917"/>
            <a:ext cx="1482372" cy="289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1383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310" y="6381917"/>
            <a:ext cx="1482372" cy="289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0706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9" r:id="rId1"/>
    <p:sldLayoutId id="2147484020" r:id="rId2"/>
    <p:sldLayoutId id="2147484021" r:id="rId3"/>
    <p:sldLayoutId id="2147484022" r:id="rId4"/>
    <p:sldLayoutId id="2147484023" r:id="rId5"/>
    <p:sldLayoutId id="2147484024" r:id="rId6"/>
    <p:sldLayoutId id="2147484025" r:id="rId7"/>
    <p:sldLayoutId id="2147484026" r:id="rId8"/>
    <p:sldLayoutId id="2147484027" r:id="rId9"/>
    <p:sldLayoutId id="2147484028" r:id="rId10"/>
    <p:sldLayoutId id="2147484029" r:id="rId11"/>
    <p:sldLayoutId id="2147484030" r:id="rId12"/>
    <p:sldLayoutId id="2147484032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3"/>
          <p:cNvSpPr>
            <a:spLocks noChangeAspect="1" noChangeArrowheads="1" noTextEdit="1"/>
          </p:cNvSpPr>
          <p:nvPr/>
        </p:nvSpPr>
        <p:spPr bwMode="auto">
          <a:xfrm>
            <a:off x="493604" y="6381929"/>
            <a:ext cx="148246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AutoShape 3"/>
          <p:cNvSpPr>
            <a:spLocks noChangeAspect="1" noChangeArrowheads="1" noTextEdit="1"/>
          </p:cNvSpPr>
          <p:nvPr/>
        </p:nvSpPr>
        <p:spPr bwMode="auto">
          <a:xfrm>
            <a:off x="488422" y="6383517"/>
            <a:ext cx="1480741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0" name="Группа 9"/>
          <p:cNvGrpSpPr/>
          <p:nvPr/>
        </p:nvGrpSpPr>
        <p:grpSpPr>
          <a:xfrm>
            <a:off x="488422" y="6383517"/>
            <a:ext cx="1480741" cy="288925"/>
            <a:chOff x="450850" y="6383338"/>
            <a:chExt cx="1366838" cy="288925"/>
          </a:xfrm>
        </p:grpSpPr>
        <p:sp>
          <p:nvSpPr>
            <p:cNvPr id="6" name="Freeform 5"/>
            <p:cNvSpPr>
              <a:spLocks noEditPoints="1"/>
            </p:cNvSpPr>
            <p:nvPr/>
          </p:nvSpPr>
          <p:spPr bwMode="auto">
            <a:xfrm>
              <a:off x="866775" y="6448426"/>
              <a:ext cx="950913" cy="157163"/>
            </a:xfrm>
            <a:custGeom>
              <a:avLst/>
              <a:gdLst>
                <a:gd name="T0" fmla="*/ 2478 w 11388"/>
                <a:gd name="T1" fmla="*/ 807 h 1876"/>
                <a:gd name="T2" fmla="*/ 2682 w 11388"/>
                <a:gd name="T3" fmla="*/ 468 h 1876"/>
                <a:gd name="T4" fmla="*/ 3065 w 11388"/>
                <a:gd name="T5" fmla="*/ 346 h 1876"/>
                <a:gd name="T6" fmla="*/ 3449 w 11388"/>
                <a:gd name="T7" fmla="*/ 468 h 1876"/>
                <a:gd name="T8" fmla="*/ 3652 w 11388"/>
                <a:gd name="T9" fmla="*/ 807 h 1876"/>
                <a:gd name="T10" fmla="*/ 3594 w 11388"/>
                <a:gd name="T11" fmla="*/ 1239 h 1876"/>
                <a:gd name="T12" fmla="*/ 3302 w 11388"/>
                <a:gd name="T13" fmla="*/ 1489 h 1876"/>
                <a:gd name="T14" fmla="*/ 2885 w 11388"/>
                <a:gd name="T15" fmla="*/ 1506 h 1876"/>
                <a:gd name="T16" fmla="*/ 2567 w 11388"/>
                <a:gd name="T17" fmla="*/ 1287 h 1876"/>
                <a:gd name="T18" fmla="*/ 4068 w 11388"/>
                <a:gd name="T19" fmla="*/ 885 h 1876"/>
                <a:gd name="T20" fmla="*/ 3805 w 11388"/>
                <a:gd name="T21" fmla="*/ 290 h 1876"/>
                <a:gd name="T22" fmla="*/ 3217 w 11388"/>
                <a:gd name="T23" fmla="*/ 10 h 1876"/>
                <a:gd name="T24" fmla="*/ 2550 w 11388"/>
                <a:gd name="T25" fmla="*/ 126 h 1876"/>
                <a:gd name="T26" fmla="*/ 2125 w 11388"/>
                <a:gd name="T27" fmla="*/ 597 h 1876"/>
                <a:gd name="T28" fmla="*/ 2125 w 11388"/>
                <a:gd name="T29" fmla="*/ 1278 h 1876"/>
                <a:gd name="T30" fmla="*/ 2550 w 11388"/>
                <a:gd name="T31" fmla="*/ 1750 h 1876"/>
                <a:gd name="T32" fmla="*/ 3217 w 11388"/>
                <a:gd name="T33" fmla="*/ 1865 h 1876"/>
                <a:gd name="T34" fmla="*/ 3805 w 11388"/>
                <a:gd name="T35" fmla="*/ 1586 h 1876"/>
                <a:gd name="T36" fmla="*/ 4068 w 11388"/>
                <a:gd name="T37" fmla="*/ 989 h 1876"/>
                <a:gd name="T38" fmla="*/ 4468 w 11388"/>
                <a:gd name="T39" fmla="*/ 1449 h 1876"/>
                <a:gd name="T40" fmla="*/ 4564 w 11388"/>
                <a:gd name="T41" fmla="*/ 1815 h 1876"/>
                <a:gd name="T42" fmla="*/ 4837 w 11388"/>
                <a:gd name="T43" fmla="*/ 1657 h 1876"/>
                <a:gd name="T44" fmla="*/ 5827 w 11388"/>
                <a:gd name="T45" fmla="*/ 404 h 1876"/>
                <a:gd name="T46" fmla="*/ 7343 w 11388"/>
                <a:gd name="T47" fmla="*/ 1298 h 1876"/>
                <a:gd name="T48" fmla="*/ 7714 w 11388"/>
                <a:gd name="T49" fmla="*/ 1737 h 1876"/>
                <a:gd name="T50" fmla="*/ 8311 w 11388"/>
                <a:gd name="T51" fmla="*/ 1875 h 1876"/>
                <a:gd name="T52" fmla="*/ 8919 w 11388"/>
                <a:gd name="T53" fmla="*/ 1660 h 1876"/>
                <a:gd name="T54" fmla="*/ 9228 w 11388"/>
                <a:gd name="T55" fmla="*/ 1099 h 1876"/>
                <a:gd name="T56" fmla="*/ 9098 w 11388"/>
                <a:gd name="T57" fmla="*/ 416 h 1876"/>
                <a:gd name="T58" fmla="*/ 8598 w 11388"/>
                <a:gd name="T59" fmla="*/ 48 h 1876"/>
                <a:gd name="T60" fmla="*/ 7967 w 11388"/>
                <a:gd name="T61" fmla="*/ 36 h 1876"/>
                <a:gd name="T62" fmla="*/ 7500 w 11388"/>
                <a:gd name="T63" fmla="*/ 315 h 1876"/>
                <a:gd name="T64" fmla="*/ 6620 w 11388"/>
                <a:gd name="T65" fmla="*/ 42 h 1876"/>
                <a:gd name="T66" fmla="*/ 7782 w 11388"/>
                <a:gd name="T67" fmla="*/ 566 h 1876"/>
                <a:gd name="T68" fmla="*/ 8097 w 11388"/>
                <a:gd name="T69" fmla="*/ 363 h 1876"/>
                <a:gd name="T70" fmla="*/ 8537 w 11388"/>
                <a:gd name="T71" fmla="*/ 397 h 1876"/>
                <a:gd name="T72" fmla="*/ 8791 w 11388"/>
                <a:gd name="T73" fmla="*/ 663 h 1876"/>
                <a:gd name="T74" fmla="*/ 8823 w 11388"/>
                <a:gd name="T75" fmla="*/ 1100 h 1876"/>
                <a:gd name="T76" fmla="*/ 8632 w 11388"/>
                <a:gd name="T77" fmla="*/ 1424 h 1876"/>
                <a:gd name="T78" fmla="*/ 8227 w 11388"/>
                <a:gd name="T79" fmla="*/ 1529 h 1876"/>
                <a:gd name="T80" fmla="*/ 7849 w 11388"/>
                <a:gd name="T81" fmla="*/ 1391 h 1876"/>
                <a:gd name="T82" fmla="*/ 7690 w 11388"/>
                <a:gd name="T83" fmla="*/ 1037 h 1876"/>
                <a:gd name="T84" fmla="*/ 11180 w 11388"/>
                <a:gd name="T85" fmla="*/ 229 h 1876"/>
                <a:gd name="T86" fmla="*/ 10774 w 11388"/>
                <a:gd name="T87" fmla="*/ 31 h 1876"/>
                <a:gd name="T88" fmla="*/ 10181 w 11388"/>
                <a:gd name="T89" fmla="*/ 37 h 1876"/>
                <a:gd name="T90" fmla="*/ 9650 w 11388"/>
                <a:gd name="T91" fmla="*/ 387 h 1876"/>
                <a:gd name="T92" fmla="*/ 9486 w 11388"/>
                <a:gd name="T93" fmla="*/ 1044 h 1876"/>
                <a:gd name="T94" fmla="*/ 9766 w 11388"/>
                <a:gd name="T95" fmla="*/ 1624 h 1876"/>
                <a:gd name="T96" fmla="*/ 10376 w 11388"/>
                <a:gd name="T97" fmla="*/ 1871 h 1876"/>
                <a:gd name="T98" fmla="*/ 10903 w 11388"/>
                <a:gd name="T99" fmla="*/ 1806 h 1876"/>
                <a:gd name="T100" fmla="*/ 11271 w 11388"/>
                <a:gd name="T101" fmla="*/ 1557 h 1876"/>
                <a:gd name="T102" fmla="*/ 10978 w 11388"/>
                <a:gd name="T103" fmla="*/ 1330 h 1876"/>
                <a:gd name="T104" fmla="*/ 10734 w 11388"/>
                <a:gd name="T105" fmla="*/ 1480 h 1876"/>
                <a:gd name="T106" fmla="*/ 10380 w 11388"/>
                <a:gd name="T107" fmla="*/ 1510 h 1876"/>
                <a:gd name="T108" fmla="*/ 10029 w 11388"/>
                <a:gd name="T109" fmla="*/ 1338 h 1876"/>
                <a:gd name="T110" fmla="*/ 9884 w 11388"/>
                <a:gd name="T111" fmla="*/ 970 h 1876"/>
                <a:gd name="T112" fmla="*/ 9991 w 11388"/>
                <a:gd name="T113" fmla="*/ 577 h 1876"/>
                <a:gd name="T114" fmla="*/ 10316 w 11388"/>
                <a:gd name="T115" fmla="*/ 375 h 1876"/>
                <a:gd name="T116" fmla="*/ 10692 w 11388"/>
                <a:gd name="T117" fmla="*/ 384 h 1876"/>
                <a:gd name="T118" fmla="*/ 10948 w 11388"/>
                <a:gd name="T119" fmla="*/ 517 h 18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88" h="1876">
                  <a:moveTo>
                    <a:pt x="0" y="42"/>
                  </a:moveTo>
                  <a:lnTo>
                    <a:pt x="0" y="1830"/>
                  </a:lnTo>
                  <a:lnTo>
                    <a:pt x="402" y="1830"/>
                  </a:lnTo>
                  <a:lnTo>
                    <a:pt x="402" y="401"/>
                  </a:lnTo>
                  <a:lnTo>
                    <a:pt x="1360" y="401"/>
                  </a:lnTo>
                  <a:lnTo>
                    <a:pt x="1360" y="1830"/>
                  </a:lnTo>
                  <a:lnTo>
                    <a:pt x="1765" y="1830"/>
                  </a:lnTo>
                  <a:lnTo>
                    <a:pt x="1765" y="42"/>
                  </a:lnTo>
                  <a:lnTo>
                    <a:pt x="0" y="42"/>
                  </a:lnTo>
                  <a:close/>
                  <a:moveTo>
                    <a:pt x="2467" y="937"/>
                  </a:moveTo>
                  <a:lnTo>
                    <a:pt x="2467" y="904"/>
                  </a:lnTo>
                  <a:lnTo>
                    <a:pt x="2470" y="870"/>
                  </a:lnTo>
                  <a:lnTo>
                    <a:pt x="2473" y="838"/>
                  </a:lnTo>
                  <a:lnTo>
                    <a:pt x="2478" y="807"/>
                  </a:lnTo>
                  <a:lnTo>
                    <a:pt x="2486" y="776"/>
                  </a:lnTo>
                  <a:lnTo>
                    <a:pt x="2494" y="747"/>
                  </a:lnTo>
                  <a:lnTo>
                    <a:pt x="2503" y="718"/>
                  </a:lnTo>
                  <a:lnTo>
                    <a:pt x="2513" y="689"/>
                  </a:lnTo>
                  <a:lnTo>
                    <a:pt x="2524" y="663"/>
                  </a:lnTo>
                  <a:lnTo>
                    <a:pt x="2538" y="637"/>
                  </a:lnTo>
                  <a:lnTo>
                    <a:pt x="2552" y="613"/>
                  </a:lnTo>
                  <a:lnTo>
                    <a:pt x="2567" y="588"/>
                  </a:lnTo>
                  <a:lnTo>
                    <a:pt x="2584" y="566"/>
                  </a:lnTo>
                  <a:lnTo>
                    <a:pt x="2602" y="544"/>
                  </a:lnTo>
                  <a:lnTo>
                    <a:pt x="2621" y="523"/>
                  </a:lnTo>
                  <a:lnTo>
                    <a:pt x="2640" y="504"/>
                  </a:lnTo>
                  <a:lnTo>
                    <a:pt x="2660" y="485"/>
                  </a:lnTo>
                  <a:lnTo>
                    <a:pt x="2682" y="468"/>
                  </a:lnTo>
                  <a:lnTo>
                    <a:pt x="2705" y="451"/>
                  </a:lnTo>
                  <a:lnTo>
                    <a:pt x="2728" y="436"/>
                  </a:lnTo>
                  <a:lnTo>
                    <a:pt x="2752" y="422"/>
                  </a:lnTo>
                  <a:lnTo>
                    <a:pt x="2778" y="410"/>
                  </a:lnTo>
                  <a:lnTo>
                    <a:pt x="2804" y="397"/>
                  </a:lnTo>
                  <a:lnTo>
                    <a:pt x="2830" y="387"/>
                  </a:lnTo>
                  <a:lnTo>
                    <a:pt x="2858" y="377"/>
                  </a:lnTo>
                  <a:lnTo>
                    <a:pt x="2885" y="369"/>
                  </a:lnTo>
                  <a:lnTo>
                    <a:pt x="2914" y="363"/>
                  </a:lnTo>
                  <a:lnTo>
                    <a:pt x="2944" y="356"/>
                  </a:lnTo>
                  <a:lnTo>
                    <a:pt x="2973" y="352"/>
                  </a:lnTo>
                  <a:lnTo>
                    <a:pt x="3004" y="348"/>
                  </a:lnTo>
                  <a:lnTo>
                    <a:pt x="3035" y="346"/>
                  </a:lnTo>
                  <a:lnTo>
                    <a:pt x="3065" y="346"/>
                  </a:lnTo>
                  <a:lnTo>
                    <a:pt x="3097" y="346"/>
                  </a:lnTo>
                  <a:lnTo>
                    <a:pt x="3128" y="348"/>
                  </a:lnTo>
                  <a:lnTo>
                    <a:pt x="3158" y="352"/>
                  </a:lnTo>
                  <a:lnTo>
                    <a:pt x="3188" y="356"/>
                  </a:lnTo>
                  <a:lnTo>
                    <a:pt x="3218" y="363"/>
                  </a:lnTo>
                  <a:lnTo>
                    <a:pt x="3246" y="369"/>
                  </a:lnTo>
                  <a:lnTo>
                    <a:pt x="3274" y="377"/>
                  </a:lnTo>
                  <a:lnTo>
                    <a:pt x="3302" y="387"/>
                  </a:lnTo>
                  <a:lnTo>
                    <a:pt x="3328" y="397"/>
                  </a:lnTo>
                  <a:lnTo>
                    <a:pt x="3354" y="410"/>
                  </a:lnTo>
                  <a:lnTo>
                    <a:pt x="3379" y="422"/>
                  </a:lnTo>
                  <a:lnTo>
                    <a:pt x="3403" y="436"/>
                  </a:lnTo>
                  <a:lnTo>
                    <a:pt x="3426" y="451"/>
                  </a:lnTo>
                  <a:lnTo>
                    <a:pt x="3449" y="468"/>
                  </a:lnTo>
                  <a:lnTo>
                    <a:pt x="3471" y="485"/>
                  </a:lnTo>
                  <a:lnTo>
                    <a:pt x="3492" y="504"/>
                  </a:lnTo>
                  <a:lnTo>
                    <a:pt x="3511" y="523"/>
                  </a:lnTo>
                  <a:lnTo>
                    <a:pt x="3530" y="544"/>
                  </a:lnTo>
                  <a:lnTo>
                    <a:pt x="3547" y="566"/>
                  </a:lnTo>
                  <a:lnTo>
                    <a:pt x="3564" y="588"/>
                  </a:lnTo>
                  <a:lnTo>
                    <a:pt x="3580" y="613"/>
                  </a:lnTo>
                  <a:lnTo>
                    <a:pt x="3594" y="637"/>
                  </a:lnTo>
                  <a:lnTo>
                    <a:pt x="3606" y="663"/>
                  </a:lnTo>
                  <a:lnTo>
                    <a:pt x="3618" y="689"/>
                  </a:lnTo>
                  <a:lnTo>
                    <a:pt x="3629" y="718"/>
                  </a:lnTo>
                  <a:lnTo>
                    <a:pt x="3638" y="747"/>
                  </a:lnTo>
                  <a:lnTo>
                    <a:pt x="3646" y="776"/>
                  </a:lnTo>
                  <a:lnTo>
                    <a:pt x="3652" y="807"/>
                  </a:lnTo>
                  <a:lnTo>
                    <a:pt x="3657" y="838"/>
                  </a:lnTo>
                  <a:lnTo>
                    <a:pt x="3661" y="870"/>
                  </a:lnTo>
                  <a:lnTo>
                    <a:pt x="3663" y="904"/>
                  </a:lnTo>
                  <a:lnTo>
                    <a:pt x="3665" y="937"/>
                  </a:lnTo>
                  <a:lnTo>
                    <a:pt x="3663" y="972"/>
                  </a:lnTo>
                  <a:lnTo>
                    <a:pt x="3661" y="1005"/>
                  </a:lnTo>
                  <a:lnTo>
                    <a:pt x="3657" y="1037"/>
                  </a:lnTo>
                  <a:lnTo>
                    <a:pt x="3652" y="1069"/>
                  </a:lnTo>
                  <a:lnTo>
                    <a:pt x="3646" y="1100"/>
                  </a:lnTo>
                  <a:lnTo>
                    <a:pt x="3638" y="1129"/>
                  </a:lnTo>
                  <a:lnTo>
                    <a:pt x="3629" y="1158"/>
                  </a:lnTo>
                  <a:lnTo>
                    <a:pt x="3618" y="1186"/>
                  </a:lnTo>
                  <a:lnTo>
                    <a:pt x="3606" y="1212"/>
                  </a:lnTo>
                  <a:lnTo>
                    <a:pt x="3594" y="1239"/>
                  </a:lnTo>
                  <a:lnTo>
                    <a:pt x="3580" y="1263"/>
                  </a:lnTo>
                  <a:lnTo>
                    <a:pt x="3564" y="1287"/>
                  </a:lnTo>
                  <a:lnTo>
                    <a:pt x="3547" y="1310"/>
                  </a:lnTo>
                  <a:lnTo>
                    <a:pt x="3530" y="1332"/>
                  </a:lnTo>
                  <a:lnTo>
                    <a:pt x="3511" y="1352"/>
                  </a:lnTo>
                  <a:lnTo>
                    <a:pt x="3492" y="1371"/>
                  </a:lnTo>
                  <a:lnTo>
                    <a:pt x="3471" y="1391"/>
                  </a:lnTo>
                  <a:lnTo>
                    <a:pt x="3449" y="1408"/>
                  </a:lnTo>
                  <a:lnTo>
                    <a:pt x="3426" y="1424"/>
                  </a:lnTo>
                  <a:lnTo>
                    <a:pt x="3403" y="1440"/>
                  </a:lnTo>
                  <a:lnTo>
                    <a:pt x="3379" y="1453"/>
                  </a:lnTo>
                  <a:lnTo>
                    <a:pt x="3354" y="1466"/>
                  </a:lnTo>
                  <a:lnTo>
                    <a:pt x="3328" y="1479"/>
                  </a:lnTo>
                  <a:lnTo>
                    <a:pt x="3302" y="1489"/>
                  </a:lnTo>
                  <a:lnTo>
                    <a:pt x="3274" y="1498"/>
                  </a:lnTo>
                  <a:lnTo>
                    <a:pt x="3246" y="1506"/>
                  </a:lnTo>
                  <a:lnTo>
                    <a:pt x="3218" y="1513"/>
                  </a:lnTo>
                  <a:lnTo>
                    <a:pt x="3188" y="1519"/>
                  </a:lnTo>
                  <a:lnTo>
                    <a:pt x="3158" y="1523"/>
                  </a:lnTo>
                  <a:lnTo>
                    <a:pt x="3128" y="1527"/>
                  </a:lnTo>
                  <a:lnTo>
                    <a:pt x="3097" y="1529"/>
                  </a:lnTo>
                  <a:lnTo>
                    <a:pt x="3065" y="1530"/>
                  </a:lnTo>
                  <a:lnTo>
                    <a:pt x="3035" y="1529"/>
                  </a:lnTo>
                  <a:lnTo>
                    <a:pt x="3004" y="1527"/>
                  </a:lnTo>
                  <a:lnTo>
                    <a:pt x="2973" y="1523"/>
                  </a:lnTo>
                  <a:lnTo>
                    <a:pt x="2944" y="1519"/>
                  </a:lnTo>
                  <a:lnTo>
                    <a:pt x="2914" y="1513"/>
                  </a:lnTo>
                  <a:lnTo>
                    <a:pt x="2885" y="1506"/>
                  </a:lnTo>
                  <a:lnTo>
                    <a:pt x="2858" y="1498"/>
                  </a:lnTo>
                  <a:lnTo>
                    <a:pt x="2830" y="1489"/>
                  </a:lnTo>
                  <a:lnTo>
                    <a:pt x="2804" y="1479"/>
                  </a:lnTo>
                  <a:lnTo>
                    <a:pt x="2778" y="1466"/>
                  </a:lnTo>
                  <a:lnTo>
                    <a:pt x="2752" y="1453"/>
                  </a:lnTo>
                  <a:lnTo>
                    <a:pt x="2728" y="1440"/>
                  </a:lnTo>
                  <a:lnTo>
                    <a:pt x="2705" y="1424"/>
                  </a:lnTo>
                  <a:lnTo>
                    <a:pt x="2682" y="1408"/>
                  </a:lnTo>
                  <a:lnTo>
                    <a:pt x="2660" y="1391"/>
                  </a:lnTo>
                  <a:lnTo>
                    <a:pt x="2640" y="1371"/>
                  </a:lnTo>
                  <a:lnTo>
                    <a:pt x="2621" y="1352"/>
                  </a:lnTo>
                  <a:lnTo>
                    <a:pt x="2602" y="1332"/>
                  </a:lnTo>
                  <a:lnTo>
                    <a:pt x="2584" y="1310"/>
                  </a:lnTo>
                  <a:lnTo>
                    <a:pt x="2567" y="1287"/>
                  </a:lnTo>
                  <a:lnTo>
                    <a:pt x="2552" y="1263"/>
                  </a:lnTo>
                  <a:lnTo>
                    <a:pt x="2538" y="1239"/>
                  </a:lnTo>
                  <a:lnTo>
                    <a:pt x="2524" y="1212"/>
                  </a:lnTo>
                  <a:lnTo>
                    <a:pt x="2513" y="1186"/>
                  </a:lnTo>
                  <a:lnTo>
                    <a:pt x="2503" y="1158"/>
                  </a:lnTo>
                  <a:lnTo>
                    <a:pt x="2494" y="1129"/>
                  </a:lnTo>
                  <a:lnTo>
                    <a:pt x="2486" y="1100"/>
                  </a:lnTo>
                  <a:lnTo>
                    <a:pt x="2478" y="1069"/>
                  </a:lnTo>
                  <a:lnTo>
                    <a:pt x="2473" y="1037"/>
                  </a:lnTo>
                  <a:lnTo>
                    <a:pt x="2470" y="1005"/>
                  </a:lnTo>
                  <a:lnTo>
                    <a:pt x="2467" y="972"/>
                  </a:lnTo>
                  <a:lnTo>
                    <a:pt x="2467" y="937"/>
                  </a:lnTo>
                  <a:close/>
                  <a:moveTo>
                    <a:pt x="4069" y="937"/>
                  </a:moveTo>
                  <a:lnTo>
                    <a:pt x="4068" y="885"/>
                  </a:lnTo>
                  <a:lnTo>
                    <a:pt x="4064" y="834"/>
                  </a:lnTo>
                  <a:lnTo>
                    <a:pt x="4057" y="784"/>
                  </a:lnTo>
                  <a:lnTo>
                    <a:pt x="4048" y="736"/>
                  </a:lnTo>
                  <a:lnTo>
                    <a:pt x="4037" y="688"/>
                  </a:lnTo>
                  <a:lnTo>
                    <a:pt x="4023" y="642"/>
                  </a:lnTo>
                  <a:lnTo>
                    <a:pt x="4007" y="597"/>
                  </a:lnTo>
                  <a:lnTo>
                    <a:pt x="3989" y="554"/>
                  </a:lnTo>
                  <a:lnTo>
                    <a:pt x="3968" y="512"/>
                  </a:lnTo>
                  <a:lnTo>
                    <a:pt x="3946" y="471"/>
                  </a:lnTo>
                  <a:lnTo>
                    <a:pt x="3921" y="432"/>
                  </a:lnTo>
                  <a:lnTo>
                    <a:pt x="3896" y="394"/>
                  </a:lnTo>
                  <a:lnTo>
                    <a:pt x="3867" y="358"/>
                  </a:lnTo>
                  <a:lnTo>
                    <a:pt x="3836" y="323"/>
                  </a:lnTo>
                  <a:lnTo>
                    <a:pt x="3805" y="290"/>
                  </a:lnTo>
                  <a:lnTo>
                    <a:pt x="3772" y="258"/>
                  </a:lnTo>
                  <a:lnTo>
                    <a:pt x="3736" y="228"/>
                  </a:lnTo>
                  <a:lnTo>
                    <a:pt x="3699" y="200"/>
                  </a:lnTo>
                  <a:lnTo>
                    <a:pt x="3661" y="174"/>
                  </a:lnTo>
                  <a:lnTo>
                    <a:pt x="3623" y="148"/>
                  </a:lnTo>
                  <a:lnTo>
                    <a:pt x="3582" y="126"/>
                  </a:lnTo>
                  <a:lnTo>
                    <a:pt x="3540" y="104"/>
                  </a:lnTo>
                  <a:lnTo>
                    <a:pt x="3496" y="85"/>
                  </a:lnTo>
                  <a:lnTo>
                    <a:pt x="3452" y="68"/>
                  </a:lnTo>
                  <a:lnTo>
                    <a:pt x="3407" y="52"/>
                  </a:lnTo>
                  <a:lnTo>
                    <a:pt x="3360" y="39"/>
                  </a:lnTo>
                  <a:lnTo>
                    <a:pt x="3313" y="27"/>
                  </a:lnTo>
                  <a:lnTo>
                    <a:pt x="3265" y="18"/>
                  </a:lnTo>
                  <a:lnTo>
                    <a:pt x="3217" y="10"/>
                  </a:lnTo>
                  <a:lnTo>
                    <a:pt x="3167" y="4"/>
                  </a:lnTo>
                  <a:lnTo>
                    <a:pt x="3116" y="1"/>
                  </a:lnTo>
                  <a:lnTo>
                    <a:pt x="3065" y="0"/>
                  </a:lnTo>
                  <a:lnTo>
                    <a:pt x="3015" y="1"/>
                  </a:lnTo>
                  <a:lnTo>
                    <a:pt x="2965" y="4"/>
                  </a:lnTo>
                  <a:lnTo>
                    <a:pt x="2915" y="10"/>
                  </a:lnTo>
                  <a:lnTo>
                    <a:pt x="2867" y="18"/>
                  </a:lnTo>
                  <a:lnTo>
                    <a:pt x="2819" y="27"/>
                  </a:lnTo>
                  <a:lnTo>
                    <a:pt x="2771" y="39"/>
                  </a:lnTo>
                  <a:lnTo>
                    <a:pt x="2725" y="52"/>
                  </a:lnTo>
                  <a:lnTo>
                    <a:pt x="2680" y="68"/>
                  </a:lnTo>
                  <a:lnTo>
                    <a:pt x="2635" y="85"/>
                  </a:lnTo>
                  <a:lnTo>
                    <a:pt x="2592" y="104"/>
                  </a:lnTo>
                  <a:lnTo>
                    <a:pt x="2550" y="126"/>
                  </a:lnTo>
                  <a:lnTo>
                    <a:pt x="2509" y="148"/>
                  </a:lnTo>
                  <a:lnTo>
                    <a:pt x="2470" y="174"/>
                  </a:lnTo>
                  <a:lnTo>
                    <a:pt x="2431" y="200"/>
                  </a:lnTo>
                  <a:lnTo>
                    <a:pt x="2396" y="228"/>
                  </a:lnTo>
                  <a:lnTo>
                    <a:pt x="2360" y="258"/>
                  </a:lnTo>
                  <a:lnTo>
                    <a:pt x="2326" y="290"/>
                  </a:lnTo>
                  <a:lnTo>
                    <a:pt x="2294" y="323"/>
                  </a:lnTo>
                  <a:lnTo>
                    <a:pt x="2265" y="358"/>
                  </a:lnTo>
                  <a:lnTo>
                    <a:pt x="2236" y="394"/>
                  </a:lnTo>
                  <a:lnTo>
                    <a:pt x="2210" y="432"/>
                  </a:lnTo>
                  <a:lnTo>
                    <a:pt x="2185" y="471"/>
                  </a:lnTo>
                  <a:lnTo>
                    <a:pt x="2164" y="512"/>
                  </a:lnTo>
                  <a:lnTo>
                    <a:pt x="2143" y="554"/>
                  </a:lnTo>
                  <a:lnTo>
                    <a:pt x="2125" y="597"/>
                  </a:lnTo>
                  <a:lnTo>
                    <a:pt x="2108" y="642"/>
                  </a:lnTo>
                  <a:lnTo>
                    <a:pt x="2095" y="688"/>
                  </a:lnTo>
                  <a:lnTo>
                    <a:pt x="2083" y="736"/>
                  </a:lnTo>
                  <a:lnTo>
                    <a:pt x="2075" y="784"/>
                  </a:lnTo>
                  <a:lnTo>
                    <a:pt x="2067" y="834"/>
                  </a:lnTo>
                  <a:lnTo>
                    <a:pt x="2063" y="885"/>
                  </a:lnTo>
                  <a:lnTo>
                    <a:pt x="2062" y="937"/>
                  </a:lnTo>
                  <a:lnTo>
                    <a:pt x="2063" y="989"/>
                  </a:lnTo>
                  <a:lnTo>
                    <a:pt x="2067" y="1041"/>
                  </a:lnTo>
                  <a:lnTo>
                    <a:pt x="2075" y="1091"/>
                  </a:lnTo>
                  <a:lnTo>
                    <a:pt x="2083" y="1140"/>
                  </a:lnTo>
                  <a:lnTo>
                    <a:pt x="2095" y="1187"/>
                  </a:lnTo>
                  <a:lnTo>
                    <a:pt x="2108" y="1234"/>
                  </a:lnTo>
                  <a:lnTo>
                    <a:pt x="2125" y="1278"/>
                  </a:lnTo>
                  <a:lnTo>
                    <a:pt x="2143" y="1321"/>
                  </a:lnTo>
                  <a:lnTo>
                    <a:pt x="2164" y="1363"/>
                  </a:lnTo>
                  <a:lnTo>
                    <a:pt x="2185" y="1404"/>
                  </a:lnTo>
                  <a:lnTo>
                    <a:pt x="2210" y="1444"/>
                  </a:lnTo>
                  <a:lnTo>
                    <a:pt x="2236" y="1482"/>
                  </a:lnTo>
                  <a:lnTo>
                    <a:pt x="2265" y="1518"/>
                  </a:lnTo>
                  <a:lnTo>
                    <a:pt x="2294" y="1553"/>
                  </a:lnTo>
                  <a:lnTo>
                    <a:pt x="2326" y="1586"/>
                  </a:lnTo>
                  <a:lnTo>
                    <a:pt x="2360" y="1617"/>
                  </a:lnTo>
                  <a:lnTo>
                    <a:pt x="2396" y="1647"/>
                  </a:lnTo>
                  <a:lnTo>
                    <a:pt x="2431" y="1676"/>
                  </a:lnTo>
                  <a:lnTo>
                    <a:pt x="2470" y="1702"/>
                  </a:lnTo>
                  <a:lnTo>
                    <a:pt x="2509" y="1727"/>
                  </a:lnTo>
                  <a:lnTo>
                    <a:pt x="2550" y="1750"/>
                  </a:lnTo>
                  <a:lnTo>
                    <a:pt x="2592" y="1772"/>
                  </a:lnTo>
                  <a:lnTo>
                    <a:pt x="2635" y="1790"/>
                  </a:lnTo>
                  <a:lnTo>
                    <a:pt x="2680" y="1808"/>
                  </a:lnTo>
                  <a:lnTo>
                    <a:pt x="2725" y="1824"/>
                  </a:lnTo>
                  <a:lnTo>
                    <a:pt x="2771" y="1837"/>
                  </a:lnTo>
                  <a:lnTo>
                    <a:pt x="2819" y="1848"/>
                  </a:lnTo>
                  <a:lnTo>
                    <a:pt x="2867" y="1858"/>
                  </a:lnTo>
                  <a:lnTo>
                    <a:pt x="2915" y="1865"/>
                  </a:lnTo>
                  <a:lnTo>
                    <a:pt x="2965" y="1871"/>
                  </a:lnTo>
                  <a:lnTo>
                    <a:pt x="3015" y="1874"/>
                  </a:lnTo>
                  <a:lnTo>
                    <a:pt x="3065" y="1876"/>
                  </a:lnTo>
                  <a:lnTo>
                    <a:pt x="3116" y="1874"/>
                  </a:lnTo>
                  <a:lnTo>
                    <a:pt x="3167" y="1871"/>
                  </a:lnTo>
                  <a:lnTo>
                    <a:pt x="3217" y="1865"/>
                  </a:lnTo>
                  <a:lnTo>
                    <a:pt x="3265" y="1858"/>
                  </a:lnTo>
                  <a:lnTo>
                    <a:pt x="3313" y="1848"/>
                  </a:lnTo>
                  <a:lnTo>
                    <a:pt x="3360" y="1837"/>
                  </a:lnTo>
                  <a:lnTo>
                    <a:pt x="3407" y="1824"/>
                  </a:lnTo>
                  <a:lnTo>
                    <a:pt x="3452" y="1808"/>
                  </a:lnTo>
                  <a:lnTo>
                    <a:pt x="3496" y="1790"/>
                  </a:lnTo>
                  <a:lnTo>
                    <a:pt x="3540" y="1772"/>
                  </a:lnTo>
                  <a:lnTo>
                    <a:pt x="3582" y="1750"/>
                  </a:lnTo>
                  <a:lnTo>
                    <a:pt x="3623" y="1727"/>
                  </a:lnTo>
                  <a:lnTo>
                    <a:pt x="3661" y="1702"/>
                  </a:lnTo>
                  <a:lnTo>
                    <a:pt x="3699" y="1676"/>
                  </a:lnTo>
                  <a:lnTo>
                    <a:pt x="3736" y="1647"/>
                  </a:lnTo>
                  <a:lnTo>
                    <a:pt x="3772" y="1617"/>
                  </a:lnTo>
                  <a:lnTo>
                    <a:pt x="3805" y="1586"/>
                  </a:lnTo>
                  <a:lnTo>
                    <a:pt x="3836" y="1553"/>
                  </a:lnTo>
                  <a:lnTo>
                    <a:pt x="3867" y="1518"/>
                  </a:lnTo>
                  <a:lnTo>
                    <a:pt x="3896" y="1482"/>
                  </a:lnTo>
                  <a:lnTo>
                    <a:pt x="3921" y="1444"/>
                  </a:lnTo>
                  <a:lnTo>
                    <a:pt x="3946" y="1404"/>
                  </a:lnTo>
                  <a:lnTo>
                    <a:pt x="3968" y="1363"/>
                  </a:lnTo>
                  <a:lnTo>
                    <a:pt x="3989" y="1321"/>
                  </a:lnTo>
                  <a:lnTo>
                    <a:pt x="4007" y="1278"/>
                  </a:lnTo>
                  <a:lnTo>
                    <a:pt x="4023" y="1234"/>
                  </a:lnTo>
                  <a:lnTo>
                    <a:pt x="4037" y="1187"/>
                  </a:lnTo>
                  <a:lnTo>
                    <a:pt x="4048" y="1140"/>
                  </a:lnTo>
                  <a:lnTo>
                    <a:pt x="4057" y="1091"/>
                  </a:lnTo>
                  <a:lnTo>
                    <a:pt x="4064" y="1041"/>
                  </a:lnTo>
                  <a:lnTo>
                    <a:pt x="4068" y="989"/>
                  </a:lnTo>
                  <a:lnTo>
                    <a:pt x="4069" y="937"/>
                  </a:lnTo>
                  <a:close/>
                  <a:moveTo>
                    <a:pt x="4805" y="42"/>
                  </a:moveTo>
                  <a:lnTo>
                    <a:pt x="4564" y="1322"/>
                  </a:lnTo>
                  <a:lnTo>
                    <a:pt x="4560" y="1340"/>
                  </a:lnTo>
                  <a:lnTo>
                    <a:pt x="4555" y="1356"/>
                  </a:lnTo>
                  <a:lnTo>
                    <a:pt x="4549" y="1371"/>
                  </a:lnTo>
                  <a:lnTo>
                    <a:pt x="4542" y="1385"/>
                  </a:lnTo>
                  <a:lnTo>
                    <a:pt x="4535" y="1398"/>
                  </a:lnTo>
                  <a:lnTo>
                    <a:pt x="4525" y="1409"/>
                  </a:lnTo>
                  <a:lnTo>
                    <a:pt x="4515" y="1419"/>
                  </a:lnTo>
                  <a:lnTo>
                    <a:pt x="4505" y="1429"/>
                  </a:lnTo>
                  <a:lnTo>
                    <a:pt x="4494" y="1437"/>
                  </a:lnTo>
                  <a:lnTo>
                    <a:pt x="4481" y="1443"/>
                  </a:lnTo>
                  <a:lnTo>
                    <a:pt x="4468" y="1449"/>
                  </a:lnTo>
                  <a:lnTo>
                    <a:pt x="4454" y="1453"/>
                  </a:lnTo>
                  <a:lnTo>
                    <a:pt x="4440" y="1457"/>
                  </a:lnTo>
                  <a:lnTo>
                    <a:pt x="4423" y="1459"/>
                  </a:lnTo>
                  <a:lnTo>
                    <a:pt x="4407" y="1461"/>
                  </a:lnTo>
                  <a:lnTo>
                    <a:pt x="4389" y="1461"/>
                  </a:lnTo>
                  <a:lnTo>
                    <a:pt x="4195" y="1461"/>
                  </a:lnTo>
                  <a:lnTo>
                    <a:pt x="4195" y="1830"/>
                  </a:lnTo>
                  <a:lnTo>
                    <a:pt x="4409" y="1830"/>
                  </a:lnTo>
                  <a:lnTo>
                    <a:pt x="4436" y="1830"/>
                  </a:lnTo>
                  <a:lnTo>
                    <a:pt x="4463" y="1829"/>
                  </a:lnTo>
                  <a:lnTo>
                    <a:pt x="4490" y="1827"/>
                  </a:lnTo>
                  <a:lnTo>
                    <a:pt x="4515" y="1824"/>
                  </a:lnTo>
                  <a:lnTo>
                    <a:pt x="4540" y="1820"/>
                  </a:lnTo>
                  <a:lnTo>
                    <a:pt x="4564" y="1815"/>
                  </a:lnTo>
                  <a:lnTo>
                    <a:pt x="4588" y="1809"/>
                  </a:lnTo>
                  <a:lnTo>
                    <a:pt x="4611" y="1803"/>
                  </a:lnTo>
                  <a:lnTo>
                    <a:pt x="4634" y="1796"/>
                  </a:lnTo>
                  <a:lnTo>
                    <a:pt x="4655" y="1788"/>
                  </a:lnTo>
                  <a:lnTo>
                    <a:pt x="4677" y="1779"/>
                  </a:lnTo>
                  <a:lnTo>
                    <a:pt x="4697" y="1770"/>
                  </a:lnTo>
                  <a:lnTo>
                    <a:pt x="4718" y="1758"/>
                  </a:lnTo>
                  <a:lnTo>
                    <a:pt x="4736" y="1747"/>
                  </a:lnTo>
                  <a:lnTo>
                    <a:pt x="4755" y="1735"/>
                  </a:lnTo>
                  <a:lnTo>
                    <a:pt x="4773" y="1721"/>
                  </a:lnTo>
                  <a:lnTo>
                    <a:pt x="4790" y="1706"/>
                  </a:lnTo>
                  <a:lnTo>
                    <a:pt x="4807" y="1691"/>
                  </a:lnTo>
                  <a:lnTo>
                    <a:pt x="4822" y="1675"/>
                  </a:lnTo>
                  <a:lnTo>
                    <a:pt x="4837" y="1657"/>
                  </a:lnTo>
                  <a:lnTo>
                    <a:pt x="4852" y="1640"/>
                  </a:lnTo>
                  <a:lnTo>
                    <a:pt x="4865" y="1620"/>
                  </a:lnTo>
                  <a:lnTo>
                    <a:pt x="4878" y="1600"/>
                  </a:lnTo>
                  <a:lnTo>
                    <a:pt x="4890" y="1579"/>
                  </a:lnTo>
                  <a:lnTo>
                    <a:pt x="4902" y="1557"/>
                  </a:lnTo>
                  <a:lnTo>
                    <a:pt x="4912" y="1534"/>
                  </a:lnTo>
                  <a:lnTo>
                    <a:pt x="4922" y="1510"/>
                  </a:lnTo>
                  <a:lnTo>
                    <a:pt x="4931" y="1485"/>
                  </a:lnTo>
                  <a:lnTo>
                    <a:pt x="4939" y="1458"/>
                  </a:lnTo>
                  <a:lnTo>
                    <a:pt x="4947" y="1432"/>
                  </a:lnTo>
                  <a:lnTo>
                    <a:pt x="4954" y="1403"/>
                  </a:lnTo>
                  <a:lnTo>
                    <a:pt x="4959" y="1374"/>
                  </a:lnTo>
                  <a:lnTo>
                    <a:pt x="5141" y="404"/>
                  </a:lnTo>
                  <a:lnTo>
                    <a:pt x="5827" y="404"/>
                  </a:lnTo>
                  <a:lnTo>
                    <a:pt x="5827" y="1830"/>
                  </a:lnTo>
                  <a:lnTo>
                    <a:pt x="6232" y="1830"/>
                  </a:lnTo>
                  <a:lnTo>
                    <a:pt x="6232" y="42"/>
                  </a:lnTo>
                  <a:lnTo>
                    <a:pt x="4805" y="42"/>
                  </a:lnTo>
                  <a:close/>
                  <a:moveTo>
                    <a:pt x="6620" y="42"/>
                  </a:moveTo>
                  <a:lnTo>
                    <a:pt x="6620" y="1830"/>
                  </a:lnTo>
                  <a:lnTo>
                    <a:pt x="7018" y="1830"/>
                  </a:lnTo>
                  <a:lnTo>
                    <a:pt x="7018" y="1073"/>
                  </a:lnTo>
                  <a:lnTo>
                    <a:pt x="7290" y="1073"/>
                  </a:lnTo>
                  <a:lnTo>
                    <a:pt x="7297" y="1121"/>
                  </a:lnTo>
                  <a:lnTo>
                    <a:pt x="7305" y="1167"/>
                  </a:lnTo>
                  <a:lnTo>
                    <a:pt x="7317" y="1212"/>
                  </a:lnTo>
                  <a:lnTo>
                    <a:pt x="7329" y="1256"/>
                  </a:lnTo>
                  <a:lnTo>
                    <a:pt x="7343" y="1298"/>
                  </a:lnTo>
                  <a:lnTo>
                    <a:pt x="7360" y="1339"/>
                  </a:lnTo>
                  <a:lnTo>
                    <a:pt x="7378" y="1377"/>
                  </a:lnTo>
                  <a:lnTo>
                    <a:pt x="7397" y="1415"/>
                  </a:lnTo>
                  <a:lnTo>
                    <a:pt x="7419" y="1452"/>
                  </a:lnTo>
                  <a:lnTo>
                    <a:pt x="7442" y="1488"/>
                  </a:lnTo>
                  <a:lnTo>
                    <a:pt x="7467" y="1520"/>
                  </a:lnTo>
                  <a:lnTo>
                    <a:pt x="7493" y="1553"/>
                  </a:lnTo>
                  <a:lnTo>
                    <a:pt x="7520" y="1584"/>
                  </a:lnTo>
                  <a:lnTo>
                    <a:pt x="7550" y="1613"/>
                  </a:lnTo>
                  <a:lnTo>
                    <a:pt x="7580" y="1641"/>
                  </a:lnTo>
                  <a:lnTo>
                    <a:pt x="7612" y="1667"/>
                  </a:lnTo>
                  <a:lnTo>
                    <a:pt x="7645" y="1692"/>
                  </a:lnTo>
                  <a:lnTo>
                    <a:pt x="7679" y="1715"/>
                  </a:lnTo>
                  <a:lnTo>
                    <a:pt x="7714" y="1737"/>
                  </a:lnTo>
                  <a:lnTo>
                    <a:pt x="7751" y="1757"/>
                  </a:lnTo>
                  <a:lnTo>
                    <a:pt x="7789" y="1776"/>
                  </a:lnTo>
                  <a:lnTo>
                    <a:pt x="7828" y="1793"/>
                  </a:lnTo>
                  <a:lnTo>
                    <a:pt x="7867" y="1808"/>
                  </a:lnTo>
                  <a:lnTo>
                    <a:pt x="7908" y="1823"/>
                  </a:lnTo>
                  <a:lnTo>
                    <a:pt x="7950" y="1835"/>
                  </a:lnTo>
                  <a:lnTo>
                    <a:pt x="7991" y="1845"/>
                  </a:lnTo>
                  <a:lnTo>
                    <a:pt x="8034" y="1854"/>
                  </a:lnTo>
                  <a:lnTo>
                    <a:pt x="8078" y="1861"/>
                  </a:lnTo>
                  <a:lnTo>
                    <a:pt x="8123" y="1868"/>
                  </a:lnTo>
                  <a:lnTo>
                    <a:pt x="8168" y="1872"/>
                  </a:lnTo>
                  <a:lnTo>
                    <a:pt x="8214" y="1875"/>
                  </a:lnTo>
                  <a:lnTo>
                    <a:pt x="8261" y="1876"/>
                  </a:lnTo>
                  <a:lnTo>
                    <a:pt x="8311" y="1875"/>
                  </a:lnTo>
                  <a:lnTo>
                    <a:pt x="8362" y="1872"/>
                  </a:lnTo>
                  <a:lnTo>
                    <a:pt x="8410" y="1867"/>
                  </a:lnTo>
                  <a:lnTo>
                    <a:pt x="8459" y="1859"/>
                  </a:lnTo>
                  <a:lnTo>
                    <a:pt x="8506" y="1850"/>
                  </a:lnTo>
                  <a:lnTo>
                    <a:pt x="8552" y="1840"/>
                  </a:lnTo>
                  <a:lnTo>
                    <a:pt x="8598" y="1828"/>
                  </a:lnTo>
                  <a:lnTo>
                    <a:pt x="8642" y="1812"/>
                  </a:lnTo>
                  <a:lnTo>
                    <a:pt x="8686" y="1796"/>
                  </a:lnTo>
                  <a:lnTo>
                    <a:pt x="8728" y="1779"/>
                  </a:lnTo>
                  <a:lnTo>
                    <a:pt x="8769" y="1758"/>
                  </a:lnTo>
                  <a:lnTo>
                    <a:pt x="8808" y="1736"/>
                  </a:lnTo>
                  <a:lnTo>
                    <a:pt x="8846" y="1712"/>
                  </a:lnTo>
                  <a:lnTo>
                    <a:pt x="8883" y="1687"/>
                  </a:lnTo>
                  <a:lnTo>
                    <a:pt x="8919" y="1660"/>
                  </a:lnTo>
                  <a:lnTo>
                    <a:pt x="8953" y="1631"/>
                  </a:lnTo>
                  <a:lnTo>
                    <a:pt x="8985" y="1600"/>
                  </a:lnTo>
                  <a:lnTo>
                    <a:pt x="9016" y="1567"/>
                  </a:lnTo>
                  <a:lnTo>
                    <a:pt x="9045" y="1533"/>
                  </a:lnTo>
                  <a:lnTo>
                    <a:pt x="9072" y="1497"/>
                  </a:lnTo>
                  <a:lnTo>
                    <a:pt x="9098" y="1459"/>
                  </a:lnTo>
                  <a:lnTo>
                    <a:pt x="9121" y="1420"/>
                  </a:lnTo>
                  <a:lnTo>
                    <a:pt x="9143" y="1380"/>
                  </a:lnTo>
                  <a:lnTo>
                    <a:pt x="9162" y="1337"/>
                  </a:lnTo>
                  <a:lnTo>
                    <a:pt x="9180" y="1293"/>
                  </a:lnTo>
                  <a:lnTo>
                    <a:pt x="9195" y="1247"/>
                  </a:lnTo>
                  <a:lnTo>
                    <a:pt x="9208" y="1199"/>
                  </a:lnTo>
                  <a:lnTo>
                    <a:pt x="9218" y="1150"/>
                  </a:lnTo>
                  <a:lnTo>
                    <a:pt x="9228" y="1099"/>
                  </a:lnTo>
                  <a:lnTo>
                    <a:pt x="9234" y="1047"/>
                  </a:lnTo>
                  <a:lnTo>
                    <a:pt x="9238" y="993"/>
                  </a:lnTo>
                  <a:lnTo>
                    <a:pt x="9239" y="937"/>
                  </a:lnTo>
                  <a:lnTo>
                    <a:pt x="9238" y="882"/>
                  </a:lnTo>
                  <a:lnTo>
                    <a:pt x="9234" y="828"/>
                  </a:lnTo>
                  <a:lnTo>
                    <a:pt x="9228" y="776"/>
                  </a:lnTo>
                  <a:lnTo>
                    <a:pt x="9218" y="726"/>
                  </a:lnTo>
                  <a:lnTo>
                    <a:pt x="9208" y="677"/>
                  </a:lnTo>
                  <a:lnTo>
                    <a:pt x="9195" y="629"/>
                  </a:lnTo>
                  <a:lnTo>
                    <a:pt x="9180" y="583"/>
                  </a:lnTo>
                  <a:lnTo>
                    <a:pt x="9162" y="539"/>
                  </a:lnTo>
                  <a:lnTo>
                    <a:pt x="9143" y="496"/>
                  </a:lnTo>
                  <a:lnTo>
                    <a:pt x="9121" y="456"/>
                  </a:lnTo>
                  <a:lnTo>
                    <a:pt x="9098" y="416"/>
                  </a:lnTo>
                  <a:lnTo>
                    <a:pt x="9072" y="378"/>
                  </a:lnTo>
                  <a:lnTo>
                    <a:pt x="9045" y="342"/>
                  </a:lnTo>
                  <a:lnTo>
                    <a:pt x="9016" y="309"/>
                  </a:lnTo>
                  <a:lnTo>
                    <a:pt x="8985" y="276"/>
                  </a:lnTo>
                  <a:lnTo>
                    <a:pt x="8953" y="245"/>
                  </a:lnTo>
                  <a:lnTo>
                    <a:pt x="8919" y="216"/>
                  </a:lnTo>
                  <a:lnTo>
                    <a:pt x="8883" y="188"/>
                  </a:lnTo>
                  <a:lnTo>
                    <a:pt x="8846" y="163"/>
                  </a:lnTo>
                  <a:lnTo>
                    <a:pt x="8808" y="139"/>
                  </a:lnTo>
                  <a:lnTo>
                    <a:pt x="8769" y="118"/>
                  </a:lnTo>
                  <a:lnTo>
                    <a:pt x="8728" y="97"/>
                  </a:lnTo>
                  <a:lnTo>
                    <a:pt x="8686" y="79"/>
                  </a:lnTo>
                  <a:lnTo>
                    <a:pt x="8642" y="62"/>
                  </a:lnTo>
                  <a:lnTo>
                    <a:pt x="8598" y="48"/>
                  </a:lnTo>
                  <a:lnTo>
                    <a:pt x="8552" y="36"/>
                  </a:lnTo>
                  <a:lnTo>
                    <a:pt x="8506" y="25"/>
                  </a:lnTo>
                  <a:lnTo>
                    <a:pt x="8459" y="17"/>
                  </a:lnTo>
                  <a:lnTo>
                    <a:pt x="8410" y="9"/>
                  </a:lnTo>
                  <a:lnTo>
                    <a:pt x="8362" y="4"/>
                  </a:lnTo>
                  <a:lnTo>
                    <a:pt x="8311" y="1"/>
                  </a:lnTo>
                  <a:lnTo>
                    <a:pt x="8261" y="0"/>
                  </a:lnTo>
                  <a:lnTo>
                    <a:pt x="8217" y="1"/>
                  </a:lnTo>
                  <a:lnTo>
                    <a:pt x="8174" y="3"/>
                  </a:lnTo>
                  <a:lnTo>
                    <a:pt x="8132" y="7"/>
                  </a:lnTo>
                  <a:lnTo>
                    <a:pt x="8090" y="12"/>
                  </a:lnTo>
                  <a:lnTo>
                    <a:pt x="8048" y="19"/>
                  </a:lnTo>
                  <a:lnTo>
                    <a:pt x="8007" y="27"/>
                  </a:lnTo>
                  <a:lnTo>
                    <a:pt x="7967" y="36"/>
                  </a:lnTo>
                  <a:lnTo>
                    <a:pt x="7927" y="47"/>
                  </a:lnTo>
                  <a:lnTo>
                    <a:pt x="7888" y="59"/>
                  </a:lnTo>
                  <a:lnTo>
                    <a:pt x="7850" y="74"/>
                  </a:lnTo>
                  <a:lnTo>
                    <a:pt x="7814" y="89"/>
                  </a:lnTo>
                  <a:lnTo>
                    <a:pt x="7778" y="105"/>
                  </a:lnTo>
                  <a:lnTo>
                    <a:pt x="7742" y="123"/>
                  </a:lnTo>
                  <a:lnTo>
                    <a:pt x="7708" y="142"/>
                  </a:lnTo>
                  <a:lnTo>
                    <a:pt x="7675" y="163"/>
                  </a:lnTo>
                  <a:lnTo>
                    <a:pt x="7643" y="185"/>
                  </a:lnTo>
                  <a:lnTo>
                    <a:pt x="7612" y="208"/>
                  </a:lnTo>
                  <a:lnTo>
                    <a:pt x="7582" y="233"/>
                  </a:lnTo>
                  <a:lnTo>
                    <a:pt x="7553" y="258"/>
                  </a:lnTo>
                  <a:lnTo>
                    <a:pt x="7526" y="286"/>
                  </a:lnTo>
                  <a:lnTo>
                    <a:pt x="7500" y="315"/>
                  </a:lnTo>
                  <a:lnTo>
                    <a:pt x="7475" y="344"/>
                  </a:lnTo>
                  <a:lnTo>
                    <a:pt x="7452" y="376"/>
                  </a:lnTo>
                  <a:lnTo>
                    <a:pt x="7429" y="408"/>
                  </a:lnTo>
                  <a:lnTo>
                    <a:pt x="7409" y="441"/>
                  </a:lnTo>
                  <a:lnTo>
                    <a:pt x="7389" y="477"/>
                  </a:lnTo>
                  <a:lnTo>
                    <a:pt x="7371" y="513"/>
                  </a:lnTo>
                  <a:lnTo>
                    <a:pt x="7354" y="550"/>
                  </a:lnTo>
                  <a:lnTo>
                    <a:pt x="7340" y="588"/>
                  </a:lnTo>
                  <a:lnTo>
                    <a:pt x="7327" y="628"/>
                  </a:lnTo>
                  <a:lnTo>
                    <a:pt x="7316" y="669"/>
                  </a:lnTo>
                  <a:lnTo>
                    <a:pt x="7306" y="712"/>
                  </a:lnTo>
                  <a:lnTo>
                    <a:pt x="7018" y="712"/>
                  </a:lnTo>
                  <a:lnTo>
                    <a:pt x="7018" y="42"/>
                  </a:lnTo>
                  <a:lnTo>
                    <a:pt x="6620" y="42"/>
                  </a:lnTo>
                  <a:close/>
                  <a:moveTo>
                    <a:pt x="7685" y="937"/>
                  </a:moveTo>
                  <a:lnTo>
                    <a:pt x="7686" y="904"/>
                  </a:lnTo>
                  <a:lnTo>
                    <a:pt x="7687" y="870"/>
                  </a:lnTo>
                  <a:lnTo>
                    <a:pt x="7690" y="838"/>
                  </a:lnTo>
                  <a:lnTo>
                    <a:pt x="7694" y="807"/>
                  </a:lnTo>
                  <a:lnTo>
                    <a:pt x="7699" y="776"/>
                  </a:lnTo>
                  <a:lnTo>
                    <a:pt x="7705" y="747"/>
                  </a:lnTo>
                  <a:lnTo>
                    <a:pt x="7713" y="718"/>
                  </a:lnTo>
                  <a:lnTo>
                    <a:pt x="7722" y="689"/>
                  </a:lnTo>
                  <a:lnTo>
                    <a:pt x="7732" y="663"/>
                  </a:lnTo>
                  <a:lnTo>
                    <a:pt x="7742" y="637"/>
                  </a:lnTo>
                  <a:lnTo>
                    <a:pt x="7754" y="613"/>
                  </a:lnTo>
                  <a:lnTo>
                    <a:pt x="7768" y="588"/>
                  </a:lnTo>
                  <a:lnTo>
                    <a:pt x="7782" y="566"/>
                  </a:lnTo>
                  <a:lnTo>
                    <a:pt x="7797" y="544"/>
                  </a:lnTo>
                  <a:lnTo>
                    <a:pt x="7814" y="523"/>
                  </a:lnTo>
                  <a:lnTo>
                    <a:pt x="7831" y="504"/>
                  </a:lnTo>
                  <a:lnTo>
                    <a:pt x="7849" y="485"/>
                  </a:lnTo>
                  <a:lnTo>
                    <a:pt x="7870" y="468"/>
                  </a:lnTo>
                  <a:lnTo>
                    <a:pt x="7890" y="451"/>
                  </a:lnTo>
                  <a:lnTo>
                    <a:pt x="7913" y="436"/>
                  </a:lnTo>
                  <a:lnTo>
                    <a:pt x="7935" y="422"/>
                  </a:lnTo>
                  <a:lnTo>
                    <a:pt x="7960" y="410"/>
                  </a:lnTo>
                  <a:lnTo>
                    <a:pt x="7985" y="397"/>
                  </a:lnTo>
                  <a:lnTo>
                    <a:pt x="8011" y="387"/>
                  </a:lnTo>
                  <a:lnTo>
                    <a:pt x="8038" y="377"/>
                  </a:lnTo>
                  <a:lnTo>
                    <a:pt x="8067" y="369"/>
                  </a:lnTo>
                  <a:lnTo>
                    <a:pt x="8097" y="363"/>
                  </a:lnTo>
                  <a:lnTo>
                    <a:pt x="8127" y="356"/>
                  </a:lnTo>
                  <a:lnTo>
                    <a:pt x="8159" y="352"/>
                  </a:lnTo>
                  <a:lnTo>
                    <a:pt x="8192" y="348"/>
                  </a:lnTo>
                  <a:lnTo>
                    <a:pt x="8227" y="346"/>
                  </a:lnTo>
                  <a:lnTo>
                    <a:pt x="8261" y="346"/>
                  </a:lnTo>
                  <a:lnTo>
                    <a:pt x="8296" y="346"/>
                  </a:lnTo>
                  <a:lnTo>
                    <a:pt x="8330" y="348"/>
                  </a:lnTo>
                  <a:lnTo>
                    <a:pt x="8363" y="352"/>
                  </a:lnTo>
                  <a:lnTo>
                    <a:pt x="8394" y="356"/>
                  </a:lnTo>
                  <a:lnTo>
                    <a:pt x="8425" y="363"/>
                  </a:lnTo>
                  <a:lnTo>
                    <a:pt x="8455" y="369"/>
                  </a:lnTo>
                  <a:lnTo>
                    <a:pt x="8483" y="377"/>
                  </a:lnTo>
                  <a:lnTo>
                    <a:pt x="8511" y="387"/>
                  </a:lnTo>
                  <a:lnTo>
                    <a:pt x="8537" y="397"/>
                  </a:lnTo>
                  <a:lnTo>
                    <a:pt x="8563" y="410"/>
                  </a:lnTo>
                  <a:lnTo>
                    <a:pt x="8587" y="422"/>
                  </a:lnTo>
                  <a:lnTo>
                    <a:pt x="8610" y="436"/>
                  </a:lnTo>
                  <a:lnTo>
                    <a:pt x="8632" y="451"/>
                  </a:lnTo>
                  <a:lnTo>
                    <a:pt x="8653" y="468"/>
                  </a:lnTo>
                  <a:lnTo>
                    <a:pt x="8672" y="485"/>
                  </a:lnTo>
                  <a:lnTo>
                    <a:pt x="8691" y="504"/>
                  </a:lnTo>
                  <a:lnTo>
                    <a:pt x="8709" y="523"/>
                  </a:lnTo>
                  <a:lnTo>
                    <a:pt x="8726" y="544"/>
                  </a:lnTo>
                  <a:lnTo>
                    <a:pt x="8741" y="566"/>
                  </a:lnTo>
                  <a:lnTo>
                    <a:pt x="8755" y="588"/>
                  </a:lnTo>
                  <a:lnTo>
                    <a:pt x="8767" y="613"/>
                  </a:lnTo>
                  <a:lnTo>
                    <a:pt x="8780" y="637"/>
                  </a:lnTo>
                  <a:lnTo>
                    <a:pt x="8791" y="663"/>
                  </a:lnTo>
                  <a:lnTo>
                    <a:pt x="8800" y="689"/>
                  </a:lnTo>
                  <a:lnTo>
                    <a:pt x="8809" y="718"/>
                  </a:lnTo>
                  <a:lnTo>
                    <a:pt x="8817" y="747"/>
                  </a:lnTo>
                  <a:lnTo>
                    <a:pt x="8823" y="776"/>
                  </a:lnTo>
                  <a:lnTo>
                    <a:pt x="8828" y="807"/>
                  </a:lnTo>
                  <a:lnTo>
                    <a:pt x="8832" y="838"/>
                  </a:lnTo>
                  <a:lnTo>
                    <a:pt x="8835" y="870"/>
                  </a:lnTo>
                  <a:lnTo>
                    <a:pt x="8837" y="904"/>
                  </a:lnTo>
                  <a:lnTo>
                    <a:pt x="8837" y="937"/>
                  </a:lnTo>
                  <a:lnTo>
                    <a:pt x="8837" y="972"/>
                  </a:lnTo>
                  <a:lnTo>
                    <a:pt x="8835" y="1005"/>
                  </a:lnTo>
                  <a:lnTo>
                    <a:pt x="8832" y="1037"/>
                  </a:lnTo>
                  <a:lnTo>
                    <a:pt x="8828" y="1069"/>
                  </a:lnTo>
                  <a:lnTo>
                    <a:pt x="8823" y="1100"/>
                  </a:lnTo>
                  <a:lnTo>
                    <a:pt x="8817" y="1129"/>
                  </a:lnTo>
                  <a:lnTo>
                    <a:pt x="8809" y="1158"/>
                  </a:lnTo>
                  <a:lnTo>
                    <a:pt x="8800" y="1186"/>
                  </a:lnTo>
                  <a:lnTo>
                    <a:pt x="8791" y="1212"/>
                  </a:lnTo>
                  <a:lnTo>
                    <a:pt x="8780" y="1239"/>
                  </a:lnTo>
                  <a:lnTo>
                    <a:pt x="8767" y="1263"/>
                  </a:lnTo>
                  <a:lnTo>
                    <a:pt x="8755" y="1287"/>
                  </a:lnTo>
                  <a:lnTo>
                    <a:pt x="8741" y="1310"/>
                  </a:lnTo>
                  <a:lnTo>
                    <a:pt x="8726" y="1332"/>
                  </a:lnTo>
                  <a:lnTo>
                    <a:pt x="8709" y="1352"/>
                  </a:lnTo>
                  <a:lnTo>
                    <a:pt x="8691" y="1371"/>
                  </a:lnTo>
                  <a:lnTo>
                    <a:pt x="8672" y="1391"/>
                  </a:lnTo>
                  <a:lnTo>
                    <a:pt x="8653" y="1408"/>
                  </a:lnTo>
                  <a:lnTo>
                    <a:pt x="8632" y="1424"/>
                  </a:lnTo>
                  <a:lnTo>
                    <a:pt x="8610" y="1440"/>
                  </a:lnTo>
                  <a:lnTo>
                    <a:pt x="8587" y="1453"/>
                  </a:lnTo>
                  <a:lnTo>
                    <a:pt x="8563" y="1466"/>
                  </a:lnTo>
                  <a:lnTo>
                    <a:pt x="8537" y="1479"/>
                  </a:lnTo>
                  <a:lnTo>
                    <a:pt x="8511" y="1489"/>
                  </a:lnTo>
                  <a:lnTo>
                    <a:pt x="8483" y="1498"/>
                  </a:lnTo>
                  <a:lnTo>
                    <a:pt x="8455" y="1506"/>
                  </a:lnTo>
                  <a:lnTo>
                    <a:pt x="8425" y="1513"/>
                  </a:lnTo>
                  <a:lnTo>
                    <a:pt x="8394" y="1519"/>
                  </a:lnTo>
                  <a:lnTo>
                    <a:pt x="8363" y="1523"/>
                  </a:lnTo>
                  <a:lnTo>
                    <a:pt x="8330" y="1527"/>
                  </a:lnTo>
                  <a:lnTo>
                    <a:pt x="8296" y="1529"/>
                  </a:lnTo>
                  <a:lnTo>
                    <a:pt x="8261" y="1530"/>
                  </a:lnTo>
                  <a:lnTo>
                    <a:pt x="8227" y="1529"/>
                  </a:lnTo>
                  <a:lnTo>
                    <a:pt x="8192" y="1527"/>
                  </a:lnTo>
                  <a:lnTo>
                    <a:pt x="8159" y="1523"/>
                  </a:lnTo>
                  <a:lnTo>
                    <a:pt x="8127" y="1519"/>
                  </a:lnTo>
                  <a:lnTo>
                    <a:pt x="8097" y="1513"/>
                  </a:lnTo>
                  <a:lnTo>
                    <a:pt x="8067" y="1506"/>
                  </a:lnTo>
                  <a:lnTo>
                    <a:pt x="8038" y="1498"/>
                  </a:lnTo>
                  <a:lnTo>
                    <a:pt x="8011" y="1489"/>
                  </a:lnTo>
                  <a:lnTo>
                    <a:pt x="7985" y="1479"/>
                  </a:lnTo>
                  <a:lnTo>
                    <a:pt x="7960" y="1466"/>
                  </a:lnTo>
                  <a:lnTo>
                    <a:pt x="7935" y="1453"/>
                  </a:lnTo>
                  <a:lnTo>
                    <a:pt x="7913" y="1440"/>
                  </a:lnTo>
                  <a:lnTo>
                    <a:pt x="7890" y="1424"/>
                  </a:lnTo>
                  <a:lnTo>
                    <a:pt x="7870" y="1408"/>
                  </a:lnTo>
                  <a:lnTo>
                    <a:pt x="7849" y="1391"/>
                  </a:lnTo>
                  <a:lnTo>
                    <a:pt x="7831" y="1371"/>
                  </a:lnTo>
                  <a:lnTo>
                    <a:pt x="7814" y="1352"/>
                  </a:lnTo>
                  <a:lnTo>
                    <a:pt x="7797" y="1332"/>
                  </a:lnTo>
                  <a:lnTo>
                    <a:pt x="7782" y="1310"/>
                  </a:lnTo>
                  <a:lnTo>
                    <a:pt x="7768" y="1287"/>
                  </a:lnTo>
                  <a:lnTo>
                    <a:pt x="7754" y="1263"/>
                  </a:lnTo>
                  <a:lnTo>
                    <a:pt x="7742" y="1239"/>
                  </a:lnTo>
                  <a:lnTo>
                    <a:pt x="7732" y="1212"/>
                  </a:lnTo>
                  <a:lnTo>
                    <a:pt x="7722" y="1186"/>
                  </a:lnTo>
                  <a:lnTo>
                    <a:pt x="7713" y="1158"/>
                  </a:lnTo>
                  <a:lnTo>
                    <a:pt x="7705" y="1129"/>
                  </a:lnTo>
                  <a:lnTo>
                    <a:pt x="7699" y="1100"/>
                  </a:lnTo>
                  <a:lnTo>
                    <a:pt x="7694" y="1069"/>
                  </a:lnTo>
                  <a:lnTo>
                    <a:pt x="7690" y="1037"/>
                  </a:lnTo>
                  <a:lnTo>
                    <a:pt x="7687" y="1005"/>
                  </a:lnTo>
                  <a:lnTo>
                    <a:pt x="7686" y="972"/>
                  </a:lnTo>
                  <a:lnTo>
                    <a:pt x="7685" y="937"/>
                  </a:lnTo>
                  <a:close/>
                  <a:moveTo>
                    <a:pt x="11388" y="479"/>
                  </a:moveTo>
                  <a:lnTo>
                    <a:pt x="11371" y="449"/>
                  </a:lnTo>
                  <a:lnTo>
                    <a:pt x="11352" y="422"/>
                  </a:lnTo>
                  <a:lnTo>
                    <a:pt x="11333" y="394"/>
                  </a:lnTo>
                  <a:lnTo>
                    <a:pt x="11313" y="368"/>
                  </a:lnTo>
                  <a:lnTo>
                    <a:pt x="11293" y="342"/>
                  </a:lnTo>
                  <a:lnTo>
                    <a:pt x="11271" y="318"/>
                  </a:lnTo>
                  <a:lnTo>
                    <a:pt x="11250" y="294"/>
                  </a:lnTo>
                  <a:lnTo>
                    <a:pt x="11227" y="272"/>
                  </a:lnTo>
                  <a:lnTo>
                    <a:pt x="11204" y="249"/>
                  </a:lnTo>
                  <a:lnTo>
                    <a:pt x="11180" y="229"/>
                  </a:lnTo>
                  <a:lnTo>
                    <a:pt x="11156" y="208"/>
                  </a:lnTo>
                  <a:lnTo>
                    <a:pt x="11130" y="189"/>
                  </a:lnTo>
                  <a:lnTo>
                    <a:pt x="11105" y="172"/>
                  </a:lnTo>
                  <a:lnTo>
                    <a:pt x="11077" y="154"/>
                  </a:lnTo>
                  <a:lnTo>
                    <a:pt x="11051" y="137"/>
                  </a:lnTo>
                  <a:lnTo>
                    <a:pt x="11022" y="122"/>
                  </a:lnTo>
                  <a:lnTo>
                    <a:pt x="10993" y="107"/>
                  </a:lnTo>
                  <a:lnTo>
                    <a:pt x="10964" y="93"/>
                  </a:lnTo>
                  <a:lnTo>
                    <a:pt x="10934" y="81"/>
                  </a:lnTo>
                  <a:lnTo>
                    <a:pt x="10903" y="69"/>
                  </a:lnTo>
                  <a:lnTo>
                    <a:pt x="10872" y="58"/>
                  </a:lnTo>
                  <a:lnTo>
                    <a:pt x="10840" y="48"/>
                  </a:lnTo>
                  <a:lnTo>
                    <a:pt x="10807" y="39"/>
                  </a:lnTo>
                  <a:lnTo>
                    <a:pt x="10774" y="31"/>
                  </a:lnTo>
                  <a:lnTo>
                    <a:pt x="10740" y="24"/>
                  </a:lnTo>
                  <a:lnTo>
                    <a:pt x="10705" y="18"/>
                  </a:lnTo>
                  <a:lnTo>
                    <a:pt x="10669" y="12"/>
                  </a:lnTo>
                  <a:lnTo>
                    <a:pt x="10633" y="8"/>
                  </a:lnTo>
                  <a:lnTo>
                    <a:pt x="10597" y="4"/>
                  </a:lnTo>
                  <a:lnTo>
                    <a:pt x="10559" y="2"/>
                  </a:lnTo>
                  <a:lnTo>
                    <a:pt x="10521" y="1"/>
                  </a:lnTo>
                  <a:lnTo>
                    <a:pt x="10482" y="0"/>
                  </a:lnTo>
                  <a:lnTo>
                    <a:pt x="10429" y="1"/>
                  </a:lnTo>
                  <a:lnTo>
                    <a:pt x="10378" y="4"/>
                  </a:lnTo>
                  <a:lnTo>
                    <a:pt x="10327" y="9"/>
                  </a:lnTo>
                  <a:lnTo>
                    <a:pt x="10277" y="17"/>
                  </a:lnTo>
                  <a:lnTo>
                    <a:pt x="10229" y="26"/>
                  </a:lnTo>
                  <a:lnTo>
                    <a:pt x="10181" y="37"/>
                  </a:lnTo>
                  <a:lnTo>
                    <a:pt x="10133" y="50"/>
                  </a:lnTo>
                  <a:lnTo>
                    <a:pt x="10087" y="66"/>
                  </a:lnTo>
                  <a:lnTo>
                    <a:pt x="10043" y="82"/>
                  </a:lnTo>
                  <a:lnTo>
                    <a:pt x="10001" y="101"/>
                  </a:lnTo>
                  <a:lnTo>
                    <a:pt x="9959" y="122"/>
                  </a:lnTo>
                  <a:lnTo>
                    <a:pt x="9918" y="144"/>
                  </a:lnTo>
                  <a:lnTo>
                    <a:pt x="9879" y="169"/>
                  </a:lnTo>
                  <a:lnTo>
                    <a:pt x="9841" y="195"/>
                  </a:lnTo>
                  <a:lnTo>
                    <a:pt x="9805" y="223"/>
                  </a:lnTo>
                  <a:lnTo>
                    <a:pt x="9771" y="252"/>
                  </a:lnTo>
                  <a:lnTo>
                    <a:pt x="9738" y="283"/>
                  </a:lnTo>
                  <a:lnTo>
                    <a:pt x="9706" y="316"/>
                  </a:lnTo>
                  <a:lnTo>
                    <a:pt x="9677" y="350"/>
                  </a:lnTo>
                  <a:lnTo>
                    <a:pt x="9650" y="387"/>
                  </a:lnTo>
                  <a:lnTo>
                    <a:pt x="9623" y="425"/>
                  </a:lnTo>
                  <a:lnTo>
                    <a:pt x="9600" y="464"/>
                  </a:lnTo>
                  <a:lnTo>
                    <a:pt x="9578" y="505"/>
                  </a:lnTo>
                  <a:lnTo>
                    <a:pt x="9559" y="547"/>
                  </a:lnTo>
                  <a:lnTo>
                    <a:pt x="9540" y="591"/>
                  </a:lnTo>
                  <a:lnTo>
                    <a:pt x="9525" y="636"/>
                  </a:lnTo>
                  <a:lnTo>
                    <a:pt x="9512" y="683"/>
                  </a:lnTo>
                  <a:lnTo>
                    <a:pt x="9502" y="731"/>
                  </a:lnTo>
                  <a:lnTo>
                    <a:pt x="9492" y="781"/>
                  </a:lnTo>
                  <a:lnTo>
                    <a:pt x="9486" y="832"/>
                  </a:lnTo>
                  <a:lnTo>
                    <a:pt x="9483" y="884"/>
                  </a:lnTo>
                  <a:lnTo>
                    <a:pt x="9481" y="937"/>
                  </a:lnTo>
                  <a:lnTo>
                    <a:pt x="9482" y="992"/>
                  </a:lnTo>
                  <a:lnTo>
                    <a:pt x="9486" y="1044"/>
                  </a:lnTo>
                  <a:lnTo>
                    <a:pt x="9492" y="1095"/>
                  </a:lnTo>
                  <a:lnTo>
                    <a:pt x="9501" y="1144"/>
                  </a:lnTo>
                  <a:lnTo>
                    <a:pt x="9512" y="1193"/>
                  </a:lnTo>
                  <a:lnTo>
                    <a:pt x="9525" y="1240"/>
                  </a:lnTo>
                  <a:lnTo>
                    <a:pt x="9539" y="1285"/>
                  </a:lnTo>
                  <a:lnTo>
                    <a:pt x="9557" y="1328"/>
                  </a:lnTo>
                  <a:lnTo>
                    <a:pt x="9576" y="1370"/>
                  </a:lnTo>
                  <a:lnTo>
                    <a:pt x="9598" y="1411"/>
                  </a:lnTo>
                  <a:lnTo>
                    <a:pt x="9621" y="1451"/>
                  </a:lnTo>
                  <a:lnTo>
                    <a:pt x="9647" y="1489"/>
                  </a:lnTo>
                  <a:lnTo>
                    <a:pt x="9674" y="1524"/>
                  </a:lnTo>
                  <a:lnTo>
                    <a:pt x="9703" y="1559"/>
                  </a:lnTo>
                  <a:lnTo>
                    <a:pt x="9734" y="1592"/>
                  </a:lnTo>
                  <a:lnTo>
                    <a:pt x="9766" y="1624"/>
                  </a:lnTo>
                  <a:lnTo>
                    <a:pt x="9801" y="1653"/>
                  </a:lnTo>
                  <a:lnTo>
                    <a:pt x="9837" y="1681"/>
                  </a:lnTo>
                  <a:lnTo>
                    <a:pt x="9875" y="1707"/>
                  </a:lnTo>
                  <a:lnTo>
                    <a:pt x="9914" y="1731"/>
                  </a:lnTo>
                  <a:lnTo>
                    <a:pt x="9954" y="1753"/>
                  </a:lnTo>
                  <a:lnTo>
                    <a:pt x="9995" y="1775"/>
                  </a:lnTo>
                  <a:lnTo>
                    <a:pt x="10039" y="1793"/>
                  </a:lnTo>
                  <a:lnTo>
                    <a:pt x="10083" y="1810"/>
                  </a:lnTo>
                  <a:lnTo>
                    <a:pt x="10129" y="1826"/>
                  </a:lnTo>
                  <a:lnTo>
                    <a:pt x="10176" y="1838"/>
                  </a:lnTo>
                  <a:lnTo>
                    <a:pt x="10224" y="1849"/>
                  </a:lnTo>
                  <a:lnTo>
                    <a:pt x="10275" y="1858"/>
                  </a:lnTo>
                  <a:lnTo>
                    <a:pt x="10325" y="1865"/>
                  </a:lnTo>
                  <a:lnTo>
                    <a:pt x="10376" y="1871"/>
                  </a:lnTo>
                  <a:lnTo>
                    <a:pt x="10428" y="1875"/>
                  </a:lnTo>
                  <a:lnTo>
                    <a:pt x="10482" y="1876"/>
                  </a:lnTo>
                  <a:lnTo>
                    <a:pt x="10521" y="1875"/>
                  </a:lnTo>
                  <a:lnTo>
                    <a:pt x="10559" y="1874"/>
                  </a:lnTo>
                  <a:lnTo>
                    <a:pt x="10597" y="1871"/>
                  </a:lnTo>
                  <a:lnTo>
                    <a:pt x="10633" y="1868"/>
                  </a:lnTo>
                  <a:lnTo>
                    <a:pt x="10669" y="1863"/>
                  </a:lnTo>
                  <a:lnTo>
                    <a:pt x="10705" y="1858"/>
                  </a:lnTo>
                  <a:lnTo>
                    <a:pt x="10740" y="1852"/>
                  </a:lnTo>
                  <a:lnTo>
                    <a:pt x="10774" y="1845"/>
                  </a:lnTo>
                  <a:lnTo>
                    <a:pt x="10807" y="1837"/>
                  </a:lnTo>
                  <a:lnTo>
                    <a:pt x="10840" y="1828"/>
                  </a:lnTo>
                  <a:lnTo>
                    <a:pt x="10872" y="1817"/>
                  </a:lnTo>
                  <a:lnTo>
                    <a:pt x="10903" y="1806"/>
                  </a:lnTo>
                  <a:lnTo>
                    <a:pt x="10934" y="1795"/>
                  </a:lnTo>
                  <a:lnTo>
                    <a:pt x="10964" y="1782"/>
                  </a:lnTo>
                  <a:lnTo>
                    <a:pt x="10993" y="1768"/>
                  </a:lnTo>
                  <a:lnTo>
                    <a:pt x="11022" y="1753"/>
                  </a:lnTo>
                  <a:lnTo>
                    <a:pt x="11051" y="1738"/>
                  </a:lnTo>
                  <a:lnTo>
                    <a:pt x="11077" y="1722"/>
                  </a:lnTo>
                  <a:lnTo>
                    <a:pt x="11105" y="1704"/>
                  </a:lnTo>
                  <a:lnTo>
                    <a:pt x="11130" y="1686"/>
                  </a:lnTo>
                  <a:lnTo>
                    <a:pt x="11156" y="1666"/>
                  </a:lnTo>
                  <a:lnTo>
                    <a:pt x="11180" y="1647"/>
                  </a:lnTo>
                  <a:lnTo>
                    <a:pt x="11204" y="1626"/>
                  </a:lnTo>
                  <a:lnTo>
                    <a:pt x="11227" y="1604"/>
                  </a:lnTo>
                  <a:lnTo>
                    <a:pt x="11250" y="1581"/>
                  </a:lnTo>
                  <a:lnTo>
                    <a:pt x="11271" y="1557"/>
                  </a:lnTo>
                  <a:lnTo>
                    <a:pt x="11293" y="1533"/>
                  </a:lnTo>
                  <a:lnTo>
                    <a:pt x="11313" y="1507"/>
                  </a:lnTo>
                  <a:lnTo>
                    <a:pt x="11333" y="1481"/>
                  </a:lnTo>
                  <a:lnTo>
                    <a:pt x="11352" y="1454"/>
                  </a:lnTo>
                  <a:lnTo>
                    <a:pt x="11371" y="1425"/>
                  </a:lnTo>
                  <a:lnTo>
                    <a:pt x="11388" y="1397"/>
                  </a:lnTo>
                  <a:lnTo>
                    <a:pt x="11074" y="1216"/>
                  </a:lnTo>
                  <a:lnTo>
                    <a:pt x="11061" y="1234"/>
                  </a:lnTo>
                  <a:lnTo>
                    <a:pt x="11048" y="1251"/>
                  </a:lnTo>
                  <a:lnTo>
                    <a:pt x="11034" y="1268"/>
                  </a:lnTo>
                  <a:lnTo>
                    <a:pt x="11021" y="1285"/>
                  </a:lnTo>
                  <a:lnTo>
                    <a:pt x="11007" y="1300"/>
                  </a:lnTo>
                  <a:lnTo>
                    <a:pt x="10992" y="1315"/>
                  </a:lnTo>
                  <a:lnTo>
                    <a:pt x="10978" y="1330"/>
                  </a:lnTo>
                  <a:lnTo>
                    <a:pt x="10963" y="1345"/>
                  </a:lnTo>
                  <a:lnTo>
                    <a:pt x="10948" y="1358"/>
                  </a:lnTo>
                  <a:lnTo>
                    <a:pt x="10932" y="1371"/>
                  </a:lnTo>
                  <a:lnTo>
                    <a:pt x="10917" y="1384"/>
                  </a:lnTo>
                  <a:lnTo>
                    <a:pt x="10900" y="1396"/>
                  </a:lnTo>
                  <a:lnTo>
                    <a:pt x="10883" y="1408"/>
                  </a:lnTo>
                  <a:lnTo>
                    <a:pt x="10866" y="1418"/>
                  </a:lnTo>
                  <a:lnTo>
                    <a:pt x="10848" y="1429"/>
                  </a:lnTo>
                  <a:lnTo>
                    <a:pt x="10831" y="1439"/>
                  </a:lnTo>
                  <a:lnTo>
                    <a:pt x="10812" y="1448"/>
                  </a:lnTo>
                  <a:lnTo>
                    <a:pt x="10793" y="1457"/>
                  </a:lnTo>
                  <a:lnTo>
                    <a:pt x="10774" y="1465"/>
                  </a:lnTo>
                  <a:lnTo>
                    <a:pt x="10754" y="1472"/>
                  </a:lnTo>
                  <a:lnTo>
                    <a:pt x="10734" y="1480"/>
                  </a:lnTo>
                  <a:lnTo>
                    <a:pt x="10713" y="1486"/>
                  </a:lnTo>
                  <a:lnTo>
                    <a:pt x="10692" y="1492"/>
                  </a:lnTo>
                  <a:lnTo>
                    <a:pt x="10670" y="1497"/>
                  </a:lnTo>
                  <a:lnTo>
                    <a:pt x="10648" y="1501"/>
                  </a:lnTo>
                  <a:lnTo>
                    <a:pt x="10624" y="1505"/>
                  </a:lnTo>
                  <a:lnTo>
                    <a:pt x="10601" y="1508"/>
                  </a:lnTo>
                  <a:lnTo>
                    <a:pt x="10577" y="1511"/>
                  </a:lnTo>
                  <a:lnTo>
                    <a:pt x="10553" y="1513"/>
                  </a:lnTo>
                  <a:lnTo>
                    <a:pt x="10527" y="1515"/>
                  </a:lnTo>
                  <a:lnTo>
                    <a:pt x="10502" y="1516"/>
                  </a:lnTo>
                  <a:lnTo>
                    <a:pt x="10475" y="1516"/>
                  </a:lnTo>
                  <a:lnTo>
                    <a:pt x="10442" y="1515"/>
                  </a:lnTo>
                  <a:lnTo>
                    <a:pt x="10411" y="1513"/>
                  </a:lnTo>
                  <a:lnTo>
                    <a:pt x="10380" y="1510"/>
                  </a:lnTo>
                  <a:lnTo>
                    <a:pt x="10349" y="1506"/>
                  </a:lnTo>
                  <a:lnTo>
                    <a:pt x="10320" y="1500"/>
                  </a:lnTo>
                  <a:lnTo>
                    <a:pt x="10291" y="1493"/>
                  </a:lnTo>
                  <a:lnTo>
                    <a:pt x="10262" y="1485"/>
                  </a:lnTo>
                  <a:lnTo>
                    <a:pt x="10235" y="1474"/>
                  </a:lnTo>
                  <a:lnTo>
                    <a:pt x="10208" y="1464"/>
                  </a:lnTo>
                  <a:lnTo>
                    <a:pt x="10183" y="1452"/>
                  </a:lnTo>
                  <a:lnTo>
                    <a:pt x="10158" y="1439"/>
                  </a:lnTo>
                  <a:lnTo>
                    <a:pt x="10134" y="1424"/>
                  </a:lnTo>
                  <a:lnTo>
                    <a:pt x="10111" y="1409"/>
                  </a:lnTo>
                  <a:lnTo>
                    <a:pt x="10090" y="1393"/>
                  </a:lnTo>
                  <a:lnTo>
                    <a:pt x="10068" y="1375"/>
                  </a:lnTo>
                  <a:lnTo>
                    <a:pt x="10048" y="1357"/>
                  </a:lnTo>
                  <a:lnTo>
                    <a:pt x="10029" y="1338"/>
                  </a:lnTo>
                  <a:lnTo>
                    <a:pt x="10011" y="1317"/>
                  </a:lnTo>
                  <a:lnTo>
                    <a:pt x="9994" y="1295"/>
                  </a:lnTo>
                  <a:lnTo>
                    <a:pt x="9978" y="1273"/>
                  </a:lnTo>
                  <a:lnTo>
                    <a:pt x="9964" y="1250"/>
                  </a:lnTo>
                  <a:lnTo>
                    <a:pt x="9949" y="1225"/>
                  </a:lnTo>
                  <a:lnTo>
                    <a:pt x="9937" y="1200"/>
                  </a:lnTo>
                  <a:lnTo>
                    <a:pt x="9926" y="1174"/>
                  </a:lnTo>
                  <a:lnTo>
                    <a:pt x="9917" y="1148"/>
                  </a:lnTo>
                  <a:lnTo>
                    <a:pt x="9908" y="1119"/>
                  </a:lnTo>
                  <a:lnTo>
                    <a:pt x="9900" y="1092"/>
                  </a:lnTo>
                  <a:lnTo>
                    <a:pt x="9894" y="1062"/>
                  </a:lnTo>
                  <a:lnTo>
                    <a:pt x="9889" y="1032"/>
                  </a:lnTo>
                  <a:lnTo>
                    <a:pt x="9886" y="1002"/>
                  </a:lnTo>
                  <a:lnTo>
                    <a:pt x="9884" y="970"/>
                  </a:lnTo>
                  <a:lnTo>
                    <a:pt x="9883" y="937"/>
                  </a:lnTo>
                  <a:lnTo>
                    <a:pt x="9884" y="905"/>
                  </a:lnTo>
                  <a:lnTo>
                    <a:pt x="9886" y="873"/>
                  </a:lnTo>
                  <a:lnTo>
                    <a:pt x="9889" y="842"/>
                  </a:lnTo>
                  <a:lnTo>
                    <a:pt x="9893" y="812"/>
                  </a:lnTo>
                  <a:lnTo>
                    <a:pt x="9899" y="782"/>
                  </a:lnTo>
                  <a:lnTo>
                    <a:pt x="9906" y="754"/>
                  </a:lnTo>
                  <a:lnTo>
                    <a:pt x="9916" y="726"/>
                  </a:lnTo>
                  <a:lnTo>
                    <a:pt x="9925" y="699"/>
                  </a:lnTo>
                  <a:lnTo>
                    <a:pt x="9936" y="673"/>
                  </a:lnTo>
                  <a:lnTo>
                    <a:pt x="9947" y="647"/>
                  </a:lnTo>
                  <a:lnTo>
                    <a:pt x="9961" y="623"/>
                  </a:lnTo>
                  <a:lnTo>
                    <a:pt x="9976" y="599"/>
                  </a:lnTo>
                  <a:lnTo>
                    <a:pt x="9991" y="577"/>
                  </a:lnTo>
                  <a:lnTo>
                    <a:pt x="10008" y="556"/>
                  </a:lnTo>
                  <a:lnTo>
                    <a:pt x="10025" y="535"/>
                  </a:lnTo>
                  <a:lnTo>
                    <a:pt x="10045" y="516"/>
                  </a:lnTo>
                  <a:lnTo>
                    <a:pt x="10064" y="498"/>
                  </a:lnTo>
                  <a:lnTo>
                    <a:pt x="10085" y="481"/>
                  </a:lnTo>
                  <a:lnTo>
                    <a:pt x="10107" y="465"/>
                  </a:lnTo>
                  <a:lnTo>
                    <a:pt x="10129" y="449"/>
                  </a:lnTo>
                  <a:lnTo>
                    <a:pt x="10154" y="435"/>
                  </a:lnTo>
                  <a:lnTo>
                    <a:pt x="10178" y="422"/>
                  </a:lnTo>
                  <a:lnTo>
                    <a:pt x="10204" y="411"/>
                  </a:lnTo>
                  <a:lnTo>
                    <a:pt x="10231" y="400"/>
                  </a:lnTo>
                  <a:lnTo>
                    <a:pt x="10258" y="390"/>
                  </a:lnTo>
                  <a:lnTo>
                    <a:pt x="10287" y="382"/>
                  </a:lnTo>
                  <a:lnTo>
                    <a:pt x="10316" y="375"/>
                  </a:lnTo>
                  <a:lnTo>
                    <a:pt x="10346" y="370"/>
                  </a:lnTo>
                  <a:lnTo>
                    <a:pt x="10378" y="365"/>
                  </a:lnTo>
                  <a:lnTo>
                    <a:pt x="10410" y="362"/>
                  </a:lnTo>
                  <a:lnTo>
                    <a:pt x="10442" y="360"/>
                  </a:lnTo>
                  <a:lnTo>
                    <a:pt x="10475" y="360"/>
                  </a:lnTo>
                  <a:lnTo>
                    <a:pt x="10502" y="360"/>
                  </a:lnTo>
                  <a:lnTo>
                    <a:pt x="10527" y="361"/>
                  </a:lnTo>
                  <a:lnTo>
                    <a:pt x="10553" y="362"/>
                  </a:lnTo>
                  <a:lnTo>
                    <a:pt x="10577" y="364"/>
                  </a:lnTo>
                  <a:lnTo>
                    <a:pt x="10601" y="367"/>
                  </a:lnTo>
                  <a:lnTo>
                    <a:pt x="10624" y="370"/>
                  </a:lnTo>
                  <a:lnTo>
                    <a:pt x="10648" y="374"/>
                  </a:lnTo>
                  <a:lnTo>
                    <a:pt x="10670" y="379"/>
                  </a:lnTo>
                  <a:lnTo>
                    <a:pt x="10692" y="384"/>
                  </a:lnTo>
                  <a:lnTo>
                    <a:pt x="10713" y="390"/>
                  </a:lnTo>
                  <a:lnTo>
                    <a:pt x="10734" y="396"/>
                  </a:lnTo>
                  <a:lnTo>
                    <a:pt x="10754" y="403"/>
                  </a:lnTo>
                  <a:lnTo>
                    <a:pt x="10774" y="411"/>
                  </a:lnTo>
                  <a:lnTo>
                    <a:pt x="10793" y="419"/>
                  </a:lnTo>
                  <a:lnTo>
                    <a:pt x="10812" y="427"/>
                  </a:lnTo>
                  <a:lnTo>
                    <a:pt x="10831" y="437"/>
                  </a:lnTo>
                  <a:lnTo>
                    <a:pt x="10848" y="446"/>
                  </a:lnTo>
                  <a:lnTo>
                    <a:pt x="10866" y="457"/>
                  </a:lnTo>
                  <a:lnTo>
                    <a:pt x="10883" y="468"/>
                  </a:lnTo>
                  <a:lnTo>
                    <a:pt x="10900" y="479"/>
                  </a:lnTo>
                  <a:lnTo>
                    <a:pt x="10917" y="491"/>
                  </a:lnTo>
                  <a:lnTo>
                    <a:pt x="10932" y="505"/>
                  </a:lnTo>
                  <a:lnTo>
                    <a:pt x="10948" y="517"/>
                  </a:lnTo>
                  <a:lnTo>
                    <a:pt x="10963" y="531"/>
                  </a:lnTo>
                  <a:lnTo>
                    <a:pt x="10978" y="545"/>
                  </a:lnTo>
                  <a:lnTo>
                    <a:pt x="10992" y="560"/>
                  </a:lnTo>
                  <a:lnTo>
                    <a:pt x="11007" y="575"/>
                  </a:lnTo>
                  <a:lnTo>
                    <a:pt x="11021" y="591"/>
                  </a:lnTo>
                  <a:lnTo>
                    <a:pt x="11034" y="608"/>
                  </a:lnTo>
                  <a:lnTo>
                    <a:pt x="11048" y="624"/>
                  </a:lnTo>
                  <a:lnTo>
                    <a:pt x="11061" y="641"/>
                  </a:lnTo>
                  <a:lnTo>
                    <a:pt x="11074" y="660"/>
                  </a:lnTo>
                  <a:lnTo>
                    <a:pt x="11388" y="479"/>
                  </a:lnTo>
                  <a:close/>
                </a:path>
              </a:pathLst>
            </a:custGeom>
            <a:solidFill>
              <a:srgbClr val="59595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450850" y="6383338"/>
              <a:ext cx="296863" cy="288925"/>
            </a:xfrm>
            <a:custGeom>
              <a:avLst/>
              <a:gdLst>
                <a:gd name="T0" fmla="*/ 1863 w 3551"/>
                <a:gd name="T1" fmla="*/ 1342 h 3458"/>
                <a:gd name="T2" fmla="*/ 1837 w 3551"/>
                <a:gd name="T3" fmla="*/ 1357 h 3458"/>
                <a:gd name="T4" fmla="*/ 1805 w 3551"/>
                <a:gd name="T5" fmla="*/ 1355 h 3458"/>
                <a:gd name="T6" fmla="*/ 1110 w 3551"/>
                <a:gd name="T7" fmla="*/ 1073 h 3458"/>
                <a:gd name="T8" fmla="*/ 1077 w 3551"/>
                <a:gd name="T9" fmla="*/ 1014 h 3458"/>
                <a:gd name="T10" fmla="*/ 1211 w 3551"/>
                <a:gd name="T11" fmla="*/ 142 h 3458"/>
                <a:gd name="T12" fmla="*/ 1237 w 3551"/>
                <a:gd name="T13" fmla="*/ 78 h 3458"/>
                <a:gd name="T14" fmla="*/ 1293 w 3551"/>
                <a:gd name="T15" fmla="*/ 37 h 3458"/>
                <a:gd name="T16" fmla="*/ 2037 w 3551"/>
                <a:gd name="T17" fmla="*/ 0 h 3458"/>
                <a:gd name="T18" fmla="*/ 2066 w 3551"/>
                <a:gd name="T19" fmla="*/ 11 h 3458"/>
                <a:gd name="T20" fmla="*/ 2083 w 3551"/>
                <a:gd name="T21" fmla="*/ 37 h 3458"/>
                <a:gd name="T22" fmla="*/ 1407 w 3551"/>
                <a:gd name="T23" fmla="*/ 1560 h 3458"/>
                <a:gd name="T24" fmla="*/ 1424 w 3551"/>
                <a:gd name="T25" fmla="*/ 1585 h 3458"/>
                <a:gd name="T26" fmla="*/ 1421 w 3551"/>
                <a:gd name="T27" fmla="*/ 1616 h 3458"/>
                <a:gd name="T28" fmla="*/ 963 w 3551"/>
                <a:gd name="T29" fmla="*/ 2181 h 3458"/>
                <a:gd name="T30" fmla="*/ 898 w 3551"/>
                <a:gd name="T31" fmla="*/ 2217 h 3458"/>
                <a:gd name="T32" fmla="*/ 830 w 3551"/>
                <a:gd name="T33" fmla="*/ 2210 h 3458"/>
                <a:gd name="T34" fmla="*/ 45 w 3551"/>
                <a:gd name="T35" fmla="*/ 1803 h 3458"/>
                <a:gd name="T36" fmla="*/ 6 w 3551"/>
                <a:gd name="T37" fmla="*/ 1748 h 3458"/>
                <a:gd name="T38" fmla="*/ 4 w 3551"/>
                <a:gd name="T39" fmla="*/ 1670 h 3458"/>
                <a:gd name="T40" fmla="*/ 201 w 3551"/>
                <a:gd name="T41" fmla="*/ 980 h 3458"/>
                <a:gd name="T42" fmla="*/ 227 w 3551"/>
                <a:gd name="T43" fmla="*/ 963 h 3458"/>
                <a:gd name="T44" fmla="*/ 257 w 3551"/>
                <a:gd name="T45" fmla="*/ 967 h 3458"/>
                <a:gd name="T46" fmla="*/ 1499 w 3551"/>
                <a:gd name="T47" fmla="*/ 2063 h 3458"/>
                <a:gd name="T48" fmla="*/ 1530 w 3551"/>
                <a:gd name="T49" fmla="*/ 2065 h 3458"/>
                <a:gd name="T50" fmla="*/ 1554 w 3551"/>
                <a:gd name="T51" fmla="*/ 2086 h 3458"/>
                <a:gd name="T52" fmla="*/ 1951 w 3551"/>
                <a:gd name="T53" fmla="*/ 2722 h 3458"/>
                <a:gd name="T54" fmla="*/ 1944 w 3551"/>
                <a:gd name="T55" fmla="*/ 2790 h 3458"/>
                <a:gd name="T56" fmla="*/ 1322 w 3551"/>
                <a:gd name="T57" fmla="*/ 3416 h 3458"/>
                <a:gd name="T58" fmla="*/ 1263 w 3551"/>
                <a:gd name="T59" fmla="*/ 3453 h 3458"/>
                <a:gd name="T60" fmla="*/ 1193 w 3551"/>
                <a:gd name="T61" fmla="*/ 3453 h 3458"/>
                <a:gd name="T62" fmla="*/ 571 w 3551"/>
                <a:gd name="T63" fmla="*/ 3048 h 3458"/>
                <a:gd name="T64" fmla="*/ 552 w 3551"/>
                <a:gd name="T65" fmla="*/ 3021 h 3458"/>
                <a:gd name="T66" fmla="*/ 554 w 3551"/>
                <a:gd name="T67" fmla="*/ 2990 h 3458"/>
                <a:gd name="T68" fmla="*/ 1998 w 3551"/>
                <a:gd name="T69" fmla="*/ 2153 h 3458"/>
                <a:gd name="T70" fmla="*/ 1999 w 3551"/>
                <a:gd name="T71" fmla="*/ 2123 h 3458"/>
                <a:gd name="T72" fmla="*/ 2019 w 3551"/>
                <a:gd name="T73" fmla="*/ 2099 h 3458"/>
                <a:gd name="T74" fmla="*/ 2722 w 3551"/>
                <a:gd name="T75" fmla="*/ 1907 h 3458"/>
                <a:gd name="T76" fmla="*/ 2795 w 3551"/>
                <a:gd name="T77" fmla="*/ 1917 h 3458"/>
                <a:gd name="T78" fmla="*/ 2847 w 3551"/>
                <a:gd name="T79" fmla="*/ 1961 h 3458"/>
                <a:gd name="T80" fmla="*/ 3246 w 3551"/>
                <a:gd name="T81" fmla="*/ 2750 h 3458"/>
                <a:gd name="T82" fmla="*/ 3244 w 3551"/>
                <a:gd name="T83" fmla="*/ 2818 h 3458"/>
                <a:gd name="T84" fmla="*/ 3201 w 3551"/>
                <a:gd name="T85" fmla="*/ 2882 h 3458"/>
                <a:gd name="T86" fmla="*/ 2638 w 3551"/>
                <a:gd name="T87" fmla="*/ 3327 h 3458"/>
                <a:gd name="T88" fmla="*/ 2607 w 3551"/>
                <a:gd name="T89" fmla="*/ 3326 h 3458"/>
                <a:gd name="T90" fmla="*/ 2584 w 3551"/>
                <a:gd name="T91" fmla="*/ 3306 h 3458"/>
                <a:gd name="T92" fmla="*/ 2218 w 3551"/>
                <a:gd name="T93" fmla="*/ 1693 h 3458"/>
                <a:gd name="T94" fmla="*/ 2195 w 3551"/>
                <a:gd name="T95" fmla="*/ 1673 h 3458"/>
                <a:gd name="T96" fmla="*/ 2188 w 3551"/>
                <a:gd name="T97" fmla="*/ 1642 h 3458"/>
                <a:gd name="T98" fmla="*/ 2241 w 3551"/>
                <a:gd name="T99" fmla="*/ 895 h 3458"/>
                <a:gd name="T100" fmla="*/ 2287 w 3551"/>
                <a:gd name="T101" fmla="*/ 844 h 3458"/>
                <a:gd name="T102" fmla="*/ 3158 w 3551"/>
                <a:gd name="T103" fmla="*/ 702 h 3458"/>
                <a:gd name="T104" fmla="*/ 3228 w 3551"/>
                <a:gd name="T105" fmla="*/ 709 h 3458"/>
                <a:gd name="T106" fmla="*/ 3285 w 3551"/>
                <a:gd name="T107" fmla="*/ 749 h 3458"/>
                <a:gd name="T108" fmla="*/ 3549 w 3551"/>
                <a:gd name="T109" fmla="*/ 1444 h 3458"/>
                <a:gd name="T110" fmla="*/ 3548 w 3551"/>
                <a:gd name="T111" fmla="*/ 1475 h 3458"/>
                <a:gd name="T112" fmla="*/ 3528 w 3551"/>
                <a:gd name="T113" fmla="*/ 1499 h 3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51" h="3458">
                  <a:moveTo>
                    <a:pt x="2083" y="52"/>
                  </a:moveTo>
                  <a:lnTo>
                    <a:pt x="1871" y="1322"/>
                  </a:lnTo>
                  <a:lnTo>
                    <a:pt x="1870" y="1327"/>
                  </a:lnTo>
                  <a:lnTo>
                    <a:pt x="1868" y="1332"/>
                  </a:lnTo>
                  <a:lnTo>
                    <a:pt x="1866" y="1337"/>
                  </a:lnTo>
                  <a:lnTo>
                    <a:pt x="1863" y="1342"/>
                  </a:lnTo>
                  <a:lnTo>
                    <a:pt x="1859" y="1346"/>
                  </a:lnTo>
                  <a:lnTo>
                    <a:pt x="1856" y="1349"/>
                  </a:lnTo>
                  <a:lnTo>
                    <a:pt x="1852" y="1352"/>
                  </a:lnTo>
                  <a:lnTo>
                    <a:pt x="1847" y="1354"/>
                  </a:lnTo>
                  <a:lnTo>
                    <a:pt x="1842" y="1356"/>
                  </a:lnTo>
                  <a:lnTo>
                    <a:pt x="1837" y="1357"/>
                  </a:lnTo>
                  <a:lnTo>
                    <a:pt x="1832" y="1358"/>
                  </a:lnTo>
                  <a:lnTo>
                    <a:pt x="1827" y="1359"/>
                  </a:lnTo>
                  <a:lnTo>
                    <a:pt x="1821" y="1358"/>
                  </a:lnTo>
                  <a:lnTo>
                    <a:pt x="1816" y="1358"/>
                  </a:lnTo>
                  <a:lnTo>
                    <a:pt x="1811" y="1357"/>
                  </a:lnTo>
                  <a:lnTo>
                    <a:pt x="1805" y="1355"/>
                  </a:lnTo>
                  <a:lnTo>
                    <a:pt x="1170" y="1110"/>
                  </a:lnTo>
                  <a:lnTo>
                    <a:pt x="1155" y="1104"/>
                  </a:lnTo>
                  <a:lnTo>
                    <a:pt x="1142" y="1097"/>
                  </a:lnTo>
                  <a:lnTo>
                    <a:pt x="1131" y="1089"/>
                  </a:lnTo>
                  <a:lnTo>
                    <a:pt x="1120" y="1081"/>
                  </a:lnTo>
                  <a:lnTo>
                    <a:pt x="1110" y="1073"/>
                  </a:lnTo>
                  <a:lnTo>
                    <a:pt x="1102" y="1064"/>
                  </a:lnTo>
                  <a:lnTo>
                    <a:pt x="1095" y="1055"/>
                  </a:lnTo>
                  <a:lnTo>
                    <a:pt x="1089" y="1045"/>
                  </a:lnTo>
                  <a:lnTo>
                    <a:pt x="1084" y="1035"/>
                  </a:lnTo>
                  <a:lnTo>
                    <a:pt x="1080" y="1024"/>
                  </a:lnTo>
                  <a:lnTo>
                    <a:pt x="1077" y="1014"/>
                  </a:lnTo>
                  <a:lnTo>
                    <a:pt x="1074" y="1003"/>
                  </a:lnTo>
                  <a:lnTo>
                    <a:pt x="1073" y="990"/>
                  </a:lnTo>
                  <a:lnTo>
                    <a:pt x="1073" y="979"/>
                  </a:lnTo>
                  <a:lnTo>
                    <a:pt x="1074" y="967"/>
                  </a:lnTo>
                  <a:lnTo>
                    <a:pt x="1075" y="955"/>
                  </a:lnTo>
                  <a:lnTo>
                    <a:pt x="1211" y="142"/>
                  </a:lnTo>
                  <a:lnTo>
                    <a:pt x="1213" y="131"/>
                  </a:lnTo>
                  <a:lnTo>
                    <a:pt x="1216" y="118"/>
                  </a:lnTo>
                  <a:lnTo>
                    <a:pt x="1220" y="107"/>
                  </a:lnTo>
                  <a:lnTo>
                    <a:pt x="1225" y="97"/>
                  </a:lnTo>
                  <a:lnTo>
                    <a:pt x="1231" y="87"/>
                  </a:lnTo>
                  <a:lnTo>
                    <a:pt x="1237" y="78"/>
                  </a:lnTo>
                  <a:lnTo>
                    <a:pt x="1244" y="69"/>
                  </a:lnTo>
                  <a:lnTo>
                    <a:pt x="1252" y="61"/>
                  </a:lnTo>
                  <a:lnTo>
                    <a:pt x="1262" y="54"/>
                  </a:lnTo>
                  <a:lnTo>
                    <a:pt x="1272" y="47"/>
                  </a:lnTo>
                  <a:lnTo>
                    <a:pt x="1282" y="42"/>
                  </a:lnTo>
                  <a:lnTo>
                    <a:pt x="1293" y="37"/>
                  </a:lnTo>
                  <a:lnTo>
                    <a:pt x="1307" y="33"/>
                  </a:lnTo>
                  <a:lnTo>
                    <a:pt x="1320" y="30"/>
                  </a:lnTo>
                  <a:lnTo>
                    <a:pt x="1334" y="28"/>
                  </a:lnTo>
                  <a:lnTo>
                    <a:pt x="1350" y="27"/>
                  </a:lnTo>
                  <a:lnTo>
                    <a:pt x="2031" y="0"/>
                  </a:lnTo>
                  <a:lnTo>
                    <a:pt x="2037" y="0"/>
                  </a:lnTo>
                  <a:lnTo>
                    <a:pt x="2042" y="1"/>
                  </a:lnTo>
                  <a:lnTo>
                    <a:pt x="2047" y="2"/>
                  </a:lnTo>
                  <a:lnTo>
                    <a:pt x="2053" y="3"/>
                  </a:lnTo>
                  <a:lnTo>
                    <a:pt x="2057" y="5"/>
                  </a:lnTo>
                  <a:lnTo>
                    <a:pt x="2062" y="8"/>
                  </a:lnTo>
                  <a:lnTo>
                    <a:pt x="2066" y="11"/>
                  </a:lnTo>
                  <a:lnTo>
                    <a:pt x="2070" y="14"/>
                  </a:lnTo>
                  <a:lnTo>
                    <a:pt x="2074" y="18"/>
                  </a:lnTo>
                  <a:lnTo>
                    <a:pt x="2077" y="22"/>
                  </a:lnTo>
                  <a:lnTo>
                    <a:pt x="2079" y="27"/>
                  </a:lnTo>
                  <a:lnTo>
                    <a:pt x="2081" y="32"/>
                  </a:lnTo>
                  <a:lnTo>
                    <a:pt x="2083" y="37"/>
                  </a:lnTo>
                  <a:lnTo>
                    <a:pt x="2083" y="42"/>
                  </a:lnTo>
                  <a:lnTo>
                    <a:pt x="2084" y="47"/>
                  </a:lnTo>
                  <a:lnTo>
                    <a:pt x="2083" y="52"/>
                  </a:lnTo>
                  <a:close/>
                  <a:moveTo>
                    <a:pt x="257" y="967"/>
                  </a:moveTo>
                  <a:lnTo>
                    <a:pt x="1402" y="1557"/>
                  </a:lnTo>
                  <a:lnTo>
                    <a:pt x="1407" y="1560"/>
                  </a:lnTo>
                  <a:lnTo>
                    <a:pt x="1411" y="1563"/>
                  </a:lnTo>
                  <a:lnTo>
                    <a:pt x="1415" y="1567"/>
                  </a:lnTo>
                  <a:lnTo>
                    <a:pt x="1418" y="1571"/>
                  </a:lnTo>
                  <a:lnTo>
                    <a:pt x="1420" y="1575"/>
                  </a:lnTo>
                  <a:lnTo>
                    <a:pt x="1422" y="1580"/>
                  </a:lnTo>
                  <a:lnTo>
                    <a:pt x="1424" y="1585"/>
                  </a:lnTo>
                  <a:lnTo>
                    <a:pt x="1425" y="1590"/>
                  </a:lnTo>
                  <a:lnTo>
                    <a:pt x="1425" y="1595"/>
                  </a:lnTo>
                  <a:lnTo>
                    <a:pt x="1425" y="1600"/>
                  </a:lnTo>
                  <a:lnTo>
                    <a:pt x="1424" y="1606"/>
                  </a:lnTo>
                  <a:lnTo>
                    <a:pt x="1423" y="1611"/>
                  </a:lnTo>
                  <a:lnTo>
                    <a:pt x="1421" y="1616"/>
                  </a:lnTo>
                  <a:lnTo>
                    <a:pt x="1419" y="1620"/>
                  </a:lnTo>
                  <a:lnTo>
                    <a:pt x="1416" y="1625"/>
                  </a:lnTo>
                  <a:lnTo>
                    <a:pt x="1413" y="1630"/>
                  </a:lnTo>
                  <a:lnTo>
                    <a:pt x="984" y="2159"/>
                  </a:lnTo>
                  <a:lnTo>
                    <a:pt x="974" y="2171"/>
                  </a:lnTo>
                  <a:lnTo>
                    <a:pt x="963" y="2181"/>
                  </a:lnTo>
                  <a:lnTo>
                    <a:pt x="953" y="2190"/>
                  </a:lnTo>
                  <a:lnTo>
                    <a:pt x="943" y="2197"/>
                  </a:lnTo>
                  <a:lnTo>
                    <a:pt x="931" y="2204"/>
                  </a:lnTo>
                  <a:lnTo>
                    <a:pt x="920" y="2209"/>
                  </a:lnTo>
                  <a:lnTo>
                    <a:pt x="909" y="2213"/>
                  </a:lnTo>
                  <a:lnTo>
                    <a:pt x="898" y="2217"/>
                  </a:lnTo>
                  <a:lnTo>
                    <a:pt x="886" y="2218"/>
                  </a:lnTo>
                  <a:lnTo>
                    <a:pt x="875" y="2219"/>
                  </a:lnTo>
                  <a:lnTo>
                    <a:pt x="864" y="2218"/>
                  </a:lnTo>
                  <a:lnTo>
                    <a:pt x="853" y="2217"/>
                  </a:lnTo>
                  <a:lnTo>
                    <a:pt x="841" y="2214"/>
                  </a:lnTo>
                  <a:lnTo>
                    <a:pt x="830" y="2210"/>
                  </a:lnTo>
                  <a:lnTo>
                    <a:pt x="819" y="2206"/>
                  </a:lnTo>
                  <a:lnTo>
                    <a:pt x="808" y="2201"/>
                  </a:lnTo>
                  <a:lnTo>
                    <a:pt x="75" y="1823"/>
                  </a:lnTo>
                  <a:lnTo>
                    <a:pt x="64" y="1817"/>
                  </a:lnTo>
                  <a:lnTo>
                    <a:pt x="54" y="1810"/>
                  </a:lnTo>
                  <a:lnTo>
                    <a:pt x="45" y="1803"/>
                  </a:lnTo>
                  <a:lnTo>
                    <a:pt x="37" y="1796"/>
                  </a:lnTo>
                  <a:lnTo>
                    <a:pt x="29" y="1787"/>
                  </a:lnTo>
                  <a:lnTo>
                    <a:pt x="21" y="1779"/>
                  </a:lnTo>
                  <a:lnTo>
                    <a:pt x="15" y="1768"/>
                  </a:lnTo>
                  <a:lnTo>
                    <a:pt x="10" y="1758"/>
                  </a:lnTo>
                  <a:lnTo>
                    <a:pt x="6" y="1748"/>
                  </a:lnTo>
                  <a:lnTo>
                    <a:pt x="3" y="1736"/>
                  </a:lnTo>
                  <a:lnTo>
                    <a:pt x="1" y="1724"/>
                  </a:lnTo>
                  <a:lnTo>
                    <a:pt x="0" y="1711"/>
                  </a:lnTo>
                  <a:lnTo>
                    <a:pt x="0" y="1698"/>
                  </a:lnTo>
                  <a:lnTo>
                    <a:pt x="1" y="1685"/>
                  </a:lnTo>
                  <a:lnTo>
                    <a:pt x="4" y="1670"/>
                  </a:lnTo>
                  <a:lnTo>
                    <a:pt x="7" y="1655"/>
                  </a:lnTo>
                  <a:lnTo>
                    <a:pt x="191" y="1000"/>
                  </a:lnTo>
                  <a:lnTo>
                    <a:pt x="193" y="994"/>
                  </a:lnTo>
                  <a:lnTo>
                    <a:pt x="195" y="989"/>
                  </a:lnTo>
                  <a:lnTo>
                    <a:pt x="198" y="984"/>
                  </a:lnTo>
                  <a:lnTo>
                    <a:pt x="201" y="980"/>
                  </a:lnTo>
                  <a:lnTo>
                    <a:pt x="204" y="976"/>
                  </a:lnTo>
                  <a:lnTo>
                    <a:pt x="209" y="973"/>
                  </a:lnTo>
                  <a:lnTo>
                    <a:pt x="213" y="969"/>
                  </a:lnTo>
                  <a:lnTo>
                    <a:pt x="217" y="967"/>
                  </a:lnTo>
                  <a:lnTo>
                    <a:pt x="222" y="965"/>
                  </a:lnTo>
                  <a:lnTo>
                    <a:pt x="227" y="963"/>
                  </a:lnTo>
                  <a:lnTo>
                    <a:pt x="231" y="962"/>
                  </a:lnTo>
                  <a:lnTo>
                    <a:pt x="236" y="962"/>
                  </a:lnTo>
                  <a:lnTo>
                    <a:pt x="241" y="962"/>
                  </a:lnTo>
                  <a:lnTo>
                    <a:pt x="246" y="963"/>
                  </a:lnTo>
                  <a:lnTo>
                    <a:pt x="252" y="964"/>
                  </a:lnTo>
                  <a:lnTo>
                    <a:pt x="257" y="967"/>
                  </a:lnTo>
                  <a:close/>
                  <a:moveTo>
                    <a:pt x="563" y="2978"/>
                  </a:moveTo>
                  <a:lnTo>
                    <a:pt x="1482" y="2075"/>
                  </a:lnTo>
                  <a:lnTo>
                    <a:pt x="1486" y="2071"/>
                  </a:lnTo>
                  <a:lnTo>
                    <a:pt x="1490" y="2067"/>
                  </a:lnTo>
                  <a:lnTo>
                    <a:pt x="1495" y="2065"/>
                  </a:lnTo>
                  <a:lnTo>
                    <a:pt x="1499" y="2063"/>
                  </a:lnTo>
                  <a:lnTo>
                    <a:pt x="1504" y="2062"/>
                  </a:lnTo>
                  <a:lnTo>
                    <a:pt x="1509" y="2061"/>
                  </a:lnTo>
                  <a:lnTo>
                    <a:pt x="1514" y="2062"/>
                  </a:lnTo>
                  <a:lnTo>
                    <a:pt x="1519" y="2062"/>
                  </a:lnTo>
                  <a:lnTo>
                    <a:pt x="1524" y="2063"/>
                  </a:lnTo>
                  <a:lnTo>
                    <a:pt x="1530" y="2065"/>
                  </a:lnTo>
                  <a:lnTo>
                    <a:pt x="1534" y="2067"/>
                  </a:lnTo>
                  <a:lnTo>
                    <a:pt x="1539" y="2071"/>
                  </a:lnTo>
                  <a:lnTo>
                    <a:pt x="1543" y="2074"/>
                  </a:lnTo>
                  <a:lnTo>
                    <a:pt x="1547" y="2078"/>
                  </a:lnTo>
                  <a:lnTo>
                    <a:pt x="1551" y="2082"/>
                  </a:lnTo>
                  <a:lnTo>
                    <a:pt x="1554" y="2086"/>
                  </a:lnTo>
                  <a:lnTo>
                    <a:pt x="1924" y="2658"/>
                  </a:lnTo>
                  <a:lnTo>
                    <a:pt x="1932" y="2671"/>
                  </a:lnTo>
                  <a:lnTo>
                    <a:pt x="1939" y="2684"/>
                  </a:lnTo>
                  <a:lnTo>
                    <a:pt x="1944" y="2696"/>
                  </a:lnTo>
                  <a:lnTo>
                    <a:pt x="1948" y="2710"/>
                  </a:lnTo>
                  <a:lnTo>
                    <a:pt x="1951" y="2722"/>
                  </a:lnTo>
                  <a:lnTo>
                    <a:pt x="1952" y="2734"/>
                  </a:lnTo>
                  <a:lnTo>
                    <a:pt x="1953" y="2745"/>
                  </a:lnTo>
                  <a:lnTo>
                    <a:pt x="1952" y="2757"/>
                  </a:lnTo>
                  <a:lnTo>
                    <a:pt x="1950" y="2769"/>
                  </a:lnTo>
                  <a:lnTo>
                    <a:pt x="1947" y="2779"/>
                  </a:lnTo>
                  <a:lnTo>
                    <a:pt x="1944" y="2790"/>
                  </a:lnTo>
                  <a:lnTo>
                    <a:pt x="1939" y="2801"/>
                  </a:lnTo>
                  <a:lnTo>
                    <a:pt x="1932" y="2811"/>
                  </a:lnTo>
                  <a:lnTo>
                    <a:pt x="1925" y="2820"/>
                  </a:lnTo>
                  <a:lnTo>
                    <a:pt x="1918" y="2829"/>
                  </a:lnTo>
                  <a:lnTo>
                    <a:pt x="1910" y="2838"/>
                  </a:lnTo>
                  <a:lnTo>
                    <a:pt x="1322" y="3416"/>
                  </a:lnTo>
                  <a:lnTo>
                    <a:pt x="1314" y="3424"/>
                  </a:lnTo>
                  <a:lnTo>
                    <a:pt x="1304" y="3432"/>
                  </a:lnTo>
                  <a:lnTo>
                    <a:pt x="1294" y="3439"/>
                  </a:lnTo>
                  <a:lnTo>
                    <a:pt x="1284" y="3445"/>
                  </a:lnTo>
                  <a:lnTo>
                    <a:pt x="1274" y="3449"/>
                  </a:lnTo>
                  <a:lnTo>
                    <a:pt x="1263" y="3453"/>
                  </a:lnTo>
                  <a:lnTo>
                    <a:pt x="1251" y="3456"/>
                  </a:lnTo>
                  <a:lnTo>
                    <a:pt x="1240" y="3457"/>
                  </a:lnTo>
                  <a:lnTo>
                    <a:pt x="1229" y="3458"/>
                  </a:lnTo>
                  <a:lnTo>
                    <a:pt x="1218" y="3457"/>
                  </a:lnTo>
                  <a:lnTo>
                    <a:pt x="1205" y="3456"/>
                  </a:lnTo>
                  <a:lnTo>
                    <a:pt x="1193" y="3453"/>
                  </a:lnTo>
                  <a:lnTo>
                    <a:pt x="1180" y="3449"/>
                  </a:lnTo>
                  <a:lnTo>
                    <a:pt x="1168" y="3444"/>
                  </a:lnTo>
                  <a:lnTo>
                    <a:pt x="1154" y="3437"/>
                  </a:lnTo>
                  <a:lnTo>
                    <a:pt x="1142" y="3428"/>
                  </a:lnTo>
                  <a:lnTo>
                    <a:pt x="575" y="3051"/>
                  </a:lnTo>
                  <a:lnTo>
                    <a:pt x="571" y="3048"/>
                  </a:lnTo>
                  <a:lnTo>
                    <a:pt x="566" y="3043"/>
                  </a:lnTo>
                  <a:lnTo>
                    <a:pt x="562" y="3039"/>
                  </a:lnTo>
                  <a:lnTo>
                    <a:pt x="559" y="3035"/>
                  </a:lnTo>
                  <a:lnTo>
                    <a:pt x="556" y="3030"/>
                  </a:lnTo>
                  <a:lnTo>
                    <a:pt x="554" y="3026"/>
                  </a:lnTo>
                  <a:lnTo>
                    <a:pt x="552" y="3021"/>
                  </a:lnTo>
                  <a:lnTo>
                    <a:pt x="551" y="3016"/>
                  </a:lnTo>
                  <a:lnTo>
                    <a:pt x="551" y="3011"/>
                  </a:lnTo>
                  <a:lnTo>
                    <a:pt x="551" y="3006"/>
                  </a:lnTo>
                  <a:lnTo>
                    <a:pt x="551" y="3001"/>
                  </a:lnTo>
                  <a:lnTo>
                    <a:pt x="552" y="2996"/>
                  </a:lnTo>
                  <a:lnTo>
                    <a:pt x="554" y="2990"/>
                  </a:lnTo>
                  <a:lnTo>
                    <a:pt x="556" y="2986"/>
                  </a:lnTo>
                  <a:lnTo>
                    <a:pt x="559" y="2982"/>
                  </a:lnTo>
                  <a:lnTo>
                    <a:pt x="563" y="2978"/>
                  </a:lnTo>
                  <a:close/>
                  <a:moveTo>
                    <a:pt x="2584" y="3306"/>
                  </a:moveTo>
                  <a:lnTo>
                    <a:pt x="2001" y="2158"/>
                  </a:lnTo>
                  <a:lnTo>
                    <a:pt x="1998" y="2153"/>
                  </a:lnTo>
                  <a:lnTo>
                    <a:pt x="1997" y="2148"/>
                  </a:lnTo>
                  <a:lnTo>
                    <a:pt x="1996" y="2143"/>
                  </a:lnTo>
                  <a:lnTo>
                    <a:pt x="1996" y="2137"/>
                  </a:lnTo>
                  <a:lnTo>
                    <a:pt x="1997" y="2133"/>
                  </a:lnTo>
                  <a:lnTo>
                    <a:pt x="1998" y="2128"/>
                  </a:lnTo>
                  <a:lnTo>
                    <a:pt x="1999" y="2123"/>
                  </a:lnTo>
                  <a:lnTo>
                    <a:pt x="2001" y="2118"/>
                  </a:lnTo>
                  <a:lnTo>
                    <a:pt x="2004" y="2113"/>
                  </a:lnTo>
                  <a:lnTo>
                    <a:pt x="2007" y="2109"/>
                  </a:lnTo>
                  <a:lnTo>
                    <a:pt x="2011" y="2106"/>
                  </a:lnTo>
                  <a:lnTo>
                    <a:pt x="2014" y="2102"/>
                  </a:lnTo>
                  <a:lnTo>
                    <a:pt x="2019" y="2099"/>
                  </a:lnTo>
                  <a:lnTo>
                    <a:pt x="2023" y="2096"/>
                  </a:lnTo>
                  <a:lnTo>
                    <a:pt x="2029" y="2094"/>
                  </a:lnTo>
                  <a:lnTo>
                    <a:pt x="2035" y="2093"/>
                  </a:lnTo>
                  <a:lnTo>
                    <a:pt x="2692" y="1913"/>
                  </a:lnTo>
                  <a:lnTo>
                    <a:pt x="2707" y="1910"/>
                  </a:lnTo>
                  <a:lnTo>
                    <a:pt x="2722" y="1907"/>
                  </a:lnTo>
                  <a:lnTo>
                    <a:pt x="2735" y="1906"/>
                  </a:lnTo>
                  <a:lnTo>
                    <a:pt x="2748" y="1906"/>
                  </a:lnTo>
                  <a:lnTo>
                    <a:pt x="2761" y="1908"/>
                  </a:lnTo>
                  <a:lnTo>
                    <a:pt x="2773" y="1910"/>
                  </a:lnTo>
                  <a:lnTo>
                    <a:pt x="2784" y="1913"/>
                  </a:lnTo>
                  <a:lnTo>
                    <a:pt x="2795" y="1917"/>
                  </a:lnTo>
                  <a:lnTo>
                    <a:pt x="2806" y="1922"/>
                  </a:lnTo>
                  <a:lnTo>
                    <a:pt x="2815" y="1929"/>
                  </a:lnTo>
                  <a:lnTo>
                    <a:pt x="2824" y="1936"/>
                  </a:lnTo>
                  <a:lnTo>
                    <a:pt x="2832" y="1944"/>
                  </a:lnTo>
                  <a:lnTo>
                    <a:pt x="2840" y="1952"/>
                  </a:lnTo>
                  <a:lnTo>
                    <a:pt x="2847" y="1961"/>
                  </a:lnTo>
                  <a:lnTo>
                    <a:pt x="2854" y="1971"/>
                  </a:lnTo>
                  <a:lnTo>
                    <a:pt x="2860" y="1982"/>
                  </a:lnTo>
                  <a:lnTo>
                    <a:pt x="3233" y="2717"/>
                  </a:lnTo>
                  <a:lnTo>
                    <a:pt x="3238" y="2728"/>
                  </a:lnTo>
                  <a:lnTo>
                    <a:pt x="3242" y="2738"/>
                  </a:lnTo>
                  <a:lnTo>
                    <a:pt x="3246" y="2750"/>
                  </a:lnTo>
                  <a:lnTo>
                    <a:pt x="3248" y="2762"/>
                  </a:lnTo>
                  <a:lnTo>
                    <a:pt x="3249" y="2773"/>
                  </a:lnTo>
                  <a:lnTo>
                    <a:pt x="3250" y="2784"/>
                  </a:lnTo>
                  <a:lnTo>
                    <a:pt x="3249" y="2795"/>
                  </a:lnTo>
                  <a:lnTo>
                    <a:pt x="3247" y="2807"/>
                  </a:lnTo>
                  <a:lnTo>
                    <a:pt x="3244" y="2818"/>
                  </a:lnTo>
                  <a:lnTo>
                    <a:pt x="3240" y="2829"/>
                  </a:lnTo>
                  <a:lnTo>
                    <a:pt x="3235" y="2840"/>
                  </a:lnTo>
                  <a:lnTo>
                    <a:pt x="3229" y="2851"/>
                  </a:lnTo>
                  <a:lnTo>
                    <a:pt x="3221" y="2862"/>
                  </a:lnTo>
                  <a:lnTo>
                    <a:pt x="3211" y="2872"/>
                  </a:lnTo>
                  <a:lnTo>
                    <a:pt x="3201" y="2882"/>
                  </a:lnTo>
                  <a:lnTo>
                    <a:pt x="3190" y="2892"/>
                  </a:lnTo>
                  <a:lnTo>
                    <a:pt x="2657" y="3317"/>
                  </a:lnTo>
                  <a:lnTo>
                    <a:pt x="2652" y="3320"/>
                  </a:lnTo>
                  <a:lnTo>
                    <a:pt x="2647" y="3323"/>
                  </a:lnTo>
                  <a:lnTo>
                    <a:pt x="2643" y="3325"/>
                  </a:lnTo>
                  <a:lnTo>
                    <a:pt x="2638" y="3327"/>
                  </a:lnTo>
                  <a:lnTo>
                    <a:pt x="2633" y="3328"/>
                  </a:lnTo>
                  <a:lnTo>
                    <a:pt x="2627" y="3329"/>
                  </a:lnTo>
                  <a:lnTo>
                    <a:pt x="2622" y="3329"/>
                  </a:lnTo>
                  <a:lnTo>
                    <a:pt x="2616" y="3328"/>
                  </a:lnTo>
                  <a:lnTo>
                    <a:pt x="2612" y="3327"/>
                  </a:lnTo>
                  <a:lnTo>
                    <a:pt x="2607" y="3326"/>
                  </a:lnTo>
                  <a:lnTo>
                    <a:pt x="2602" y="3324"/>
                  </a:lnTo>
                  <a:lnTo>
                    <a:pt x="2598" y="3321"/>
                  </a:lnTo>
                  <a:lnTo>
                    <a:pt x="2594" y="3318"/>
                  </a:lnTo>
                  <a:lnTo>
                    <a:pt x="2590" y="3315"/>
                  </a:lnTo>
                  <a:lnTo>
                    <a:pt x="2587" y="3310"/>
                  </a:lnTo>
                  <a:lnTo>
                    <a:pt x="2584" y="3306"/>
                  </a:lnTo>
                  <a:close/>
                  <a:moveTo>
                    <a:pt x="3513" y="1504"/>
                  </a:moveTo>
                  <a:lnTo>
                    <a:pt x="2239" y="1695"/>
                  </a:lnTo>
                  <a:lnTo>
                    <a:pt x="2234" y="1695"/>
                  </a:lnTo>
                  <a:lnTo>
                    <a:pt x="2228" y="1695"/>
                  </a:lnTo>
                  <a:lnTo>
                    <a:pt x="2223" y="1694"/>
                  </a:lnTo>
                  <a:lnTo>
                    <a:pt x="2218" y="1693"/>
                  </a:lnTo>
                  <a:lnTo>
                    <a:pt x="2214" y="1691"/>
                  </a:lnTo>
                  <a:lnTo>
                    <a:pt x="2209" y="1688"/>
                  </a:lnTo>
                  <a:lnTo>
                    <a:pt x="2205" y="1685"/>
                  </a:lnTo>
                  <a:lnTo>
                    <a:pt x="2201" y="1682"/>
                  </a:lnTo>
                  <a:lnTo>
                    <a:pt x="2198" y="1677"/>
                  </a:lnTo>
                  <a:lnTo>
                    <a:pt x="2195" y="1673"/>
                  </a:lnTo>
                  <a:lnTo>
                    <a:pt x="2193" y="1668"/>
                  </a:lnTo>
                  <a:lnTo>
                    <a:pt x="2191" y="1664"/>
                  </a:lnTo>
                  <a:lnTo>
                    <a:pt x="2189" y="1659"/>
                  </a:lnTo>
                  <a:lnTo>
                    <a:pt x="2188" y="1653"/>
                  </a:lnTo>
                  <a:lnTo>
                    <a:pt x="2188" y="1648"/>
                  </a:lnTo>
                  <a:lnTo>
                    <a:pt x="2188" y="1642"/>
                  </a:lnTo>
                  <a:lnTo>
                    <a:pt x="2225" y="963"/>
                  </a:lnTo>
                  <a:lnTo>
                    <a:pt x="2226" y="947"/>
                  </a:lnTo>
                  <a:lnTo>
                    <a:pt x="2229" y="933"/>
                  </a:lnTo>
                  <a:lnTo>
                    <a:pt x="2232" y="919"/>
                  </a:lnTo>
                  <a:lnTo>
                    <a:pt x="2236" y="907"/>
                  </a:lnTo>
                  <a:lnTo>
                    <a:pt x="2241" y="895"/>
                  </a:lnTo>
                  <a:lnTo>
                    <a:pt x="2247" y="884"/>
                  </a:lnTo>
                  <a:lnTo>
                    <a:pt x="2253" y="875"/>
                  </a:lnTo>
                  <a:lnTo>
                    <a:pt x="2262" y="866"/>
                  </a:lnTo>
                  <a:lnTo>
                    <a:pt x="2269" y="858"/>
                  </a:lnTo>
                  <a:lnTo>
                    <a:pt x="2278" y="850"/>
                  </a:lnTo>
                  <a:lnTo>
                    <a:pt x="2287" y="844"/>
                  </a:lnTo>
                  <a:lnTo>
                    <a:pt x="2297" y="839"/>
                  </a:lnTo>
                  <a:lnTo>
                    <a:pt x="2309" y="834"/>
                  </a:lnTo>
                  <a:lnTo>
                    <a:pt x="2319" y="830"/>
                  </a:lnTo>
                  <a:lnTo>
                    <a:pt x="2331" y="827"/>
                  </a:lnTo>
                  <a:lnTo>
                    <a:pt x="2343" y="825"/>
                  </a:lnTo>
                  <a:lnTo>
                    <a:pt x="3158" y="702"/>
                  </a:lnTo>
                  <a:lnTo>
                    <a:pt x="3171" y="701"/>
                  </a:lnTo>
                  <a:lnTo>
                    <a:pt x="3183" y="701"/>
                  </a:lnTo>
                  <a:lnTo>
                    <a:pt x="3194" y="701"/>
                  </a:lnTo>
                  <a:lnTo>
                    <a:pt x="3206" y="702"/>
                  </a:lnTo>
                  <a:lnTo>
                    <a:pt x="3218" y="704"/>
                  </a:lnTo>
                  <a:lnTo>
                    <a:pt x="3228" y="709"/>
                  </a:lnTo>
                  <a:lnTo>
                    <a:pt x="3239" y="713"/>
                  </a:lnTo>
                  <a:lnTo>
                    <a:pt x="3249" y="718"/>
                  </a:lnTo>
                  <a:lnTo>
                    <a:pt x="3259" y="724"/>
                  </a:lnTo>
                  <a:lnTo>
                    <a:pt x="3268" y="731"/>
                  </a:lnTo>
                  <a:lnTo>
                    <a:pt x="3277" y="740"/>
                  </a:lnTo>
                  <a:lnTo>
                    <a:pt x="3285" y="749"/>
                  </a:lnTo>
                  <a:lnTo>
                    <a:pt x="3292" y="761"/>
                  </a:lnTo>
                  <a:lnTo>
                    <a:pt x="3299" y="772"/>
                  </a:lnTo>
                  <a:lnTo>
                    <a:pt x="3307" y="785"/>
                  </a:lnTo>
                  <a:lnTo>
                    <a:pt x="3312" y="799"/>
                  </a:lnTo>
                  <a:lnTo>
                    <a:pt x="3548" y="1439"/>
                  </a:lnTo>
                  <a:lnTo>
                    <a:pt x="3549" y="1444"/>
                  </a:lnTo>
                  <a:lnTo>
                    <a:pt x="3550" y="1449"/>
                  </a:lnTo>
                  <a:lnTo>
                    <a:pt x="3551" y="1455"/>
                  </a:lnTo>
                  <a:lnTo>
                    <a:pt x="3551" y="1460"/>
                  </a:lnTo>
                  <a:lnTo>
                    <a:pt x="3550" y="1465"/>
                  </a:lnTo>
                  <a:lnTo>
                    <a:pt x="3549" y="1470"/>
                  </a:lnTo>
                  <a:lnTo>
                    <a:pt x="3548" y="1475"/>
                  </a:lnTo>
                  <a:lnTo>
                    <a:pt x="3546" y="1480"/>
                  </a:lnTo>
                  <a:lnTo>
                    <a:pt x="3544" y="1484"/>
                  </a:lnTo>
                  <a:lnTo>
                    <a:pt x="3541" y="1489"/>
                  </a:lnTo>
                  <a:lnTo>
                    <a:pt x="3537" y="1493"/>
                  </a:lnTo>
                  <a:lnTo>
                    <a:pt x="3534" y="1496"/>
                  </a:lnTo>
                  <a:lnTo>
                    <a:pt x="3528" y="1499"/>
                  </a:lnTo>
                  <a:lnTo>
                    <a:pt x="3524" y="1501"/>
                  </a:lnTo>
                  <a:lnTo>
                    <a:pt x="3519" y="1503"/>
                  </a:lnTo>
                  <a:lnTo>
                    <a:pt x="3513" y="1504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  <p:sp>
        <p:nvSpPr>
          <p:cNvPr id="7" name="AutoShape 3"/>
          <p:cNvSpPr>
            <a:spLocks noChangeAspect="1" noChangeArrowheads="1" noTextEdit="1"/>
          </p:cNvSpPr>
          <p:nvPr userDrawn="1"/>
        </p:nvSpPr>
        <p:spPr bwMode="auto">
          <a:xfrm>
            <a:off x="493604" y="6381929"/>
            <a:ext cx="148246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AutoShape 3"/>
          <p:cNvSpPr>
            <a:spLocks noChangeAspect="1" noChangeArrowheads="1" noTextEdit="1"/>
          </p:cNvSpPr>
          <p:nvPr userDrawn="1"/>
        </p:nvSpPr>
        <p:spPr bwMode="auto">
          <a:xfrm>
            <a:off x="488422" y="6383517"/>
            <a:ext cx="1480741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1" name="Группа 10"/>
          <p:cNvGrpSpPr/>
          <p:nvPr userDrawn="1"/>
        </p:nvGrpSpPr>
        <p:grpSpPr>
          <a:xfrm>
            <a:off x="488422" y="6383517"/>
            <a:ext cx="1480741" cy="288925"/>
            <a:chOff x="450850" y="6383338"/>
            <a:chExt cx="1366838" cy="288925"/>
          </a:xfrm>
        </p:grpSpPr>
        <p:sp>
          <p:nvSpPr>
            <p:cNvPr id="12" name="Freeform 5"/>
            <p:cNvSpPr>
              <a:spLocks noEditPoints="1"/>
            </p:cNvSpPr>
            <p:nvPr userDrawn="1"/>
          </p:nvSpPr>
          <p:spPr bwMode="auto">
            <a:xfrm>
              <a:off x="866775" y="6448426"/>
              <a:ext cx="950913" cy="157163"/>
            </a:xfrm>
            <a:custGeom>
              <a:avLst/>
              <a:gdLst>
                <a:gd name="T0" fmla="*/ 2478 w 11388"/>
                <a:gd name="T1" fmla="*/ 807 h 1876"/>
                <a:gd name="T2" fmla="*/ 2682 w 11388"/>
                <a:gd name="T3" fmla="*/ 468 h 1876"/>
                <a:gd name="T4" fmla="*/ 3065 w 11388"/>
                <a:gd name="T5" fmla="*/ 346 h 1876"/>
                <a:gd name="T6" fmla="*/ 3449 w 11388"/>
                <a:gd name="T7" fmla="*/ 468 h 1876"/>
                <a:gd name="T8" fmla="*/ 3652 w 11388"/>
                <a:gd name="T9" fmla="*/ 807 h 1876"/>
                <a:gd name="T10" fmla="*/ 3594 w 11388"/>
                <a:gd name="T11" fmla="*/ 1239 h 1876"/>
                <a:gd name="T12" fmla="*/ 3302 w 11388"/>
                <a:gd name="T13" fmla="*/ 1489 h 1876"/>
                <a:gd name="T14" fmla="*/ 2885 w 11388"/>
                <a:gd name="T15" fmla="*/ 1506 h 1876"/>
                <a:gd name="T16" fmla="*/ 2567 w 11388"/>
                <a:gd name="T17" fmla="*/ 1287 h 1876"/>
                <a:gd name="T18" fmla="*/ 4068 w 11388"/>
                <a:gd name="T19" fmla="*/ 885 h 1876"/>
                <a:gd name="T20" fmla="*/ 3805 w 11388"/>
                <a:gd name="T21" fmla="*/ 290 h 1876"/>
                <a:gd name="T22" fmla="*/ 3217 w 11388"/>
                <a:gd name="T23" fmla="*/ 10 h 1876"/>
                <a:gd name="T24" fmla="*/ 2550 w 11388"/>
                <a:gd name="T25" fmla="*/ 126 h 1876"/>
                <a:gd name="T26" fmla="*/ 2125 w 11388"/>
                <a:gd name="T27" fmla="*/ 597 h 1876"/>
                <a:gd name="T28" fmla="*/ 2125 w 11388"/>
                <a:gd name="T29" fmla="*/ 1278 h 1876"/>
                <a:gd name="T30" fmla="*/ 2550 w 11388"/>
                <a:gd name="T31" fmla="*/ 1750 h 1876"/>
                <a:gd name="T32" fmla="*/ 3217 w 11388"/>
                <a:gd name="T33" fmla="*/ 1865 h 1876"/>
                <a:gd name="T34" fmla="*/ 3805 w 11388"/>
                <a:gd name="T35" fmla="*/ 1586 h 1876"/>
                <a:gd name="T36" fmla="*/ 4068 w 11388"/>
                <a:gd name="T37" fmla="*/ 989 h 1876"/>
                <a:gd name="T38" fmla="*/ 4468 w 11388"/>
                <a:gd name="T39" fmla="*/ 1449 h 1876"/>
                <a:gd name="T40" fmla="*/ 4564 w 11388"/>
                <a:gd name="T41" fmla="*/ 1815 h 1876"/>
                <a:gd name="T42" fmla="*/ 4837 w 11388"/>
                <a:gd name="T43" fmla="*/ 1657 h 1876"/>
                <a:gd name="T44" fmla="*/ 5827 w 11388"/>
                <a:gd name="T45" fmla="*/ 404 h 1876"/>
                <a:gd name="T46" fmla="*/ 7343 w 11388"/>
                <a:gd name="T47" fmla="*/ 1298 h 1876"/>
                <a:gd name="T48" fmla="*/ 7714 w 11388"/>
                <a:gd name="T49" fmla="*/ 1737 h 1876"/>
                <a:gd name="T50" fmla="*/ 8311 w 11388"/>
                <a:gd name="T51" fmla="*/ 1875 h 1876"/>
                <a:gd name="T52" fmla="*/ 8919 w 11388"/>
                <a:gd name="T53" fmla="*/ 1660 h 1876"/>
                <a:gd name="T54" fmla="*/ 9228 w 11388"/>
                <a:gd name="T55" fmla="*/ 1099 h 1876"/>
                <a:gd name="T56" fmla="*/ 9098 w 11388"/>
                <a:gd name="T57" fmla="*/ 416 h 1876"/>
                <a:gd name="T58" fmla="*/ 8598 w 11388"/>
                <a:gd name="T59" fmla="*/ 48 h 1876"/>
                <a:gd name="T60" fmla="*/ 7967 w 11388"/>
                <a:gd name="T61" fmla="*/ 36 h 1876"/>
                <a:gd name="T62" fmla="*/ 7500 w 11388"/>
                <a:gd name="T63" fmla="*/ 315 h 1876"/>
                <a:gd name="T64" fmla="*/ 6620 w 11388"/>
                <a:gd name="T65" fmla="*/ 42 h 1876"/>
                <a:gd name="T66" fmla="*/ 7782 w 11388"/>
                <a:gd name="T67" fmla="*/ 566 h 1876"/>
                <a:gd name="T68" fmla="*/ 8097 w 11388"/>
                <a:gd name="T69" fmla="*/ 363 h 1876"/>
                <a:gd name="T70" fmla="*/ 8537 w 11388"/>
                <a:gd name="T71" fmla="*/ 397 h 1876"/>
                <a:gd name="T72" fmla="*/ 8791 w 11388"/>
                <a:gd name="T73" fmla="*/ 663 h 1876"/>
                <a:gd name="T74" fmla="*/ 8823 w 11388"/>
                <a:gd name="T75" fmla="*/ 1100 h 1876"/>
                <a:gd name="T76" fmla="*/ 8632 w 11388"/>
                <a:gd name="T77" fmla="*/ 1424 h 1876"/>
                <a:gd name="T78" fmla="*/ 8227 w 11388"/>
                <a:gd name="T79" fmla="*/ 1529 h 1876"/>
                <a:gd name="T80" fmla="*/ 7849 w 11388"/>
                <a:gd name="T81" fmla="*/ 1391 h 1876"/>
                <a:gd name="T82" fmla="*/ 7690 w 11388"/>
                <a:gd name="T83" fmla="*/ 1037 h 1876"/>
                <a:gd name="T84" fmla="*/ 11180 w 11388"/>
                <a:gd name="T85" fmla="*/ 229 h 1876"/>
                <a:gd name="T86" fmla="*/ 10774 w 11388"/>
                <a:gd name="T87" fmla="*/ 31 h 1876"/>
                <a:gd name="T88" fmla="*/ 10181 w 11388"/>
                <a:gd name="T89" fmla="*/ 37 h 1876"/>
                <a:gd name="T90" fmla="*/ 9650 w 11388"/>
                <a:gd name="T91" fmla="*/ 387 h 1876"/>
                <a:gd name="T92" fmla="*/ 9486 w 11388"/>
                <a:gd name="T93" fmla="*/ 1044 h 1876"/>
                <a:gd name="T94" fmla="*/ 9766 w 11388"/>
                <a:gd name="T95" fmla="*/ 1624 h 1876"/>
                <a:gd name="T96" fmla="*/ 10376 w 11388"/>
                <a:gd name="T97" fmla="*/ 1871 h 1876"/>
                <a:gd name="T98" fmla="*/ 10903 w 11388"/>
                <a:gd name="T99" fmla="*/ 1806 h 1876"/>
                <a:gd name="T100" fmla="*/ 11271 w 11388"/>
                <a:gd name="T101" fmla="*/ 1557 h 1876"/>
                <a:gd name="T102" fmla="*/ 10978 w 11388"/>
                <a:gd name="T103" fmla="*/ 1330 h 1876"/>
                <a:gd name="T104" fmla="*/ 10734 w 11388"/>
                <a:gd name="T105" fmla="*/ 1480 h 1876"/>
                <a:gd name="T106" fmla="*/ 10380 w 11388"/>
                <a:gd name="T107" fmla="*/ 1510 h 1876"/>
                <a:gd name="T108" fmla="*/ 10029 w 11388"/>
                <a:gd name="T109" fmla="*/ 1338 h 1876"/>
                <a:gd name="T110" fmla="*/ 9884 w 11388"/>
                <a:gd name="T111" fmla="*/ 970 h 1876"/>
                <a:gd name="T112" fmla="*/ 9991 w 11388"/>
                <a:gd name="T113" fmla="*/ 577 h 1876"/>
                <a:gd name="T114" fmla="*/ 10316 w 11388"/>
                <a:gd name="T115" fmla="*/ 375 h 1876"/>
                <a:gd name="T116" fmla="*/ 10692 w 11388"/>
                <a:gd name="T117" fmla="*/ 384 h 1876"/>
                <a:gd name="T118" fmla="*/ 10948 w 11388"/>
                <a:gd name="T119" fmla="*/ 517 h 18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88" h="1876">
                  <a:moveTo>
                    <a:pt x="0" y="42"/>
                  </a:moveTo>
                  <a:lnTo>
                    <a:pt x="0" y="1830"/>
                  </a:lnTo>
                  <a:lnTo>
                    <a:pt x="402" y="1830"/>
                  </a:lnTo>
                  <a:lnTo>
                    <a:pt x="402" y="401"/>
                  </a:lnTo>
                  <a:lnTo>
                    <a:pt x="1360" y="401"/>
                  </a:lnTo>
                  <a:lnTo>
                    <a:pt x="1360" y="1830"/>
                  </a:lnTo>
                  <a:lnTo>
                    <a:pt x="1765" y="1830"/>
                  </a:lnTo>
                  <a:lnTo>
                    <a:pt x="1765" y="42"/>
                  </a:lnTo>
                  <a:lnTo>
                    <a:pt x="0" y="42"/>
                  </a:lnTo>
                  <a:close/>
                  <a:moveTo>
                    <a:pt x="2467" y="937"/>
                  </a:moveTo>
                  <a:lnTo>
                    <a:pt x="2467" y="904"/>
                  </a:lnTo>
                  <a:lnTo>
                    <a:pt x="2470" y="870"/>
                  </a:lnTo>
                  <a:lnTo>
                    <a:pt x="2473" y="838"/>
                  </a:lnTo>
                  <a:lnTo>
                    <a:pt x="2478" y="807"/>
                  </a:lnTo>
                  <a:lnTo>
                    <a:pt x="2486" y="776"/>
                  </a:lnTo>
                  <a:lnTo>
                    <a:pt x="2494" y="747"/>
                  </a:lnTo>
                  <a:lnTo>
                    <a:pt x="2503" y="718"/>
                  </a:lnTo>
                  <a:lnTo>
                    <a:pt x="2513" y="689"/>
                  </a:lnTo>
                  <a:lnTo>
                    <a:pt x="2524" y="663"/>
                  </a:lnTo>
                  <a:lnTo>
                    <a:pt x="2538" y="637"/>
                  </a:lnTo>
                  <a:lnTo>
                    <a:pt x="2552" y="613"/>
                  </a:lnTo>
                  <a:lnTo>
                    <a:pt x="2567" y="588"/>
                  </a:lnTo>
                  <a:lnTo>
                    <a:pt x="2584" y="566"/>
                  </a:lnTo>
                  <a:lnTo>
                    <a:pt x="2602" y="544"/>
                  </a:lnTo>
                  <a:lnTo>
                    <a:pt x="2621" y="523"/>
                  </a:lnTo>
                  <a:lnTo>
                    <a:pt x="2640" y="504"/>
                  </a:lnTo>
                  <a:lnTo>
                    <a:pt x="2660" y="485"/>
                  </a:lnTo>
                  <a:lnTo>
                    <a:pt x="2682" y="468"/>
                  </a:lnTo>
                  <a:lnTo>
                    <a:pt x="2705" y="451"/>
                  </a:lnTo>
                  <a:lnTo>
                    <a:pt x="2728" y="436"/>
                  </a:lnTo>
                  <a:lnTo>
                    <a:pt x="2752" y="422"/>
                  </a:lnTo>
                  <a:lnTo>
                    <a:pt x="2778" y="410"/>
                  </a:lnTo>
                  <a:lnTo>
                    <a:pt x="2804" y="397"/>
                  </a:lnTo>
                  <a:lnTo>
                    <a:pt x="2830" y="387"/>
                  </a:lnTo>
                  <a:lnTo>
                    <a:pt x="2858" y="377"/>
                  </a:lnTo>
                  <a:lnTo>
                    <a:pt x="2885" y="369"/>
                  </a:lnTo>
                  <a:lnTo>
                    <a:pt x="2914" y="363"/>
                  </a:lnTo>
                  <a:lnTo>
                    <a:pt x="2944" y="356"/>
                  </a:lnTo>
                  <a:lnTo>
                    <a:pt x="2973" y="352"/>
                  </a:lnTo>
                  <a:lnTo>
                    <a:pt x="3004" y="348"/>
                  </a:lnTo>
                  <a:lnTo>
                    <a:pt x="3035" y="346"/>
                  </a:lnTo>
                  <a:lnTo>
                    <a:pt x="3065" y="346"/>
                  </a:lnTo>
                  <a:lnTo>
                    <a:pt x="3097" y="346"/>
                  </a:lnTo>
                  <a:lnTo>
                    <a:pt x="3128" y="348"/>
                  </a:lnTo>
                  <a:lnTo>
                    <a:pt x="3158" y="352"/>
                  </a:lnTo>
                  <a:lnTo>
                    <a:pt x="3188" y="356"/>
                  </a:lnTo>
                  <a:lnTo>
                    <a:pt x="3218" y="363"/>
                  </a:lnTo>
                  <a:lnTo>
                    <a:pt x="3246" y="369"/>
                  </a:lnTo>
                  <a:lnTo>
                    <a:pt x="3274" y="377"/>
                  </a:lnTo>
                  <a:lnTo>
                    <a:pt x="3302" y="387"/>
                  </a:lnTo>
                  <a:lnTo>
                    <a:pt x="3328" y="397"/>
                  </a:lnTo>
                  <a:lnTo>
                    <a:pt x="3354" y="410"/>
                  </a:lnTo>
                  <a:lnTo>
                    <a:pt x="3379" y="422"/>
                  </a:lnTo>
                  <a:lnTo>
                    <a:pt x="3403" y="436"/>
                  </a:lnTo>
                  <a:lnTo>
                    <a:pt x="3426" y="451"/>
                  </a:lnTo>
                  <a:lnTo>
                    <a:pt x="3449" y="468"/>
                  </a:lnTo>
                  <a:lnTo>
                    <a:pt x="3471" y="485"/>
                  </a:lnTo>
                  <a:lnTo>
                    <a:pt x="3492" y="504"/>
                  </a:lnTo>
                  <a:lnTo>
                    <a:pt x="3511" y="523"/>
                  </a:lnTo>
                  <a:lnTo>
                    <a:pt x="3530" y="544"/>
                  </a:lnTo>
                  <a:lnTo>
                    <a:pt x="3547" y="566"/>
                  </a:lnTo>
                  <a:lnTo>
                    <a:pt x="3564" y="588"/>
                  </a:lnTo>
                  <a:lnTo>
                    <a:pt x="3580" y="613"/>
                  </a:lnTo>
                  <a:lnTo>
                    <a:pt x="3594" y="637"/>
                  </a:lnTo>
                  <a:lnTo>
                    <a:pt x="3606" y="663"/>
                  </a:lnTo>
                  <a:lnTo>
                    <a:pt x="3618" y="689"/>
                  </a:lnTo>
                  <a:lnTo>
                    <a:pt x="3629" y="718"/>
                  </a:lnTo>
                  <a:lnTo>
                    <a:pt x="3638" y="747"/>
                  </a:lnTo>
                  <a:lnTo>
                    <a:pt x="3646" y="776"/>
                  </a:lnTo>
                  <a:lnTo>
                    <a:pt x="3652" y="807"/>
                  </a:lnTo>
                  <a:lnTo>
                    <a:pt x="3657" y="838"/>
                  </a:lnTo>
                  <a:lnTo>
                    <a:pt x="3661" y="870"/>
                  </a:lnTo>
                  <a:lnTo>
                    <a:pt x="3663" y="904"/>
                  </a:lnTo>
                  <a:lnTo>
                    <a:pt x="3665" y="937"/>
                  </a:lnTo>
                  <a:lnTo>
                    <a:pt x="3663" y="972"/>
                  </a:lnTo>
                  <a:lnTo>
                    <a:pt x="3661" y="1005"/>
                  </a:lnTo>
                  <a:lnTo>
                    <a:pt x="3657" y="1037"/>
                  </a:lnTo>
                  <a:lnTo>
                    <a:pt x="3652" y="1069"/>
                  </a:lnTo>
                  <a:lnTo>
                    <a:pt x="3646" y="1100"/>
                  </a:lnTo>
                  <a:lnTo>
                    <a:pt x="3638" y="1129"/>
                  </a:lnTo>
                  <a:lnTo>
                    <a:pt x="3629" y="1158"/>
                  </a:lnTo>
                  <a:lnTo>
                    <a:pt x="3618" y="1186"/>
                  </a:lnTo>
                  <a:lnTo>
                    <a:pt x="3606" y="1212"/>
                  </a:lnTo>
                  <a:lnTo>
                    <a:pt x="3594" y="1239"/>
                  </a:lnTo>
                  <a:lnTo>
                    <a:pt x="3580" y="1263"/>
                  </a:lnTo>
                  <a:lnTo>
                    <a:pt x="3564" y="1287"/>
                  </a:lnTo>
                  <a:lnTo>
                    <a:pt x="3547" y="1310"/>
                  </a:lnTo>
                  <a:lnTo>
                    <a:pt x="3530" y="1332"/>
                  </a:lnTo>
                  <a:lnTo>
                    <a:pt x="3511" y="1352"/>
                  </a:lnTo>
                  <a:lnTo>
                    <a:pt x="3492" y="1371"/>
                  </a:lnTo>
                  <a:lnTo>
                    <a:pt x="3471" y="1391"/>
                  </a:lnTo>
                  <a:lnTo>
                    <a:pt x="3449" y="1408"/>
                  </a:lnTo>
                  <a:lnTo>
                    <a:pt x="3426" y="1424"/>
                  </a:lnTo>
                  <a:lnTo>
                    <a:pt x="3403" y="1440"/>
                  </a:lnTo>
                  <a:lnTo>
                    <a:pt x="3379" y="1453"/>
                  </a:lnTo>
                  <a:lnTo>
                    <a:pt x="3354" y="1466"/>
                  </a:lnTo>
                  <a:lnTo>
                    <a:pt x="3328" y="1479"/>
                  </a:lnTo>
                  <a:lnTo>
                    <a:pt x="3302" y="1489"/>
                  </a:lnTo>
                  <a:lnTo>
                    <a:pt x="3274" y="1498"/>
                  </a:lnTo>
                  <a:lnTo>
                    <a:pt x="3246" y="1506"/>
                  </a:lnTo>
                  <a:lnTo>
                    <a:pt x="3218" y="1513"/>
                  </a:lnTo>
                  <a:lnTo>
                    <a:pt x="3188" y="1519"/>
                  </a:lnTo>
                  <a:lnTo>
                    <a:pt x="3158" y="1523"/>
                  </a:lnTo>
                  <a:lnTo>
                    <a:pt x="3128" y="1527"/>
                  </a:lnTo>
                  <a:lnTo>
                    <a:pt x="3097" y="1529"/>
                  </a:lnTo>
                  <a:lnTo>
                    <a:pt x="3065" y="1530"/>
                  </a:lnTo>
                  <a:lnTo>
                    <a:pt x="3035" y="1529"/>
                  </a:lnTo>
                  <a:lnTo>
                    <a:pt x="3004" y="1527"/>
                  </a:lnTo>
                  <a:lnTo>
                    <a:pt x="2973" y="1523"/>
                  </a:lnTo>
                  <a:lnTo>
                    <a:pt x="2944" y="1519"/>
                  </a:lnTo>
                  <a:lnTo>
                    <a:pt x="2914" y="1513"/>
                  </a:lnTo>
                  <a:lnTo>
                    <a:pt x="2885" y="1506"/>
                  </a:lnTo>
                  <a:lnTo>
                    <a:pt x="2858" y="1498"/>
                  </a:lnTo>
                  <a:lnTo>
                    <a:pt x="2830" y="1489"/>
                  </a:lnTo>
                  <a:lnTo>
                    <a:pt x="2804" y="1479"/>
                  </a:lnTo>
                  <a:lnTo>
                    <a:pt x="2778" y="1466"/>
                  </a:lnTo>
                  <a:lnTo>
                    <a:pt x="2752" y="1453"/>
                  </a:lnTo>
                  <a:lnTo>
                    <a:pt x="2728" y="1440"/>
                  </a:lnTo>
                  <a:lnTo>
                    <a:pt x="2705" y="1424"/>
                  </a:lnTo>
                  <a:lnTo>
                    <a:pt x="2682" y="1408"/>
                  </a:lnTo>
                  <a:lnTo>
                    <a:pt x="2660" y="1391"/>
                  </a:lnTo>
                  <a:lnTo>
                    <a:pt x="2640" y="1371"/>
                  </a:lnTo>
                  <a:lnTo>
                    <a:pt x="2621" y="1352"/>
                  </a:lnTo>
                  <a:lnTo>
                    <a:pt x="2602" y="1332"/>
                  </a:lnTo>
                  <a:lnTo>
                    <a:pt x="2584" y="1310"/>
                  </a:lnTo>
                  <a:lnTo>
                    <a:pt x="2567" y="1287"/>
                  </a:lnTo>
                  <a:lnTo>
                    <a:pt x="2552" y="1263"/>
                  </a:lnTo>
                  <a:lnTo>
                    <a:pt x="2538" y="1239"/>
                  </a:lnTo>
                  <a:lnTo>
                    <a:pt x="2524" y="1212"/>
                  </a:lnTo>
                  <a:lnTo>
                    <a:pt x="2513" y="1186"/>
                  </a:lnTo>
                  <a:lnTo>
                    <a:pt x="2503" y="1158"/>
                  </a:lnTo>
                  <a:lnTo>
                    <a:pt x="2494" y="1129"/>
                  </a:lnTo>
                  <a:lnTo>
                    <a:pt x="2486" y="1100"/>
                  </a:lnTo>
                  <a:lnTo>
                    <a:pt x="2478" y="1069"/>
                  </a:lnTo>
                  <a:lnTo>
                    <a:pt x="2473" y="1037"/>
                  </a:lnTo>
                  <a:lnTo>
                    <a:pt x="2470" y="1005"/>
                  </a:lnTo>
                  <a:lnTo>
                    <a:pt x="2467" y="972"/>
                  </a:lnTo>
                  <a:lnTo>
                    <a:pt x="2467" y="937"/>
                  </a:lnTo>
                  <a:close/>
                  <a:moveTo>
                    <a:pt x="4069" y="937"/>
                  </a:moveTo>
                  <a:lnTo>
                    <a:pt x="4068" y="885"/>
                  </a:lnTo>
                  <a:lnTo>
                    <a:pt x="4064" y="834"/>
                  </a:lnTo>
                  <a:lnTo>
                    <a:pt x="4057" y="784"/>
                  </a:lnTo>
                  <a:lnTo>
                    <a:pt x="4048" y="736"/>
                  </a:lnTo>
                  <a:lnTo>
                    <a:pt x="4037" y="688"/>
                  </a:lnTo>
                  <a:lnTo>
                    <a:pt x="4023" y="642"/>
                  </a:lnTo>
                  <a:lnTo>
                    <a:pt x="4007" y="597"/>
                  </a:lnTo>
                  <a:lnTo>
                    <a:pt x="3989" y="554"/>
                  </a:lnTo>
                  <a:lnTo>
                    <a:pt x="3968" y="512"/>
                  </a:lnTo>
                  <a:lnTo>
                    <a:pt x="3946" y="471"/>
                  </a:lnTo>
                  <a:lnTo>
                    <a:pt x="3921" y="432"/>
                  </a:lnTo>
                  <a:lnTo>
                    <a:pt x="3896" y="394"/>
                  </a:lnTo>
                  <a:lnTo>
                    <a:pt x="3867" y="358"/>
                  </a:lnTo>
                  <a:lnTo>
                    <a:pt x="3836" y="323"/>
                  </a:lnTo>
                  <a:lnTo>
                    <a:pt x="3805" y="290"/>
                  </a:lnTo>
                  <a:lnTo>
                    <a:pt x="3772" y="258"/>
                  </a:lnTo>
                  <a:lnTo>
                    <a:pt x="3736" y="228"/>
                  </a:lnTo>
                  <a:lnTo>
                    <a:pt x="3699" y="200"/>
                  </a:lnTo>
                  <a:lnTo>
                    <a:pt x="3661" y="174"/>
                  </a:lnTo>
                  <a:lnTo>
                    <a:pt x="3623" y="148"/>
                  </a:lnTo>
                  <a:lnTo>
                    <a:pt x="3582" y="126"/>
                  </a:lnTo>
                  <a:lnTo>
                    <a:pt x="3540" y="104"/>
                  </a:lnTo>
                  <a:lnTo>
                    <a:pt x="3496" y="85"/>
                  </a:lnTo>
                  <a:lnTo>
                    <a:pt x="3452" y="68"/>
                  </a:lnTo>
                  <a:lnTo>
                    <a:pt x="3407" y="52"/>
                  </a:lnTo>
                  <a:lnTo>
                    <a:pt x="3360" y="39"/>
                  </a:lnTo>
                  <a:lnTo>
                    <a:pt x="3313" y="27"/>
                  </a:lnTo>
                  <a:lnTo>
                    <a:pt x="3265" y="18"/>
                  </a:lnTo>
                  <a:lnTo>
                    <a:pt x="3217" y="10"/>
                  </a:lnTo>
                  <a:lnTo>
                    <a:pt x="3167" y="4"/>
                  </a:lnTo>
                  <a:lnTo>
                    <a:pt x="3116" y="1"/>
                  </a:lnTo>
                  <a:lnTo>
                    <a:pt x="3065" y="0"/>
                  </a:lnTo>
                  <a:lnTo>
                    <a:pt x="3015" y="1"/>
                  </a:lnTo>
                  <a:lnTo>
                    <a:pt x="2965" y="4"/>
                  </a:lnTo>
                  <a:lnTo>
                    <a:pt x="2915" y="10"/>
                  </a:lnTo>
                  <a:lnTo>
                    <a:pt x="2867" y="18"/>
                  </a:lnTo>
                  <a:lnTo>
                    <a:pt x="2819" y="27"/>
                  </a:lnTo>
                  <a:lnTo>
                    <a:pt x="2771" y="39"/>
                  </a:lnTo>
                  <a:lnTo>
                    <a:pt x="2725" y="52"/>
                  </a:lnTo>
                  <a:lnTo>
                    <a:pt x="2680" y="68"/>
                  </a:lnTo>
                  <a:lnTo>
                    <a:pt x="2635" y="85"/>
                  </a:lnTo>
                  <a:lnTo>
                    <a:pt x="2592" y="104"/>
                  </a:lnTo>
                  <a:lnTo>
                    <a:pt x="2550" y="126"/>
                  </a:lnTo>
                  <a:lnTo>
                    <a:pt x="2509" y="148"/>
                  </a:lnTo>
                  <a:lnTo>
                    <a:pt x="2470" y="174"/>
                  </a:lnTo>
                  <a:lnTo>
                    <a:pt x="2431" y="200"/>
                  </a:lnTo>
                  <a:lnTo>
                    <a:pt x="2396" y="228"/>
                  </a:lnTo>
                  <a:lnTo>
                    <a:pt x="2360" y="258"/>
                  </a:lnTo>
                  <a:lnTo>
                    <a:pt x="2326" y="290"/>
                  </a:lnTo>
                  <a:lnTo>
                    <a:pt x="2294" y="323"/>
                  </a:lnTo>
                  <a:lnTo>
                    <a:pt x="2265" y="358"/>
                  </a:lnTo>
                  <a:lnTo>
                    <a:pt x="2236" y="394"/>
                  </a:lnTo>
                  <a:lnTo>
                    <a:pt x="2210" y="432"/>
                  </a:lnTo>
                  <a:lnTo>
                    <a:pt x="2185" y="471"/>
                  </a:lnTo>
                  <a:lnTo>
                    <a:pt x="2164" y="512"/>
                  </a:lnTo>
                  <a:lnTo>
                    <a:pt x="2143" y="554"/>
                  </a:lnTo>
                  <a:lnTo>
                    <a:pt x="2125" y="597"/>
                  </a:lnTo>
                  <a:lnTo>
                    <a:pt x="2108" y="642"/>
                  </a:lnTo>
                  <a:lnTo>
                    <a:pt x="2095" y="688"/>
                  </a:lnTo>
                  <a:lnTo>
                    <a:pt x="2083" y="736"/>
                  </a:lnTo>
                  <a:lnTo>
                    <a:pt x="2075" y="784"/>
                  </a:lnTo>
                  <a:lnTo>
                    <a:pt x="2067" y="834"/>
                  </a:lnTo>
                  <a:lnTo>
                    <a:pt x="2063" y="885"/>
                  </a:lnTo>
                  <a:lnTo>
                    <a:pt x="2062" y="937"/>
                  </a:lnTo>
                  <a:lnTo>
                    <a:pt x="2063" y="989"/>
                  </a:lnTo>
                  <a:lnTo>
                    <a:pt x="2067" y="1041"/>
                  </a:lnTo>
                  <a:lnTo>
                    <a:pt x="2075" y="1091"/>
                  </a:lnTo>
                  <a:lnTo>
                    <a:pt x="2083" y="1140"/>
                  </a:lnTo>
                  <a:lnTo>
                    <a:pt x="2095" y="1187"/>
                  </a:lnTo>
                  <a:lnTo>
                    <a:pt x="2108" y="1234"/>
                  </a:lnTo>
                  <a:lnTo>
                    <a:pt x="2125" y="1278"/>
                  </a:lnTo>
                  <a:lnTo>
                    <a:pt x="2143" y="1321"/>
                  </a:lnTo>
                  <a:lnTo>
                    <a:pt x="2164" y="1363"/>
                  </a:lnTo>
                  <a:lnTo>
                    <a:pt x="2185" y="1404"/>
                  </a:lnTo>
                  <a:lnTo>
                    <a:pt x="2210" y="1444"/>
                  </a:lnTo>
                  <a:lnTo>
                    <a:pt x="2236" y="1482"/>
                  </a:lnTo>
                  <a:lnTo>
                    <a:pt x="2265" y="1518"/>
                  </a:lnTo>
                  <a:lnTo>
                    <a:pt x="2294" y="1553"/>
                  </a:lnTo>
                  <a:lnTo>
                    <a:pt x="2326" y="1586"/>
                  </a:lnTo>
                  <a:lnTo>
                    <a:pt x="2360" y="1617"/>
                  </a:lnTo>
                  <a:lnTo>
                    <a:pt x="2396" y="1647"/>
                  </a:lnTo>
                  <a:lnTo>
                    <a:pt x="2431" y="1676"/>
                  </a:lnTo>
                  <a:lnTo>
                    <a:pt x="2470" y="1702"/>
                  </a:lnTo>
                  <a:lnTo>
                    <a:pt x="2509" y="1727"/>
                  </a:lnTo>
                  <a:lnTo>
                    <a:pt x="2550" y="1750"/>
                  </a:lnTo>
                  <a:lnTo>
                    <a:pt x="2592" y="1772"/>
                  </a:lnTo>
                  <a:lnTo>
                    <a:pt x="2635" y="1790"/>
                  </a:lnTo>
                  <a:lnTo>
                    <a:pt x="2680" y="1808"/>
                  </a:lnTo>
                  <a:lnTo>
                    <a:pt x="2725" y="1824"/>
                  </a:lnTo>
                  <a:lnTo>
                    <a:pt x="2771" y="1837"/>
                  </a:lnTo>
                  <a:lnTo>
                    <a:pt x="2819" y="1848"/>
                  </a:lnTo>
                  <a:lnTo>
                    <a:pt x="2867" y="1858"/>
                  </a:lnTo>
                  <a:lnTo>
                    <a:pt x="2915" y="1865"/>
                  </a:lnTo>
                  <a:lnTo>
                    <a:pt x="2965" y="1871"/>
                  </a:lnTo>
                  <a:lnTo>
                    <a:pt x="3015" y="1874"/>
                  </a:lnTo>
                  <a:lnTo>
                    <a:pt x="3065" y="1876"/>
                  </a:lnTo>
                  <a:lnTo>
                    <a:pt x="3116" y="1874"/>
                  </a:lnTo>
                  <a:lnTo>
                    <a:pt x="3167" y="1871"/>
                  </a:lnTo>
                  <a:lnTo>
                    <a:pt x="3217" y="1865"/>
                  </a:lnTo>
                  <a:lnTo>
                    <a:pt x="3265" y="1858"/>
                  </a:lnTo>
                  <a:lnTo>
                    <a:pt x="3313" y="1848"/>
                  </a:lnTo>
                  <a:lnTo>
                    <a:pt x="3360" y="1837"/>
                  </a:lnTo>
                  <a:lnTo>
                    <a:pt x="3407" y="1824"/>
                  </a:lnTo>
                  <a:lnTo>
                    <a:pt x="3452" y="1808"/>
                  </a:lnTo>
                  <a:lnTo>
                    <a:pt x="3496" y="1790"/>
                  </a:lnTo>
                  <a:lnTo>
                    <a:pt x="3540" y="1772"/>
                  </a:lnTo>
                  <a:lnTo>
                    <a:pt x="3582" y="1750"/>
                  </a:lnTo>
                  <a:lnTo>
                    <a:pt x="3623" y="1727"/>
                  </a:lnTo>
                  <a:lnTo>
                    <a:pt x="3661" y="1702"/>
                  </a:lnTo>
                  <a:lnTo>
                    <a:pt x="3699" y="1676"/>
                  </a:lnTo>
                  <a:lnTo>
                    <a:pt x="3736" y="1647"/>
                  </a:lnTo>
                  <a:lnTo>
                    <a:pt x="3772" y="1617"/>
                  </a:lnTo>
                  <a:lnTo>
                    <a:pt x="3805" y="1586"/>
                  </a:lnTo>
                  <a:lnTo>
                    <a:pt x="3836" y="1553"/>
                  </a:lnTo>
                  <a:lnTo>
                    <a:pt x="3867" y="1518"/>
                  </a:lnTo>
                  <a:lnTo>
                    <a:pt x="3896" y="1482"/>
                  </a:lnTo>
                  <a:lnTo>
                    <a:pt x="3921" y="1444"/>
                  </a:lnTo>
                  <a:lnTo>
                    <a:pt x="3946" y="1404"/>
                  </a:lnTo>
                  <a:lnTo>
                    <a:pt x="3968" y="1363"/>
                  </a:lnTo>
                  <a:lnTo>
                    <a:pt x="3989" y="1321"/>
                  </a:lnTo>
                  <a:lnTo>
                    <a:pt x="4007" y="1278"/>
                  </a:lnTo>
                  <a:lnTo>
                    <a:pt x="4023" y="1234"/>
                  </a:lnTo>
                  <a:lnTo>
                    <a:pt x="4037" y="1187"/>
                  </a:lnTo>
                  <a:lnTo>
                    <a:pt x="4048" y="1140"/>
                  </a:lnTo>
                  <a:lnTo>
                    <a:pt x="4057" y="1091"/>
                  </a:lnTo>
                  <a:lnTo>
                    <a:pt x="4064" y="1041"/>
                  </a:lnTo>
                  <a:lnTo>
                    <a:pt x="4068" y="989"/>
                  </a:lnTo>
                  <a:lnTo>
                    <a:pt x="4069" y="937"/>
                  </a:lnTo>
                  <a:close/>
                  <a:moveTo>
                    <a:pt x="4805" y="42"/>
                  </a:moveTo>
                  <a:lnTo>
                    <a:pt x="4564" y="1322"/>
                  </a:lnTo>
                  <a:lnTo>
                    <a:pt x="4560" y="1340"/>
                  </a:lnTo>
                  <a:lnTo>
                    <a:pt x="4555" y="1356"/>
                  </a:lnTo>
                  <a:lnTo>
                    <a:pt x="4549" y="1371"/>
                  </a:lnTo>
                  <a:lnTo>
                    <a:pt x="4542" y="1385"/>
                  </a:lnTo>
                  <a:lnTo>
                    <a:pt x="4535" y="1398"/>
                  </a:lnTo>
                  <a:lnTo>
                    <a:pt x="4525" y="1409"/>
                  </a:lnTo>
                  <a:lnTo>
                    <a:pt x="4515" y="1419"/>
                  </a:lnTo>
                  <a:lnTo>
                    <a:pt x="4505" y="1429"/>
                  </a:lnTo>
                  <a:lnTo>
                    <a:pt x="4494" y="1437"/>
                  </a:lnTo>
                  <a:lnTo>
                    <a:pt x="4481" y="1443"/>
                  </a:lnTo>
                  <a:lnTo>
                    <a:pt x="4468" y="1449"/>
                  </a:lnTo>
                  <a:lnTo>
                    <a:pt x="4454" y="1453"/>
                  </a:lnTo>
                  <a:lnTo>
                    <a:pt x="4440" y="1457"/>
                  </a:lnTo>
                  <a:lnTo>
                    <a:pt x="4423" y="1459"/>
                  </a:lnTo>
                  <a:lnTo>
                    <a:pt x="4407" y="1461"/>
                  </a:lnTo>
                  <a:lnTo>
                    <a:pt x="4389" y="1461"/>
                  </a:lnTo>
                  <a:lnTo>
                    <a:pt x="4195" y="1461"/>
                  </a:lnTo>
                  <a:lnTo>
                    <a:pt x="4195" y="1830"/>
                  </a:lnTo>
                  <a:lnTo>
                    <a:pt x="4409" y="1830"/>
                  </a:lnTo>
                  <a:lnTo>
                    <a:pt x="4436" y="1830"/>
                  </a:lnTo>
                  <a:lnTo>
                    <a:pt x="4463" y="1829"/>
                  </a:lnTo>
                  <a:lnTo>
                    <a:pt x="4490" y="1827"/>
                  </a:lnTo>
                  <a:lnTo>
                    <a:pt x="4515" y="1824"/>
                  </a:lnTo>
                  <a:lnTo>
                    <a:pt x="4540" y="1820"/>
                  </a:lnTo>
                  <a:lnTo>
                    <a:pt x="4564" y="1815"/>
                  </a:lnTo>
                  <a:lnTo>
                    <a:pt x="4588" y="1809"/>
                  </a:lnTo>
                  <a:lnTo>
                    <a:pt x="4611" y="1803"/>
                  </a:lnTo>
                  <a:lnTo>
                    <a:pt x="4634" y="1796"/>
                  </a:lnTo>
                  <a:lnTo>
                    <a:pt x="4655" y="1788"/>
                  </a:lnTo>
                  <a:lnTo>
                    <a:pt x="4677" y="1779"/>
                  </a:lnTo>
                  <a:lnTo>
                    <a:pt x="4697" y="1770"/>
                  </a:lnTo>
                  <a:lnTo>
                    <a:pt x="4718" y="1758"/>
                  </a:lnTo>
                  <a:lnTo>
                    <a:pt x="4736" y="1747"/>
                  </a:lnTo>
                  <a:lnTo>
                    <a:pt x="4755" y="1735"/>
                  </a:lnTo>
                  <a:lnTo>
                    <a:pt x="4773" y="1721"/>
                  </a:lnTo>
                  <a:lnTo>
                    <a:pt x="4790" y="1706"/>
                  </a:lnTo>
                  <a:lnTo>
                    <a:pt x="4807" y="1691"/>
                  </a:lnTo>
                  <a:lnTo>
                    <a:pt x="4822" y="1675"/>
                  </a:lnTo>
                  <a:lnTo>
                    <a:pt x="4837" y="1657"/>
                  </a:lnTo>
                  <a:lnTo>
                    <a:pt x="4852" y="1640"/>
                  </a:lnTo>
                  <a:lnTo>
                    <a:pt x="4865" y="1620"/>
                  </a:lnTo>
                  <a:lnTo>
                    <a:pt x="4878" y="1600"/>
                  </a:lnTo>
                  <a:lnTo>
                    <a:pt x="4890" y="1579"/>
                  </a:lnTo>
                  <a:lnTo>
                    <a:pt x="4902" y="1557"/>
                  </a:lnTo>
                  <a:lnTo>
                    <a:pt x="4912" y="1534"/>
                  </a:lnTo>
                  <a:lnTo>
                    <a:pt x="4922" y="1510"/>
                  </a:lnTo>
                  <a:lnTo>
                    <a:pt x="4931" y="1485"/>
                  </a:lnTo>
                  <a:lnTo>
                    <a:pt x="4939" y="1458"/>
                  </a:lnTo>
                  <a:lnTo>
                    <a:pt x="4947" y="1432"/>
                  </a:lnTo>
                  <a:lnTo>
                    <a:pt x="4954" y="1403"/>
                  </a:lnTo>
                  <a:lnTo>
                    <a:pt x="4959" y="1374"/>
                  </a:lnTo>
                  <a:lnTo>
                    <a:pt x="5141" y="404"/>
                  </a:lnTo>
                  <a:lnTo>
                    <a:pt x="5827" y="404"/>
                  </a:lnTo>
                  <a:lnTo>
                    <a:pt x="5827" y="1830"/>
                  </a:lnTo>
                  <a:lnTo>
                    <a:pt x="6232" y="1830"/>
                  </a:lnTo>
                  <a:lnTo>
                    <a:pt x="6232" y="42"/>
                  </a:lnTo>
                  <a:lnTo>
                    <a:pt x="4805" y="42"/>
                  </a:lnTo>
                  <a:close/>
                  <a:moveTo>
                    <a:pt x="6620" y="42"/>
                  </a:moveTo>
                  <a:lnTo>
                    <a:pt x="6620" y="1830"/>
                  </a:lnTo>
                  <a:lnTo>
                    <a:pt x="7018" y="1830"/>
                  </a:lnTo>
                  <a:lnTo>
                    <a:pt x="7018" y="1073"/>
                  </a:lnTo>
                  <a:lnTo>
                    <a:pt x="7290" y="1073"/>
                  </a:lnTo>
                  <a:lnTo>
                    <a:pt x="7297" y="1121"/>
                  </a:lnTo>
                  <a:lnTo>
                    <a:pt x="7305" y="1167"/>
                  </a:lnTo>
                  <a:lnTo>
                    <a:pt x="7317" y="1212"/>
                  </a:lnTo>
                  <a:lnTo>
                    <a:pt x="7329" y="1256"/>
                  </a:lnTo>
                  <a:lnTo>
                    <a:pt x="7343" y="1298"/>
                  </a:lnTo>
                  <a:lnTo>
                    <a:pt x="7360" y="1339"/>
                  </a:lnTo>
                  <a:lnTo>
                    <a:pt x="7378" y="1377"/>
                  </a:lnTo>
                  <a:lnTo>
                    <a:pt x="7397" y="1415"/>
                  </a:lnTo>
                  <a:lnTo>
                    <a:pt x="7419" y="1452"/>
                  </a:lnTo>
                  <a:lnTo>
                    <a:pt x="7442" y="1488"/>
                  </a:lnTo>
                  <a:lnTo>
                    <a:pt x="7467" y="1520"/>
                  </a:lnTo>
                  <a:lnTo>
                    <a:pt x="7493" y="1553"/>
                  </a:lnTo>
                  <a:lnTo>
                    <a:pt x="7520" y="1584"/>
                  </a:lnTo>
                  <a:lnTo>
                    <a:pt x="7550" y="1613"/>
                  </a:lnTo>
                  <a:lnTo>
                    <a:pt x="7580" y="1641"/>
                  </a:lnTo>
                  <a:lnTo>
                    <a:pt x="7612" y="1667"/>
                  </a:lnTo>
                  <a:lnTo>
                    <a:pt x="7645" y="1692"/>
                  </a:lnTo>
                  <a:lnTo>
                    <a:pt x="7679" y="1715"/>
                  </a:lnTo>
                  <a:lnTo>
                    <a:pt x="7714" y="1737"/>
                  </a:lnTo>
                  <a:lnTo>
                    <a:pt x="7751" y="1757"/>
                  </a:lnTo>
                  <a:lnTo>
                    <a:pt x="7789" y="1776"/>
                  </a:lnTo>
                  <a:lnTo>
                    <a:pt x="7828" y="1793"/>
                  </a:lnTo>
                  <a:lnTo>
                    <a:pt x="7867" y="1808"/>
                  </a:lnTo>
                  <a:lnTo>
                    <a:pt x="7908" y="1823"/>
                  </a:lnTo>
                  <a:lnTo>
                    <a:pt x="7950" y="1835"/>
                  </a:lnTo>
                  <a:lnTo>
                    <a:pt x="7991" y="1845"/>
                  </a:lnTo>
                  <a:lnTo>
                    <a:pt x="8034" y="1854"/>
                  </a:lnTo>
                  <a:lnTo>
                    <a:pt x="8078" y="1861"/>
                  </a:lnTo>
                  <a:lnTo>
                    <a:pt x="8123" y="1868"/>
                  </a:lnTo>
                  <a:lnTo>
                    <a:pt x="8168" y="1872"/>
                  </a:lnTo>
                  <a:lnTo>
                    <a:pt x="8214" y="1875"/>
                  </a:lnTo>
                  <a:lnTo>
                    <a:pt x="8261" y="1876"/>
                  </a:lnTo>
                  <a:lnTo>
                    <a:pt x="8311" y="1875"/>
                  </a:lnTo>
                  <a:lnTo>
                    <a:pt x="8362" y="1872"/>
                  </a:lnTo>
                  <a:lnTo>
                    <a:pt x="8410" y="1867"/>
                  </a:lnTo>
                  <a:lnTo>
                    <a:pt x="8459" y="1859"/>
                  </a:lnTo>
                  <a:lnTo>
                    <a:pt x="8506" y="1850"/>
                  </a:lnTo>
                  <a:lnTo>
                    <a:pt x="8552" y="1840"/>
                  </a:lnTo>
                  <a:lnTo>
                    <a:pt x="8598" y="1828"/>
                  </a:lnTo>
                  <a:lnTo>
                    <a:pt x="8642" y="1812"/>
                  </a:lnTo>
                  <a:lnTo>
                    <a:pt x="8686" y="1796"/>
                  </a:lnTo>
                  <a:lnTo>
                    <a:pt x="8728" y="1779"/>
                  </a:lnTo>
                  <a:lnTo>
                    <a:pt x="8769" y="1758"/>
                  </a:lnTo>
                  <a:lnTo>
                    <a:pt x="8808" y="1736"/>
                  </a:lnTo>
                  <a:lnTo>
                    <a:pt x="8846" y="1712"/>
                  </a:lnTo>
                  <a:lnTo>
                    <a:pt x="8883" y="1687"/>
                  </a:lnTo>
                  <a:lnTo>
                    <a:pt x="8919" y="1660"/>
                  </a:lnTo>
                  <a:lnTo>
                    <a:pt x="8953" y="1631"/>
                  </a:lnTo>
                  <a:lnTo>
                    <a:pt x="8985" y="1600"/>
                  </a:lnTo>
                  <a:lnTo>
                    <a:pt x="9016" y="1567"/>
                  </a:lnTo>
                  <a:lnTo>
                    <a:pt x="9045" y="1533"/>
                  </a:lnTo>
                  <a:lnTo>
                    <a:pt x="9072" y="1497"/>
                  </a:lnTo>
                  <a:lnTo>
                    <a:pt x="9098" y="1459"/>
                  </a:lnTo>
                  <a:lnTo>
                    <a:pt x="9121" y="1420"/>
                  </a:lnTo>
                  <a:lnTo>
                    <a:pt x="9143" y="1380"/>
                  </a:lnTo>
                  <a:lnTo>
                    <a:pt x="9162" y="1337"/>
                  </a:lnTo>
                  <a:lnTo>
                    <a:pt x="9180" y="1293"/>
                  </a:lnTo>
                  <a:lnTo>
                    <a:pt x="9195" y="1247"/>
                  </a:lnTo>
                  <a:lnTo>
                    <a:pt x="9208" y="1199"/>
                  </a:lnTo>
                  <a:lnTo>
                    <a:pt x="9218" y="1150"/>
                  </a:lnTo>
                  <a:lnTo>
                    <a:pt x="9228" y="1099"/>
                  </a:lnTo>
                  <a:lnTo>
                    <a:pt x="9234" y="1047"/>
                  </a:lnTo>
                  <a:lnTo>
                    <a:pt x="9238" y="993"/>
                  </a:lnTo>
                  <a:lnTo>
                    <a:pt x="9239" y="937"/>
                  </a:lnTo>
                  <a:lnTo>
                    <a:pt x="9238" y="882"/>
                  </a:lnTo>
                  <a:lnTo>
                    <a:pt x="9234" y="828"/>
                  </a:lnTo>
                  <a:lnTo>
                    <a:pt x="9228" y="776"/>
                  </a:lnTo>
                  <a:lnTo>
                    <a:pt x="9218" y="726"/>
                  </a:lnTo>
                  <a:lnTo>
                    <a:pt x="9208" y="677"/>
                  </a:lnTo>
                  <a:lnTo>
                    <a:pt x="9195" y="629"/>
                  </a:lnTo>
                  <a:lnTo>
                    <a:pt x="9180" y="583"/>
                  </a:lnTo>
                  <a:lnTo>
                    <a:pt x="9162" y="539"/>
                  </a:lnTo>
                  <a:lnTo>
                    <a:pt x="9143" y="496"/>
                  </a:lnTo>
                  <a:lnTo>
                    <a:pt x="9121" y="456"/>
                  </a:lnTo>
                  <a:lnTo>
                    <a:pt x="9098" y="416"/>
                  </a:lnTo>
                  <a:lnTo>
                    <a:pt x="9072" y="378"/>
                  </a:lnTo>
                  <a:lnTo>
                    <a:pt x="9045" y="342"/>
                  </a:lnTo>
                  <a:lnTo>
                    <a:pt x="9016" y="309"/>
                  </a:lnTo>
                  <a:lnTo>
                    <a:pt x="8985" y="276"/>
                  </a:lnTo>
                  <a:lnTo>
                    <a:pt x="8953" y="245"/>
                  </a:lnTo>
                  <a:lnTo>
                    <a:pt x="8919" y="216"/>
                  </a:lnTo>
                  <a:lnTo>
                    <a:pt x="8883" y="188"/>
                  </a:lnTo>
                  <a:lnTo>
                    <a:pt x="8846" y="163"/>
                  </a:lnTo>
                  <a:lnTo>
                    <a:pt x="8808" y="139"/>
                  </a:lnTo>
                  <a:lnTo>
                    <a:pt x="8769" y="118"/>
                  </a:lnTo>
                  <a:lnTo>
                    <a:pt x="8728" y="97"/>
                  </a:lnTo>
                  <a:lnTo>
                    <a:pt x="8686" y="79"/>
                  </a:lnTo>
                  <a:lnTo>
                    <a:pt x="8642" y="62"/>
                  </a:lnTo>
                  <a:lnTo>
                    <a:pt x="8598" y="48"/>
                  </a:lnTo>
                  <a:lnTo>
                    <a:pt x="8552" y="36"/>
                  </a:lnTo>
                  <a:lnTo>
                    <a:pt x="8506" y="25"/>
                  </a:lnTo>
                  <a:lnTo>
                    <a:pt x="8459" y="17"/>
                  </a:lnTo>
                  <a:lnTo>
                    <a:pt x="8410" y="9"/>
                  </a:lnTo>
                  <a:lnTo>
                    <a:pt x="8362" y="4"/>
                  </a:lnTo>
                  <a:lnTo>
                    <a:pt x="8311" y="1"/>
                  </a:lnTo>
                  <a:lnTo>
                    <a:pt x="8261" y="0"/>
                  </a:lnTo>
                  <a:lnTo>
                    <a:pt x="8217" y="1"/>
                  </a:lnTo>
                  <a:lnTo>
                    <a:pt x="8174" y="3"/>
                  </a:lnTo>
                  <a:lnTo>
                    <a:pt x="8132" y="7"/>
                  </a:lnTo>
                  <a:lnTo>
                    <a:pt x="8090" y="12"/>
                  </a:lnTo>
                  <a:lnTo>
                    <a:pt x="8048" y="19"/>
                  </a:lnTo>
                  <a:lnTo>
                    <a:pt x="8007" y="27"/>
                  </a:lnTo>
                  <a:lnTo>
                    <a:pt x="7967" y="36"/>
                  </a:lnTo>
                  <a:lnTo>
                    <a:pt x="7927" y="47"/>
                  </a:lnTo>
                  <a:lnTo>
                    <a:pt x="7888" y="59"/>
                  </a:lnTo>
                  <a:lnTo>
                    <a:pt x="7850" y="74"/>
                  </a:lnTo>
                  <a:lnTo>
                    <a:pt x="7814" y="89"/>
                  </a:lnTo>
                  <a:lnTo>
                    <a:pt x="7778" y="105"/>
                  </a:lnTo>
                  <a:lnTo>
                    <a:pt x="7742" y="123"/>
                  </a:lnTo>
                  <a:lnTo>
                    <a:pt x="7708" y="142"/>
                  </a:lnTo>
                  <a:lnTo>
                    <a:pt x="7675" y="163"/>
                  </a:lnTo>
                  <a:lnTo>
                    <a:pt x="7643" y="185"/>
                  </a:lnTo>
                  <a:lnTo>
                    <a:pt x="7612" y="208"/>
                  </a:lnTo>
                  <a:lnTo>
                    <a:pt x="7582" y="233"/>
                  </a:lnTo>
                  <a:lnTo>
                    <a:pt x="7553" y="258"/>
                  </a:lnTo>
                  <a:lnTo>
                    <a:pt x="7526" y="286"/>
                  </a:lnTo>
                  <a:lnTo>
                    <a:pt x="7500" y="315"/>
                  </a:lnTo>
                  <a:lnTo>
                    <a:pt x="7475" y="344"/>
                  </a:lnTo>
                  <a:lnTo>
                    <a:pt x="7452" y="376"/>
                  </a:lnTo>
                  <a:lnTo>
                    <a:pt x="7429" y="408"/>
                  </a:lnTo>
                  <a:lnTo>
                    <a:pt x="7409" y="441"/>
                  </a:lnTo>
                  <a:lnTo>
                    <a:pt x="7389" y="477"/>
                  </a:lnTo>
                  <a:lnTo>
                    <a:pt x="7371" y="513"/>
                  </a:lnTo>
                  <a:lnTo>
                    <a:pt x="7354" y="550"/>
                  </a:lnTo>
                  <a:lnTo>
                    <a:pt x="7340" y="588"/>
                  </a:lnTo>
                  <a:lnTo>
                    <a:pt x="7327" y="628"/>
                  </a:lnTo>
                  <a:lnTo>
                    <a:pt x="7316" y="669"/>
                  </a:lnTo>
                  <a:lnTo>
                    <a:pt x="7306" y="712"/>
                  </a:lnTo>
                  <a:lnTo>
                    <a:pt x="7018" y="712"/>
                  </a:lnTo>
                  <a:lnTo>
                    <a:pt x="7018" y="42"/>
                  </a:lnTo>
                  <a:lnTo>
                    <a:pt x="6620" y="42"/>
                  </a:lnTo>
                  <a:close/>
                  <a:moveTo>
                    <a:pt x="7685" y="937"/>
                  </a:moveTo>
                  <a:lnTo>
                    <a:pt x="7686" y="904"/>
                  </a:lnTo>
                  <a:lnTo>
                    <a:pt x="7687" y="870"/>
                  </a:lnTo>
                  <a:lnTo>
                    <a:pt x="7690" y="838"/>
                  </a:lnTo>
                  <a:lnTo>
                    <a:pt x="7694" y="807"/>
                  </a:lnTo>
                  <a:lnTo>
                    <a:pt x="7699" y="776"/>
                  </a:lnTo>
                  <a:lnTo>
                    <a:pt x="7705" y="747"/>
                  </a:lnTo>
                  <a:lnTo>
                    <a:pt x="7713" y="718"/>
                  </a:lnTo>
                  <a:lnTo>
                    <a:pt x="7722" y="689"/>
                  </a:lnTo>
                  <a:lnTo>
                    <a:pt x="7732" y="663"/>
                  </a:lnTo>
                  <a:lnTo>
                    <a:pt x="7742" y="637"/>
                  </a:lnTo>
                  <a:lnTo>
                    <a:pt x="7754" y="613"/>
                  </a:lnTo>
                  <a:lnTo>
                    <a:pt x="7768" y="588"/>
                  </a:lnTo>
                  <a:lnTo>
                    <a:pt x="7782" y="566"/>
                  </a:lnTo>
                  <a:lnTo>
                    <a:pt x="7797" y="544"/>
                  </a:lnTo>
                  <a:lnTo>
                    <a:pt x="7814" y="523"/>
                  </a:lnTo>
                  <a:lnTo>
                    <a:pt x="7831" y="504"/>
                  </a:lnTo>
                  <a:lnTo>
                    <a:pt x="7849" y="485"/>
                  </a:lnTo>
                  <a:lnTo>
                    <a:pt x="7870" y="468"/>
                  </a:lnTo>
                  <a:lnTo>
                    <a:pt x="7890" y="451"/>
                  </a:lnTo>
                  <a:lnTo>
                    <a:pt x="7913" y="436"/>
                  </a:lnTo>
                  <a:lnTo>
                    <a:pt x="7935" y="422"/>
                  </a:lnTo>
                  <a:lnTo>
                    <a:pt x="7960" y="410"/>
                  </a:lnTo>
                  <a:lnTo>
                    <a:pt x="7985" y="397"/>
                  </a:lnTo>
                  <a:lnTo>
                    <a:pt x="8011" y="387"/>
                  </a:lnTo>
                  <a:lnTo>
                    <a:pt x="8038" y="377"/>
                  </a:lnTo>
                  <a:lnTo>
                    <a:pt x="8067" y="369"/>
                  </a:lnTo>
                  <a:lnTo>
                    <a:pt x="8097" y="363"/>
                  </a:lnTo>
                  <a:lnTo>
                    <a:pt x="8127" y="356"/>
                  </a:lnTo>
                  <a:lnTo>
                    <a:pt x="8159" y="352"/>
                  </a:lnTo>
                  <a:lnTo>
                    <a:pt x="8192" y="348"/>
                  </a:lnTo>
                  <a:lnTo>
                    <a:pt x="8227" y="346"/>
                  </a:lnTo>
                  <a:lnTo>
                    <a:pt x="8261" y="346"/>
                  </a:lnTo>
                  <a:lnTo>
                    <a:pt x="8296" y="346"/>
                  </a:lnTo>
                  <a:lnTo>
                    <a:pt x="8330" y="348"/>
                  </a:lnTo>
                  <a:lnTo>
                    <a:pt x="8363" y="352"/>
                  </a:lnTo>
                  <a:lnTo>
                    <a:pt x="8394" y="356"/>
                  </a:lnTo>
                  <a:lnTo>
                    <a:pt x="8425" y="363"/>
                  </a:lnTo>
                  <a:lnTo>
                    <a:pt x="8455" y="369"/>
                  </a:lnTo>
                  <a:lnTo>
                    <a:pt x="8483" y="377"/>
                  </a:lnTo>
                  <a:lnTo>
                    <a:pt x="8511" y="387"/>
                  </a:lnTo>
                  <a:lnTo>
                    <a:pt x="8537" y="397"/>
                  </a:lnTo>
                  <a:lnTo>
                    <a:pt x="8563" y="410"/>
                  </a:lnTo>
                  <a:lnTo>
                    <a:pt x="8587" y="422"/>
                  </a:lnTo>
                  <a:lnTo>
                    <a:pt x="8610" y="436"/>
                  </a:lnTo>
                  <a:lnTo>
                    <a:pt x="8632" y="451"/>
                  </a:lnTo>
                  <a:lnTo>
                    <a:pt x="8653" y="468"/>
                  </a:lnTo>
                  <a:lnTo>
                    <a:pt x="8672" y="485"/>
                  </a:lnTo>
                  <a:lnTo>
                    <a:pt x="8691" y="504"/>
                  </a:lnTo>
                  <a:lnTo>
                    <a:pt x="8709" y="523"/>
                  </a:lnTo>
                  <a:lnTo>
                    <a:pt x="8726" y="544"/>
                  </a:lnTo>
                  <a:lnTo>
                    <a:pt x="8741" y="566"/>
                  </a:lnTo>
                  <a:lnTo>
                    <a:pt x="8755" y="588"/>
                  </a:lnTo>
                  <a:lnTo>
                    <a:pt x="8767" y="613"/>
                  </a:lnTo>
                  <a:lnTo>
                    <a:pt x="8780" y="637"/>
                  </a:lnTo>
                  <a:lnTo>
                    <a:pt x="8791" y="663"/>
                  </a:lnTo>
                  <a:lnTo>
                    <a:pt x="8800" y="689"/>
                  </a:lnTo>
                  <a:lnTo>
                    <a:pt x="8809" y="718"/>
                  </a:lnTo>
                  <a:lnTo>
                    <a:pt x="8817" y="747"/>
                  </a:lnTo>
                  <a:lnTo>
                    <a:pt x="8823" y="776"/>
                  </a:lnTo>
                  <a:lnTo>
                    <a:pt x="8828" y="807"/>
                  </a:lnTo>
                  <a:lnTo>
                    <a:pt x="8832" y="838"/>
                  </a:lnTo>
                  <a:lnTo>
                    <a:pt x="8835" y="870"/>
                  </a:lnTo>
                  <a:lnTo>
                    <a:pt x="8837" y="904"/>
                  </a:lnTo>
                  <a:lnTo>
                    <a:pt x="8837" y="937"/>
                  </a:lnTo>
                  <a:lnTo>
                    <a:pt x="8837" y="972"/>
                  </a:lnTo>
                  <a:lnTo>
                    <a:pt x="8835" y="1005"/>
                  </a:lnTo>
                  <a:lnTo>
                    <a:pt x="8832" y="1037"/>
                  </a:lnTo>
                  <a:lnTo>
                    <a:pt x="8828" y="1069"/>
                  </a:lnTo>
                  <a:lnTo>
                    <a:pt x="8823" y="1100"/>
                  </a:lnTo>
                  <a:lnTo>
                    <a:pt x="8817" y="1129"/>
                  </a:lnTo>
                  <a:lnTo>
                    <a:pt x="8809" y="1158"/>
                  </a:lnTo>
                  <a:lnTo>
                    <a:pt x="8800" y="1186"/>
                  </a:lnTo>
                  <a:lnTo>
                    <a:pt x="8791" y="1212"/>
                  </a:lnTo>
                  <a:lnTo>
                    <a:pt x="8780" y="1239"/>
                  </a:lnTo>
                  <a:lnTo>
                    <a:pt x="8767" y="1263"/>
                  </a:lnTo>
                  <a:lnTo>
                    <a:pt x="8755" y="1287"/>
                  </a:lnTo>
                  <a:lnTo>
                    <a:pt x="8741" y="1310"/>
                  </a:lnTo>
                  <a:lnTo>
                    <a:pt x="8726" y="1332"/>
                  </a:lnTo>
                  <a:lnTo>
                    <a:pt x="8709" y="1352"/>
                  </a:lnTo>
                  <a:lnTo>
                    <a:pt x="8691" y="1371"/>
                  </a:lnTo>
                  <a:lnTo>
                    <a:pt x="8672" y="1391"/>
                  </a:lnTo>
                  <a:lnTo>
                    <a:pt x="8653" y="1408"/>
                  </a:lnTo>
                  <a:lnTo>
                    <a:pt x="8632" y="1424"/>
                  </a:lnTo>
                  <a:lnTo>
                    <a:pt x="8610" y="1440"/>
                  </a:lnTo>
                  <a:lnTo>
                    <a:pt x="8587" y="1453"/>
                  </a:lnTo>
                  <a:lnTo>
                    <a:pt x="8563" y="1466"/>
                  </a:lnTo>
                  <a:lnTo>
                    <a:pt x="8537" y="1479"/>
                  </a:lnTo>
                  <a:lnTo>
                    <a:pt x="8511" y="1489"/>
                  </a:lnTo>
                  <a:lnTo>
                    <a:pt x="8483" y="1498"/>
                  </a:lnTo>
                  <a:lnTo>
                    <a:pt x="8455" y="1506"/>
                  </a:lnTo>
                  <a:lnTo>
                    <a:pt x="8425" y="1513"/>
                  </a:lnTo>
                  <a:lnTo>
                    <a:pt x="8394" y="1519"/>
                  </a:lnTo>
                  <a:lnTo>
                    <a:pt x="8363" y="1523"/>
                  </a:lnTo>
                  <a:lnTo>
                    <a:pt x="8330" y="1527"/>
                  </a:lnTo>
                  <a:lnTo>
                    <a:pt x="8296" y="1529"/>
                  </a:lnTo>
                  <a:lnTo>
                    <a:pt x="8261" y="1530"/>
                  </a:lnTo>
                  <a:lnTo>
                    <a:pt x="8227" y="1529"/>
                  </a:lnTo>
                  <a:lnTo>
                    <a:pt x="8192" y="1527"/>
                  </a:lnTo>
                  <a:lnTo>
                    <a:pt x="8159" y="1523"/>
                  </a:lnTo>
                  <a:lnTo>
                    <a:pt x="8127" y="1519"/>
                  </a:lnTo>
                  <a:lnTo>
                    <a:pt x="8097" y="1513"/>
                  </a:lnTo>
                  <a:lnTo>
                    <a:pt x="8067" y="1506"/>
                  </a:lnTo>
                  <a:lnTo>
                    <a:pt x="8038" y="1498"/>
                  </a:lnTo>
                  <a:lnTo>
                    <a:pt x="8011" y="1489"/>
                  </a:lnTo>
                  <a:lnTo>
                    <a:pt x="7985" y="1479"/>
                  </a:lnTo>
                  <a:lnTo>
                    <a:pt x="7960" y="1466"/>
                  </a:lnTo>
                  <a:lnTo>
                    <a:pt x="7935" y="1453"/>
                  </a:lnTo>
                  <a:lnTo>
                    <a:pt x="7913" y="1440"/>
                  </a:lnTo>
                  <a:lnTo>
                    <a:pt x="7890" y="1424"/>
                  </a:lnTo>
                  <a:lnTo>
                    <a:pt x="7870" y="1408"/>
                  </a:lnTo>
                  <a:lnTo>
                    <a:pt x="7849" y="1391"/>
                  </a:lnTo>
                  <a:lnTo>
                    <a:pt x="7831" y="1371"/>
                  </a:lnTo>
                  <a:lnTo>
                    <a:pt x="7814" y="1352"/>
                  </a:lnTo>
                  <a:lnTo>
                    <a:pt x="7797" y="1332"/>
                  </a:lnTo>
                  <a:lnTo>
                    <a:pt x="7782" y="1310"/>
                  </a:lnTo>
                  <a:lnTo>
                    <a:pt x="7768" y="1287"/>
                  </a:lnTo>
                  <a:lnTo>
                    <a:pt x="7754" y="1263"/>
                  </a:lnTo>
                  <a:lnTo>
                    <a:pt x="7742" y="1239"/>
                  </a:lnTo>
                  <a:lnTo>
                    <a:pt x="7732" y="1212"/>
                  </a:lnTo>
                  <a:lnTo>
                    <a:pt x="7722" y="1186"/>
                  </a:lnTo>
                  <a:lnTo>
                    <a:pt x="7713" y="1158"/>
                  </a:lnTo>
                  <a:lnTo>
                    <a:pt x="7705" y="1129"/>
                  </a:lnTo>
                  <a:lnTo>
                    <a:pt x="7699" y="1100"/>
                  </a:lnTo>
                  <a:lnTo>
                    <a:pt x="7694" y="1069"/>
                  </a:lnTo>
                  <a:lnTo>
                    <a:pt x="7690" y="1037"/>
                  </a:lnTo>
                  <a:lnTo>
                    <a:pt x="7687" y="1005"/>
                  </a:lnTo>
                  <a:lnTo>
                    <a:pt x="7686" y="972"/>
                  </a:lnTo>
                  <a:lnTo>
                    <a:pt x="7685" y="937"/>
                  </a:lnTo>
                  <a:close/>
                  <a:moveTo>
                    <a:pt x="11388" y="479"/>
                  </a:moveTo>
                  <a:lnTo>
                    <a:pt x="11371" y="449"/>
                  </a:lnTo>
                  <a:lnTo>
                    <a:pt x="11352" y="422"/>
                  </a:lnTo>
                  <a:lnTo>
                    <a:pt x="11333" y="394"/>
                  </a:lnTo>
                  <a:lnTo>
                    <a:pt x="11313" y="368"/>
                  </a:lnTo>
                  <a:lnTo>
                    <a:pt x="11293" y="342"/>
                  </a:lnTo>
                  <a:lnTo>
                    <a:pt x="11271" y="318"/>
                  </a:lnTo>
                  <a:lnTo>
                    <a:pt x="11250" y="294"/>
                  </a:lnTo>
                  <a:lnTo>
                    <a:pt x="11227" y="272"/>
                  </a:lnTo>
                  <a:lnTo>
                    <a:pt x="11204" y="249"/>
                  </a:lnTo>
                  <a:lnTo>
                    <a:pt x="11180" y="229"/>
                  </a:lnTo>
                  <a:lnTo>
                    <a:pt x="11156" y="208"/>
                  </a:lnTo>
                  <a:lnTo>
                    <a:pt x="11130" y="189"/>
                  </a:lnTo>
                  <a:lnTo>
                    <a:pt x="11105" y="172"/>
                  </a:lnTo>
                  <a:lnTo>
                    <a:pt x="11077" y="154"/>
                  </a:lnTo>
                  <a:lnTo>
                    <a:pt x="11051" y="137"/>
                  </a:lnTo>
                  <a:lnTo>
                    <a:pt x="11022" y="122"/>
                  </a:lnTo>
                  <a:lnTo>
                    <a:pt x="10993" y="107"/>
                  </a:lnTo>
                  <a:lnTo>
                    <a:pt x="10964" y="93"/>
                  </a:lnTo>
                  <a:lnTo>
                    <a:pt x="10934" y="81"/>
                  </a:lnTo>
                  <a:lnTo>
                    <a:pt x="10903" y="69"/>
                  </a:lnTo>
                  <a:lnTo>
                    <a:pt x="10872" y="58"/>
                  </a:lnTo>
                  <a:lnTo>
                    <a:pt x="10840" y="48"/>
                  </a:lnTo>
                  <a:lnTo>
                    <a:pt x="10807" y="39"/>
                  </a:lnTo>
                  <a:lnTo>
                    <a:pt x="10774" y="31"/>
                  </a:lnTo>
                  <a:lnTo>
                    <a:pt x="10740" y="24"/>
                  </a:lnTo>
                  <a:lnTo>
                    <a:pt x="10705" y="18"/>
                  </a:lnTo>
                  <a:lnTo>
                    <a:pt x="10669" y="12"/>
                  </a:lnTo>
                  <a:lnTo>
                    <a:pt x="10633" y="8"/>
                  </a:lnTo>
                  <a:lnTo>
                    <a:pt x="10597" y="4"/>
                  </a:lnTo>
                  <a:lnTo>
                    <a:pt x="10559" y="2"/>
                  </a:lnTo>
                  <a:lnTo>
                    <a:pt x="10521" y="1"/>
                  </a:lnTo>
                  <a:lnTo>
                    <a:pt x="10482" y="0"/>
                  </a:lnTo>
                  <a:lnTo>
                    <a:pt x="10429" y="1"/>
                  </a:lnTo>
                  <a:lnTo>
                    <a:pt x="10378" y="4"/>
                  </a:lnTo>
                  <a:lnTo>
                    <a:pt x="10327" y="9"/>
                  </a:lnTo>
                  <a:lnTo>
                    <a:pt x="10277" y="17"/>
                  </a:lnTo>
                  <a:lnTo>
                    <a:pt x="10229" y="26"/>
                  </a:lnTo>
                  <a:lnTo>
                    <a:pt x="10181" y="37"/>
                  </a:lnTo>
                  <a:lnTo>
                    <a:pt x="10133" y="50"/>
                  </a:lnTo>
                  <a:lnTo>
                    <a:pt x="10087" y="66"/>
                  </a:lnTo>
                  <a:lnTo>
                    <a:pt x="10043" y="82"/>
                  </a:lnTo>
                  <a:lnTo>
                    <a:pt x="10001" y="101"/>
                  </a:lnTo>
                  <a:lnTo>
                    <a:pt x="9959" y="122"/>
                  </a:lnTo>
                  <a:lnTo>
                    <a:pt x="9918" y="144"/>
                  </a:lnTo>
                  <a:lnTo>
                    <a:pt x="9879" y="169"/>
                  </a:lnTo>
                  <a:lnTo>
                    <a:pt x="9841" y="195"/>
                  </a:lnTo>
                  <a:lnTo>
                    <a:pt x="9805" y="223"/>
                  </a:lnTo>
                  <a:lnTo>
                    <a:pt x="9771" y="252"/>
                  </a:lnTo>
                  <a:lnTo>
                    <a:pt x="9738" y="283"/>
                  </a:lnTo>
                  <a:lnTo>
                    <a:pt x="9706" y="316"/>
                  </a:lnTo>
                  <a:lnTo>
                    <a:pt x="9677" y="350"/>
                  </a:lnTo>
                  <a:lnTo>
                    <a:pt x="9650" y="387"/>
                  </a:lnTo>
                  <a:lnTo>
                    <a:pt x="9623" y="425"/>
                  </a:lnTo>
                  <a:lnTo>
                    <a:pt x="9600" y="464"/>
                  </a:lnTo>
                  <a:lnTo>
                    <a:pt x="9578" y="505"/>
                  </a:lnTo>
                  <a:lnTo>
                    <a:pt x="9559" y="547"/>
                  </a:lnTo>
                  <a:lnTo>
                    <a:pt x="9540" y="591"/>
                  </a:lnTo>
                  <a:lnTo>
                    <a:pt x="9525" y="636"/>
                  </a:lnTo>
                  <a:lnTo>
                    <a:pt x="9512" y="683"/>
                  </a:lnTo>
                  <a:lnTo>
                    <a:pt x="9502" y="731"/>
                  </a:lnTo>
                  <a:lnTo>
                    <a:pt x="9492" y="781"/>
                  </a:lnTo>
                  <a:lnTo>
                    <a:pt x="9486" y="832"/>
                  </a:lnTo>
                  <a:lnTo>
                    <a:pt x="9483" y="884"/>
                  </a:lnTo>
                  <a:lnTo>
                    <a:pt x="9481" y="937"/>
                  </a:lnTo>
                  <a:lnTo>
                    <a:pt x="9482" y="992"/>
                  </a:lnTo>
                  <a:lnTo>
                    <a:pt x="9486" y="1044"/>
                  </a:lnTo>
                  <a:lnTo>
                    <a:pt x="9492" y="1095"/>
                  </a:lnTo>
                  <a:lnTo>
                    <a:pt x="9501" y="1144"/>
                  </a:lnTo>
                  <a:lnTo>
                    <a:pt x="9512" y="1193"/>
                  </a:lnTo>
                  <a:lnTo>
                    <a:pt x="9525" y="1240"/>
                  </a:lnTo>
                  <a:lnTo>
                    <a:pt x="9539" y="1285"/>
                  </a:lnTo>
                  <a:lnTo>
                    <a:pt x="9557" y="1328"/>
                  </a:lnTo>
                  <a:lnTo>
                    <a:pt x="9576" y="1370"/>
                  </a:lnTo>
                  <a:lnTo>
                    <a:pt x="9598" y="1411"/>
                  </a:lnTo>
                  <a:lnTo>
                    <a:pt x="9621" y="1451"/>
                  </a:lnTo>
                  <a:lnTo>
                    <a:pt x="9647" y="1489"/>
                  </a:lnTo>
                  <a:lnTo>
                    <a:pt x="9674" y="1524"/>
                  </a:lnTo>
                  <a:lnTo>
                    <a:pt x="9703" y="1559"/>
                  </a:lnTo>
                  <a:lnTo>
                    <a:pt x="9734" y="1592"/>
                  </a:lnTo>
                  <a:lnTo>
                    <a:pt x="9766" y="1624"/>
                  </a:lnTo>
                  <a:lnTo>
                    <a:pt x="9801" y="1653"/>
                  </a:lnTo>
                  <a:lnTo>
                    <a:pt x="9837" y="1681"/>
                  </a:lnTo>
                  <a:lnTo>
                    <a:pt x="9875" y="1707"/>
                  </a:lnTo>
                  <a:lnTo>
                    <a:pt x="9914" y="1731"/>
                  </a:lnTo>
                  <a:lnTo>
                    <a:pt x="9954" y="1753"/>
                  </a:lnTo>
                  <a:lnTo>
                    <a:pt x="9995" y="1775"/>
                  </a:lnTo>
                  <a:lnTo>
                    <a:pt x="10039" y="1793"/>
                  </a:lnTo>
                  <a:lnTo>
                    <a:pt x="10083" y="1810"/>
                  </a:lnTo>
                  <a:lnTo>
                    <a:pt x="10129" y="1826"/>
                  </a:lnTo>
                  <a:lnTo>
                    <a:pt x="10176" y="1838"/>
                  </a:lnTo>
                  <a:lnTo>
                    <a:pt x="10224" y="1849"/>
                  </a:lnTo>
                  <a:lnTo>
                    <a:pt x="10275" y="1858"/>
                  </a:lnTo>
                  <a:lnTo>
                    <a:pt x="10325" y="1865"/>
                  </a:lnTo>
                  <a:lnTo>
                    <a:pt x="10376" y="1871"/>
                  </a:lnTo>
                  <a:lnTo>
                    <a:pt x="10428" y="1875"/>
                  </a:lnTo>
                  <a:lnTo>
                    <a:pt x="10482" y="1876"/>
                  </a:lnTo>
                  <a:lnTo>
                    <a:pt x="10521" y="1875"/>
                  </a:lnTo>
                  <a:lnTo>
                    <a:pt x="10559" y="1874"/>
                  </a:lnTo>
                  <a:lnTo>
                    <a:pt x="10597" y="1871"/>
                  </a:lnTo>
                  <a:lnTo>
                    <a:pt x="10633" y="1868"/>
                  </a:lnTo>
                  <a:lnTo>
                    <a:pt x="10669" y="1863"/>
                  </a:lnTo>
                  <a:lnTo>
                    <a:pt x="10705" y="1858"/>
                  </a:lnTo>
                  <a:lnTo>
                    <a:pt x="10740" y="1852"/>
                  </a:lnTo>
                  <a:lnTo>
                    <a:pt x="10774" y="1845"/>
                  </a:lnTo>
                  <a:lnTo>
                    <a:pt x="10807" y="1837"/>
                  </a:lnTo>
                  <a:lnTo>
                    <a:pt x="10840" y="1828"/>
                  </a:lnTo>
                  <a:lnTo>
                    <a:pt x="10872" y="1817"/>
                  </a:lnTo>
                  <a:lnTo>
                    <a:pt x="10903" y="1806"/>
                  </a:lnTo>
                  <a:lnTo>
                    <a:pt x="10934" y="1795"/>
                  </a:lnTo>
                  <a:lnTo>
                    <a:pt x="10964" y="1782"/>
                  </a:lnTo>
                  <a:lnTo>
                    <a:pt x="10993" y="1768"/>
                  </a:lnTo>
                  <a:lnTo>
                    <a:pt x="11022" y="1753"/>
                  </a:lnTo>
                  <a:lnTo>
                    <a:pt x="11051" y="1738"/>
                  </a:lnTo>
                  <a:lnTo>
                    <a:pt x="11077" y="1722"/>
                  </a:lnTo>
                  <a:lnTo>
                    <a:pt x="11105" y="1704"/>
                  </a:lnTo>
                  <a:lnTo>
                    <a:pt x="11130" y="1686"/>
                  </a:lnTo>
                  <a:lnTo>
                    <a:pt x="11156" y="1666"/>
                  </a:lnTo>
                  <a:lnTo>
                    <a:pt x="11180" y="1647"/>
                  </a:lnTo>
                  <a:lnTo>
                    <a:pt x="11204" y="1626"/>
                  </a:lnTo>
                  <a:lnTo>
                    <a:pt x="11227" y="1604"/>
                  </a:lnTo>
                  <a:lnTo>
                    <a:pt x="11250" y="1581"/>
                  </a:lnTo>
                  <a:lnTo>
                    <a:pt x="11271" y="1557"/>
                  </a:lnTo>
                  <a:lnTo>
                    <a:pt x="11293" y="1533"/>
                  </a:lnTo>
                  <a:lnTo>
                    <a:pt x="11313" y="1507"/>
                  </a:lnTo>
                  <a:lnTo>
                    <a:pt x="11333" y="1481"/>
                  </a:lnTo>
                  <a:lnTo>
                    <a:pt x="11352" y="1454"/>
                  </a:lnTo>
                  <a:lnTo>
                    <a:pt x="11371" y="1425"/>
                  </a:lnTo>
                  <a:lnTo>
                    <a:pt x="11388" y="1397"/>
                  </a:lnTo>
                  <a:lnTo>
                    <a:pt x="11074" y="1216"/>
                  </a:lnTo>
                  <a:lnTo>
                    <a:pt x="11061" y="1234"/>
                  </a:lnTo>
                  <a:lnTo>
                    <a:pt x="11048" y="1251"/>
                  </a:lnTo>
                  <a:lnTo>
                    <a:pt x="11034" y="1268"/>
                  </a:lnTo>
                  <a:lnTo>
                    <a:pt x="11021" y="1285"/>
                  </a:lnTo>
                  <a:lnTo>
                    <a:pt x="11007" y="1300"/>
                  </a:lnTo>
                  <a:lnTo>
                    <a:pt x="10992" y="1315"/>
                  </a:lnTo>
                  <a:lnTo>
                    <a:pt x="10978" y="1330"/>
                  </a:lnTo>
                  <a:lnTo>
                    <a:pt x="10963" y="1345"/>
                  </a:lnTo>
                  <a:lnTo>
                    <a:pt x="10948" y="1358"/>
                  </a:lnTo>
                  <a:lnTo>
                    <a:pt x="10932" y="1371"/>
                  </a:lnTo>
                  <a:lnTo>
                    <a:pt x="10917" y="1384"/>
                  </a:lnTo>
                  <a:lnTo>
                    <a:pt x="10900" y="1396"/>
                  </a:lnTo>
                  <a:lnTo>
                    <a:pt x="10883" y="1408"/>
                  </a:lnTo>
                  <a:lnTo>
                    <a:pt x="10866" y="1418"/>
                  </a:lnTo>
                  <a:lnTo>
                    <a:pt x="10848" y="1429"/>
                  </a:lnTo>
                  <a:lnTo>
                    <a:pt x="10831" y="1439"/>
                  </a:lnTo>
                  <a:lnTo>
                    <a:pt x="10812" y="1448"/>
                  </a:lnTo>
                  <a:lnTo>
                    <a:pt x="10793" y="1457"/>
                  </a:lnTo>
                  <a:lnTo>
                    <a:pt x="10774" y="1465"/>
                  </a:lnTo>
                  <a:lnTo>
                    <a:pt x="10754" y="1472"/>
                  </a:lnTo>
                  <a:lnTo>
                    <a:pt x="10734" y="1480"/>
                  </a:lnTo>
                  <a:lnTo>
                    <a:pt x="10713" y="1486"/>
                  </a:lnTo>
                  <a:lnTo>
                    <a:pt x="10692" y="1492"/>
                  </a:lnTo>
                  <a:lnTo>
                    <a:pt x="10670" y="1497"/>
                  </a:lnTo>
                  <a:lnTo>
                    <a:pt x="10648" y="1501"/>
                  </a:lnTo>
                  <a:lnTo>
                    <a:pt x="10624" y="1505"/>
                  </a:lnTo>
                  <a:lnTo>
                    <a:pt x="10601" y="1508"/>
                  </a:lnTo>
                  <a:lnTo>
                    <a:pt x="10577" y="1511"/>
                  </a:lnTo>
                  <a:lnTo>
                    <a:pt x="10553" y="1513"/>
                  </a:lnTo>
                  <a:lnTo>
                    <a:pt x="10527" y="1515"/>
                  </a:lnTo>
                  <a:lnTo>
                    <a:pt x="10502" y="1516"/>
                  </a:lnTo>
                  <a:lnTo>
                    <a:pt x="10475" y="1516"/>
                  </a:lnTo>
                  <a:lnTo>
                    <a:pt x="10442" y="1515"/>
                  </a:lnTo>
                  <a:lnTo>
                    <a:pt x="10411" y="1513"/>
                  </a:lnTo>
                  <a:lnTo>
                    <a:pt x="10380" y="1510"/>
                  </a:lnTo>
                  <a:lnTo>
                    <a:pt x="10349" y="1506"/>
                  </a:lnTo>
                  <a:lnTo>
                    <a:pt x="10320" y="1500"/>
                  </a:lnTo>
                  <a:lnTo>
                    <a:pt x="10291" y="1493"/>
                  </a:lnTo>
                  <a:lnTo>
                    <a:pt x="10262" y="1485"/>
                  </a:lnTo>
                  <a:lnTo>
                    <a:pt x="10235" y="1474"/>
                  </a:lnTo>
                  <a:lnTo>
                    <a:pt x="10208" y="1464"/>
                  </a:lnTo>
                  <a:lnTo>
                    <a:pt x="10183" y="1452"/>
                  </a:lnTo>
                  <a:lnTo>
                    <a:pt x="10158" y="1439"/>
                  </a:lnTo>
                  <a:lnTo>
                    <a:pt x="10134" y="1424"/>
                  </a:lnTo>
                  <a:lnTo>
                    <a:pt x="10111" y="1409"/>
                  </a:lnTo>
                  <a:lnTo>
                    <a:pt x="10090" y="1393"/>
                  </a:lnTo>
                  <a:lnTo>
                    <a:pt x="10068" y="1375"/>
                  </a:lnTo>
                  <a:lnTo>
                    <a:pt x="10048" y="1357"/>
                  </a:lnTo>
                  <a:lnTo>
                    <a:pt x="10029" y="1338"/>
                  </a:lnTo>
                  <a:lnTo>
                    <a:pt x="10011" y="1317"/>
                  </a:lnTo>
                  <a:lnTo>
                    <a:pt x="9994" y="1295"/>
                  </a:lnTo>
                  <a:lnTo>
                    <a:pt x="9978" y="1273"/>
                  </a:lnTo>
                  <a:lnTo>
                    <a:pt x="9964" y="1250"/>
                  </a:lnTo>
                  <a:lnTo>
                    <a:pt x="9949" y="1225"/>
                  </a:lnTo>
                  <a:lnTo>
                    <a:pt x="9937" y="1200"/>
                  </a:lnTo>
                  <a:lnTo>
                    <a:pt x="9926" y="1174"/>
                  </a:lnTo>
                  <a:lnTo>
                    <a:pt x="9917" y="1148"/>
                  </a:lnTo>
                  <a:lnTo>
                    <a:pt x="9908" y="1119"/>
                  </a:lnTo>
                  <a:lnTo>
                    <a:pt x="9900" y="1092"/>
                  </a:lnTo>
                  <a:lnTo>
                    <a:pt x="9894" y="1062"/>
                  </a:lnTo>
                  <a:lnTo>
                    <a:pt x="9889" y="1032"/>
                  </a:lnTo>
                  <a:lnTo>
                    <a:pt x="9886" y="1002"/>
                  </a:lnTo>
                  <a:lnTo>
                    <a:pt x="9884" y="970"/>
                  </a:lnTo>
                  <a:lnTo>
                    <a:pt x="9883" y="937"/>
                  </a:lnTo>
                  <a:lnTo>
                    <a:pt x="9884" y="905"/>
                  </a:lnTo>
                  <a:lnTo>
                    <a:pt x="9886" y="873"/>
                  </a:lnTo>
                  <a:lnTo>
                    <a:pt x="9889" y="842"/>
                  </a:lnTo>
                  <a:lnTo>
                    <a:pt x="9893" y="812"/>
                  </a:lnTo>
                  <a:lnTo>
                    <a:pt x="9899" y="782"/>
                  </a:lnTo>
                  <a:lnTo>
                    <a:pt x="9906" y="754"/>
                  </a:lnTo>
                  <a:lnTo>
                    <a:pt x="9916" y="726"/>
                  </a:lnTo>
                  <a:lnTo>
                    <a:pt x="9925" y="699"/>
                  </a:lnTo>
                  <a:lnTo>
                    <a:pt x="9936" y="673"/>
                  </a:lnTo>
                  <a:lnTo>
                    <a:pt x="9947" y="647"/>
                  </a:lnTo>
                  <a:lnTo>
                    <a:pt x="9961" y="623"/>
                  </a:lnTo>
                  <a:lnTo>
                    <a:pt x="9976" y="599"/>
                  </a:lnTo>
                  <a:lnTo>
                    <a:pt x="9991" y="577"/>
                  </a:lnTo>
                  <a:lnTo>
                    <a:pt x="10008" y="556"/>
                  </a:lnTo>
                  <a:lnTo>
                    <a:pt x="10025" y="535"/>
                  </a:lnTo>
                  <a:lnTo>
                    <a:pt x="10045" y="516"/>
                  </a:lnTo>
                  <a:lnTo>
                    <a:pt x="10064" y="498"/>
                  </a:lnTo>
                  <a:lnTo>
                    <a:pt x="10085" y="481"/>
                  </a:lnTo>
                  <a:lnTo>
                    <a:pt x="10107" y="465"/>
                  </a:lnTo>
                  <a:lnTo>
                    <a:pt x="10129" y="449"/>
                  </a:lnTo>
                  <a:lnTo>
                    <a:pt x="10154" y="435"/>
                  </a:lnTo>
                  <a:lnTo>
                    <a:pt x="10178" y="422"/>
                  </a:lnTo>
                  <a:lnTo>
                    <a:pt x="10204" y="411"/>
                  </a:lnTo>
                  <a:lnTo>
                    <a:pt x="10231" y="400"/>
                  </a:lnTo>
                  <a:lnTo>
                    <a:pt x="10258" y="390"/>
                  </a:lnTo>
                  <a:lnTo>
                    <a:pt x="10287" y="382"/>
                  </a:lnTo>
                  <a:lnTo>
                    <a:pt x="10316" y="375"/>
                  </a:lnTo>
                  <a:lnTo>
                    <a:pt x="10346" y="370"/>
                  </a:lnTo>
                  <a:lnTo>
                    <a:pt x="10378" y="365"/>
                  </a:lnTo>
                  <a:lnTo>
                    <a:pt x="10410" y="362"/>
                  </a:lnTo>
                  <a:lnTo>
                    <a:pt x="10442" y="360"/>
                  </a:lnTo>
                  <a:lnTo>
                    <a:pt x="10475" y="360"/>
                  </a:lnTo>
                  <a:lnTo>
                    <a:pt x="10502" y="360"/>
                  </a:lnTo>
                  <a:lnTo>
                    <a:pt x="10527" y="361"/>
                  </a:lnTo>
                  <a:lnTo>
                    <a:pt x="10553" y="362"/>
                  </a:lnTo>
                  <a:lnTo>
                    <a:pt x="10577" y="364"/>
                  </a:lnTo>
                  <a:lnTo>
                    <a:pt x="10601" y="367"/>
                  </a:lnTo>
                  <a:lnTo>
                    <a:pt x="10624" y="370"/>
                  </a:lnTo>
                  <a:lnTo>
                    <a:pt x="10648" y="374"/>
                  </a:lnTo>
                  <a:lnTo>
                    <a:pt x="10670" y="379"/>
                  </a:lnTo>
                  <a:lnTo>
                    <a:pt x="10692" y="384"/>
                  </a:lnTo>
                  <a:lnTo>
                    <a:pt x="10713" y="390"/>
                  </a:lnTo>
                  <a:lnTo>
                    <a:pt x="10734" y="396"/>
                  </a:lnTo>
                  <a:lnTo>
                    <a:pt x="10754" y="403"/>
                  </a:lnTo>
                  <a:lnTo>
                    <a:pt x="10774" y="411"/>
                  </a:lnTo>
                  <a:lnTo>
                    <a:pt x="10793" y="419"/>
                  </a:lnTo>
                  <a:lnTo>
                    <a:pt x="10812" y="427"/>
                  </a:lnTo>
                  <a:lnTo>
                    <a:pt x="10831" y="437"/>
                  </a:lnTo>
                  <a:lnTo>
                    <a:pt x="10848" y="446"/>
                  </a:lnTo>
                  <a:lnTo>
                    <a:pt x="10866" y="457"/>
                  </a:lnTo>
                  <a:lnTo>
                    <a:pt x="10883" y="468"/>
                  </a:lnTo>
                  <a:lnTo>
                    <a:pt x="10900" y="479"/>
                  </a:lnTo>
                  <a:lnTo>
                    <a:pt x="10917" y="491"/>
                  </a:lnTo>
                  <a:lnTo>
                    <a:pt x="10932" y="505"/>
                  </a:lnTo>
                  <a:lnTo>
                    <a:pt x="10948" y="517"/>
                  </a:lnTo>
                  <a:lnTo>
                    <a:pt x="10963" y="531"/>
                  </a:lnTo>
                  <a:lnTo>
                    <a:pt x="10978" y="545"/>
                  </a:lnTo>
                  <a:lnTo>
                    <a:pt x="10992" y="560"/>
                  </a:lnTo>
                  <a:lnTo>
                    <a:pt x="11007" y="575"/>
                  </a:lnTo>
                  <a:lnTo>
                    <a:pt x="11021" y="591"/>
                  </a:lnTo>
                  <a:lnTo>
                    <a:pt x="11034" y="608"/>
                  </a:lnTo>
                  <a:lnTo>
                    <a:pt x="11048" y="624"/>
                  </a:lnTo>
                  <a:lnTo>
                    <a:pt x="11061" y="641"/>
                  </a:lnTo>
                  <a:lnTo>
                    <a:pt x="11074" y="660"/>
                  </a:lnTo>
                  <a:lnTo>
                    <a:pt x="11388" y="479"/>
                  </a:lnTo>
                  <a:close/>
                </a:path>
              </a:pathLst>
            </a:custGeom>
            <a:solidFill>
              <a:srgbClr val="59595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3" name="Freeform 6"/>
            <p:cNvSpPr>
              <a:spLocks noEditPoints="1"/>
            </p:cNvSpPr>
            <p:nvPr userDrawn="1"/>
          </p:nvSpPr>
          <p:spPr bwMode="auto">
            <a:xfrm>
              <a:off x="450850" y="6383338"/>
              <a:ext cx="296863" cy="288925"/>
            </a:xfrm>
            <a:custGeom>
              <a:avLst/>
              <a:gdLst>
                <a:gd name="T0" fmla="*/ 1863 w 3551"/>
                <a:gd name="T1" fmla="*/ 1342 h 3458"/>
                <a:gd name="T2" fmla="*/ 1837 w 3551"/>
                <a:gd name="T3" fmla="*/ 1357 h 3458"/>
                <a:gd name="T4" fmla="*/ 1805 w 3551"/>
                <a:gd name="T5" fmla="*/ 1355 h 3458"/>
                <a:gd name="T6" fmla="*/ 1110 w 3551"/>
                <a:gd name="T7" fmla="*/ 1073 h 3458"/>
                <a:gd name="T8" fmla="*/ 1077 w 3551"/>
                <a:gd name="T9" fmla="*/ 1014 h 3458"/>
                <a:gd name="T10" fmla="*/ 1211 w 3551"/>
                <a:gd name="T11" fmla="*/ 142 h 3458"/>
                <a:gd name="T12" fmla="*/ 1237 w 3551"/>
                <a:gd name="T13" fmla="*/ 78 h 3458"/>
                <a:gd name="T14" fmla="*/ 1293 w 3551"/>
                <a:gd name="T15" fmla="*/ 37 h 3458"/>
                <a:gd name="T16" fmla="*/ 2037 w 3551"/>
                <a:gd name="T17" fmla="*/ 0 h 3458"/>
                <a:gd name="T18" fmla="*/ 2066 w 3551"/>
                <a:gd name="T19" fmla="*/ 11 h 3458"/>
                <a:gd name="T20" fmla="*/ 2083 w 3551"/>
                <a:gd name="T21" fmla="*/ 37 h 3458"/>
                <a:gd name="T22" fmla="*/ 1407 w 3551"/>
                <a:gd name="T23" fmla="*/ 1560 h 3458"/>
                <a:gd name="T24" fmla="*/ 1424 w 3551"/>
                <a:gd name="T25" fmla="*/ 1585 h 3458"/>
                <a:gd name="T26" fmla="*/ 1421 w 3551"/>
                <a:gd name="T27" fmla="*/ 1616 h 3458"/>
                <a:gd name="T28" fmla="*/ 963 w 3551"/>
                <a:gd name="T29" fmla="*/ 2181 h 3458"/>
                <a:gd name="T30" fmla="*/ 898 w 3551"/>
                <a:gd name="T31" fmla="*/ 2217 h 3458"/>
                <a:gd name="T32" fmla="*/ 830 w 3551"/>
                <a:gd name="T33" fmla="*/ 2210 h 3458"/>
                <a:gd name="T34" fmla="*/ 45 w 3551"/>
                <a:gd name="T35" fmla="*/ 1803 h 3458"/>
                <a:gd name="T36" fmla="*/ 6 w 3551"/>
                <a:gd name="T37" fmla="*/ 1748 h 3458"/>
                <a:gd name="T38" fmla="*/ 4 w 3551"/>
                <a:gd name="T39" fmla="*/ 1670 h 3458"/>
                <a:gd name="T40" fmla="*/ 201 w 3551"/>
                <a:gd name="T41" fmla="*/ 980 h 3458"/>
                <a:gd name="T42" fmla="*/ 227 w 3551"/>
                <a:gd name="T43" fmla="*/ 963 h 3458"/>
                <a:gd name="T44" fmla="*/ 257 w 3551"/>
                <a:gd name="T45" fmla="*/ 967 h 3458"/>
                <a:gd name="T46" fmla="*/ 1499 w 3551"/>
                <a:gd name="T47" fmla="*/ 2063 h 3458"/>
                <a:gd name="T48" fmla="*/ 1530 w 3551"/>
                <a:gd name="T49" fmla="*/ 2065 h 3458"/>
                <a:gd name="T50" fmla="*/ 1554 w 3551"/>
                <a:gd name="T51" fmla="*/ 2086 h 3458"/>
                <a:gd name="T52" fmla="*/ 1951 w 3551"/>
                <a:gd name="T53" fmla="*/ 2722 h 3458"/>
                <a:gd name="T54" fmla="*/ 1944 w 3551"/>
                <a:gd name="T55" fmla="*/ 2790 h 3458"/>
                <a:gd name="T56" fmla="*/ 1322 w 3551"/>
                <a:gd name="T57" fmla="*/ 3416 h 3458"/>
                <a:gd name="T58" fmla="*/ 1263 w 3551"/>
                <a:gd name="T59" fmla="*/ 3453 h 3458"/>
                <a:gd name="T60" fmla="*/ 1193 w 3551"/>
                <a:gd name="T61" fmla="*/ 3453 h 3458"/>
                <a:gd name="T62" fmla="*/ 571 w 3551"/>
                <a:gd name="T63" fmla="*/ 3048 h 3458"/>
                <a:gd name="T64" fmla="*/ 552 w 3551"/>
                <a:gd name="T65" fmla="*/ 3021 h 3458"/>
                <a:gd name="T66" fmla="*/ 554 w 3551"/>
                <a:gd name="T67" fmla="*/ 2990 h 3458"/>
                <a:gd name="T68" fmla="*/ 1998 w 3551"/>
                <a:gd name="T69" fmla="*/ 2153 h 3458"/>
                <a:gd name="T70" fmla="*/ 1999 w 3551"/>
                <a:gd name="T71" fmla="*/ 2123 h 3458"/>
                <a:gd name="T72" fmla="*/ 2019 w 3551"/>
                <a:gd name="T73" fmla="*/ 2099 h 3458"/>
                <a:gd name="T74" fmla="*/ 2722 w 3551"/>
                <a:gd name="T75" fmla="*/ 1907 h 3458"/>
                <a:gd name="T76" fmla="*/ 2795 w 3551"/>
                <a:gd name="T77" fmla="*/ 1917 h 3458"/>
                <a:gd name="T78" fmla="*/ 2847 w 3551"/>
                <a:gd name="T79" fmla="*/ 1961 h 3458"/>
                <a:gd name="T80" fmla="*/ 3246 w 3551"/>
                <a:gd name="T81" fmla="*/ 2750 h 3458"/>
                <a:gd name="T82" fmla="*/ 3244 w 3551"/>
                <a:gd name="T83" fmla="*/ 2818 h 3458"/>
                <a:gd name="T84" fmla="*/ 3201 w 3551"/>
                <a:gd name="T85" fmla="*/ 2882 h 3458"/>
                <a:gd name="T86" fmla="*/ 2638 w 3551"/>
                <a:gd name="T87" fmla="*/ 3327 h 3458"/>
                <a:gd name="T88" fmla="*/ 2607 w 3551"/>
                <a:gd name="T89" fmla="*/ 3326 h 3458"/>
                <a:gd name="T90" fmla="*/ 2584 w 3551"/>
                <a:gd name="T91" fmla="*/ 3306 h 3458"/>
                <a:gd name="T92" fmla="*/ 2218 w 3551"/>
                <a:gd name="T93" fmla="*/ 1693 h 3458"/>
                <a:gd name="T94" fmla="*/ 2195 w 3551"/>
                <a:gd name="T95" fmla="*/ 1673 h 3458"/>
                <a:gd name="T96" fmla="*/ 2188 w 3551"/>
                <a:gd name="T97" fmla="*/ 1642 h 3458"/>
                <a:gd name="T98" fmla="*/ 2241 w 3551"/>
                <a:gd name="T99" fmla="*/ 895 h 3458"/>
                <a:gd name="T100" fmla="*/ 2287 w 3551"/>
                <a:gd name="T101" fmla="*/ 844 h 3458"/>
                <a:gd name="T102" fmla="*/ 3158 w 3551"/>
                <a:gd name="T103" fmla="*/ 702 h 3458"/>
                <a:gd name="T104" fmla="*/ 3228 w 3551"/>
                <a:gd name="T105" fmla="*/ 709 h 3458"/>
                <a:gd name="T106" fmla="*/ 3285 w 3551"/>
                <a:gd name="T107" fmla="*/ 749 h 3458"/>
                <a:gd name="T108" fmla="*/ 3549 w 3551"/>
                <a:gd name="T109" fmla="*/ 1444 h 3458"/>
                <a:gd name="T110" fmla="*/ 3548 w 3551"/>
                <a:gd name="T111" fmla="*/ 1475 h 3458"/>
                <a:gd name="T112" fmla="*/ 3528 w 3551"/>
                <a:gd name="T113" fmla="*/ 1499 h 3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51" h="3458">
                  <a:moveTo>
                    <a:pt x="2083" y="52"/>
                  </a:moveTo>
                  <a:lnTo>
                    <a:pt x="1871" y="1322"/>
                  </a:lnTo>
                  <a:lnTo>
                    <a:pt x="1870" y="1327"/>
                  </a:lnTo>
                  <a:lnTo>
                    <a:pt x="1868" y="1332"/>
                  </a:lnTo>
                  <a:lnTo>
                    <a:pt x="1866" y="1337"/>
                  </a:lnTo>
                  <a:lnTo>
                    <a:pt x="1863" y="1342"/>
                  </a:lnTo>
                  <a:lnTo>
                    <a:pt x="1859" y="1346"/>
                  </a:lnTo>
                  <a:lnTo>
                    <a:pt x="1856" y="1349"/>
                  </a:lnTo>
                  <a:lnTo>
                    <a:pt x="1852" y="1352"/>
                  </a:lnTo>
                  <a:lnTo>
                    <a:pt x="1847" y="1354"/>
                  </a:lnTo>
                  <a:lnTo>
                    <a:pt x="1842" y="1356"/>
                  </a:lnTo>
                  <a:lnTo>
                    <a:pt x="1837" y="1357"/>
                  </a:lnTo>
                  <a:lnTo>
                    <a:pt x="1832" y="1358"/>
                  </a:lnTo>
                  <a:lnTo>
                    <a:pt x="1827" y="1359"/>
                  </a:lnTo>
                  <a:lnTo>
                    <a:pt x="1821" y="1358"/>
                  </a:lnTo>
                  <a:lnTo>
                    <a:pt x="1816" y="1358"/>
                  </a:lnTo>
                  <a:lnTo>
                    <a:pt x="1811" y="1357"/>
                  </a:lnTo>
                  <a:lnTo>
                    <a:pt x="1805" y="1355"/>
                  </a:lnTo>
                  <a:lnTo>
                    <a:pt x="1170" y="1110"/>
                  </a:lnTo>
                  <a:lnTo>
                    <a:pt x="1155" y="1104"/>
                  </a:lnTo>
                  <a:lnTo>
                    <a:pt x="1142" y="1097"/>
                  </a:lnTo>
                  <a:lnTo>
                    <a:pt x="1131" y="1089"/>
                  </a:lnTo>
                  <a:lnTo>
                    <a:pt x="1120" y="1081"/>
                  </a:lnTo>
                  <a:lnTo>
                    <a:pt x="1110" y="1073"/>
                  </a:lnTo>
                  <a:lnTo>
                    <a:pt x="1102" y="1064"/>
                  </a:lnTo>
                  <a:lnTo>
                    <a:pt x="1095" y="1055"/>
                  </a:lnTo>
                  <a:lnTo>
                    <a:pt x="1089" y="1045"/>
                  </a:lnTo>
                  <a:lnTo>
                    <a:pt x="1084" y="1035"/>
                  </a:lnTo>
                  <a:lnTo>
                    <a:pt x="1080" y="1024"/>
                  </a:lnTo>
                  <a:lnTo>
                    <a:pt x="1077" y="1014"/>
                  </a:lnTo>
                  <a:lnTo>
                    <a:pt x="1074" y="1003"/>
                  </a:lnTo>
                  <a:lnTo>
                    <a:pt x="1073" y="990"/>
                  </a:lnTo>
                  <a:lnTo>
                    <a:pt x="1073" y="979"/>
                  </a:lnTo>
                  <a:lnTo>
                    <a:pt x="1074" y="967"/>
                  </a:lnTo>
                  <a:lnTo>
                    <a:pt x="1075" y="955"/>
                  </a:lnTo>
                  <a:lnTo>
                    <a:pt x="1211" y="142"/>
                  </a:lnTo>
                  <a:lnTo>
                    <a:pt x="1213" y="131"/>
                  </a:lnTo>
                  <a:lnTo>
                    <a:pt x="1216" y="118"/>
                  </a:lnTo>
                  <a:lnTo>
                    <a:pt x="1220" y="107"/>
                  </a:lnTo>
                  <a:lnTo>
                    <a:pt x="1225" y="97"/>
                  </a:lnTo>
                  <a:lnTo>
                    <a:pt x="1231" y="87"/>
                  </a:lnTo>
                  <a:lnTo>
                    <a:pt x="1237" y="78"/>
                  </a:lnTo>
                  <a:lnTo>
                    <a:pt x="1244" y="69"/>
                  </a:lnTo>
                  <a:lnTo>
                    <a:pt x="1252" y="61"/>
                  </a:lnTo>
                  <a:lnTo>
                    <a:pt x="1262" y="54"/>
                  </a:lnTo>
                  <a:lnTo>
                    <a:pt x="1272" y="47"/>
                  </a:lnTo>
                  <a:lnTo>
                    <a:pt x="1282" y="42"/>
                  </a:lnTo>
                  <a:lnTo>
                    <a:pt x="1293" y="37"/>
                  </a:lnTo>
                  <a:lnTo>
                    <a:pt x="1307" y="33"/>
                  </a:lnTo>
                  <a:lnTo>
                    <a:pt x="1320" y="30"/>
                  </a:lnTo>
                  <a:lnTo>
                    <a:pt x="1334" y="28"/>
                  </a:lnTo>
                  <a:lnTo>
                    <a:pt x="1350" y="27"/>
                  </a:lnTo>
                  <a:lnTo>
                    <a:pt x="2031" y="0"/>
                  </a:lnTo>
                  <a:lnTo>
                    <a:pt x="2037" y="0"/>
                  </a:lnTo>
                  <a:lnTo>
                    <a:pt x="2042" y="1"/>
                  </a:lnTo>
                  <a:lnTo>
                    <a:pt x="2047" y="2"/>
                  </a:lnTo>
                  <a:lnTo>
                    <a:pt x="2053" y="3"/>
                  </a:lnTo>
                  <a:lnTo>
                    <a:pt x="2057" y="5"/>
                  </a:lnTo>
                  <a:lnTo>
                    <a:pt x="2062" y="8"/>
                  </a:lnTo>
                  <a:lnTo>
                    <a:pt x="2066" y="11"/>
                  </a:lnTo>
                  <a:lnTo>
                    <a:pt x="2070" y="14"/>
                  </a:lnTo>
                  <a:lnTo>
                    <a:pt x="2074" y="18"/>
                  </a:lnTo>
                  <a:lnTo>
                    <a:pt x="2077" y="22"/>
                  </a:lnTo>
                  <a:lnTo>
                    <a:pt x="2079" y="27"/>
                  </a:lnTo>
                  <a:lnTo>
                    <a:pt x="2081" y="32"/>
                  </a:lnTo>
                  <a:lnTo>
                    <a:pt x="2083" y="37"/>
                  </a:lnTo>
                  <a:lnTo>
                    <a:pt x="2083" y="42"/>
                  </a:lnTo>
                  <a:lnTo>
                    <a:pt x="2084" y="47"/>
                  </a:lnTo>
                  <a:lnTo>
                    <a:pt x="2083" y="52"/>
                  </a:lnTo>
                  <a:close/>
                  <a:moveTo>
                    <a:pt x="257" y="967"/>
                  </a:moveTo>
                  <a:lnTo>
                    <a:pt x="1402" y="1557"/>
                  </a:lnTo>
                  <a:lnTo>
                    <a:pt x="1407" y="1560"/>
                  </a:lnTo>
                  <a:lnTo>
                    <a:pt x="1411" y="1563"/>
                  </a:lnTo>
                  <a:lnTo>
                    <a:pt x="1415" y="1567"/>
                  </a:lnTo>
                  <a:lnTo>
                    <a:pt x="1418" y="1571"/>
                  </a:lnTo>
                  <a:lnTo>
                    <a:pt x="1420" y="1575"/>
                  </a:lnTo>
                  <a:lnTo>
                    <a:pt x="1422" y="1580"/>
                  </a:lnTo>
                  <a:lnTo>
                    <a:pt x="1424" y="1585"/>
                  </a:lnTo>
                  <a:lnTo>
                    <a:pt x="1425" y="1590"/>
                  </a:lnTo>
                  <a:lnTo>
                    <a:pt x="1425" y="1595"/>
                  </a:lnTo>
                  <a:lnTo>
                    <a:pt x="1425" y="1600"/>
                  </a:lnTo>
                  <a:lnTo>
                    <a:pt x="1424" y="1606"/>
                  </a:lnTo>
                  <a:lnTo>
                    <a:pt x="1423" y="1611"/>
                  </a:lnTo>
                  <a:lnTo>
                    <a:pt x="1421" y="1616"/>
                  </a:lnTo>
                  <a:lnTo>
                    <a:pt x="1419" y="1620"/>
                  </a:lnTo>
                  <a:lnTo>
                    <a:pt x="1416" y="1625"/>
                  </a:lnTo>
                  <a:lnTo>
                    <a:pt x="1413" y="1630"/>
                  </a:lnTo>
                  <a:lnTo>
                    <a:pt x="984" y="2159"/>
                  </a:lnTo>
                  <a:lnTo>
                    <a:pt x="974" y="2171"/>
                  </a:lnTo>
                  <a:lnTo>
                    <a:pt x="963" y="2181"/>
                  </a:lnTo>
                  <a:lnTo>
                    <a:pt x="953" y="2190"/>
                  </a:lnTo>
                  <a:lnTo>
                    <a:pt x="943" y="2197"/>
                  </a:lnTo>
                  <a:lnTo>
                    <a:pt x="931" y="2204"/>
                  </a:lnTo>
                  <a:lnTo>
                    <a:pt x="920" y="2209"/>
                  </a:lnTo>
                  <a:lnTo>
                    <a:pt x="909" y="2213"/>
                  </a:lnTo>
                  <a:lnTo>
                    <a:pt x="898" y="2217"/>
                  </a:lnTo>
                  <a:lnTo>
                    <a:pt x="886" y="2218"/>
                  </a:lnTo>
                  <a:lnTo>
                    <a:pt x="875" y="2219"/>
                  </a:lnTo>
                  <a:lnTo>
                    <a:pt x="864" y="2218"/>
                  </a:lnTo>
                  <a:lnTo>
                    <a:pt x="853" y="2217"/>
                  </a:lnTo>
                  <a:lnTo>
                    <a:pt x="841" y="2214"/>
                  </a:lnTo>
                  <a:lnTo>
                    <a:pt x="830" y="2210"/>
                  </a:lnTo>
                  <a:lnTo>
                    <a:pt x="819" y="2206"/>
                  </a:lnTo>
                  <a:lnTo>
                    <a:pt x="808" y="2201"/>
                  </a:lnTo>
                  <a:lnTo>
                    <a:pt x="75" y="1823"/>
                  </a:lnTo>
                  <a:lnTo>
                    <a:pt x="64" y="1817"/>
                  </a:lnTo>
                  <a:lnTo>
                    <a:pt x="54" y="1810"/>
                  </a:lnTo>
                  <a:lnTo>
                    <a:pt x="45" y="1803"/>
                  </a:lnTo>
                  <a:lnTo>
                    <a:pt x="37" y="1796"/>
                  </a:lnTo>
                  <a:lnTo>
                    <a:pt x="29" y="1787"/>
                  </a:lnTo>
                  <a:lnTo>
                    <a:pt x="21" y="1779"/>
                  </a:lnTo>
                  <a:lnTo>
                    <a:pt x="15" y="1768"/>
                  </a:lnTo>
                  <a:lnTo>
                    <a:pt x="10" y="1758"/>
                  </a:lnTo>
                  <a:lnTo>
                    <a:pt x="6" y="1748"/>
                  </a:lnTo>
                  <a:lnTo>
                    <a:pt x="3" y="1736"/>
                  </a:lnTo>
                  <a:lnTo>
                    <a:pt x="1" y="1724"/>
                  </a:lnTo>
                  <a:lnTo>
                    <a:pt x="0" y="1711"/>
                  </a:lnTo>
                  <a:lnTo>
                    <a:pt x="0" y="1698"/>
                  </a:lnTo>
                  <a:lnTo>
                    <a:pt x="1" y="1685"/>
                  </a:lnTo>
                  <a:lnTo>
                    <a:pt x="4" y="1670"/>
                  </a:lnTo>
                  <a:lnTo>
                    <a:pt x="7" y="1655"/>
                  </a:lnTo>
                  <a:lnTo>
                    <a:pt x="191" y="1000"/>
                  </a:lnTo>
                  <a:lnTo>
                    <a:pt x="193" y="994"/>
                  </a:lnTo>
                  <a:lnTo>
                    <a:pt x="195" y="989"/>
                  </a:lnTo>
                  <a:lnTo>
                    <a:pt x="198" y="984"/>
                  </a:lnTo>
                  <a:lnTo>
                    <a:pt x="201" y="980"/>
                  </a:lnTo>
                  <a:lnTo>
                    <a:pt x="204" y="976"/>
                  </a:lnTo>
                  <a:lnTo>
                    <a:pt x="209" y="973"/>
                  </a:lnTo>
                  <a:lnTo>
                    <a:pt x="213" y="969"/>
                  </a:lnTo>
                  <a:lnTo>
                    <a:pt x="217" y="967"/>
                  </a:lnTo>
                  <a:lnTo>
                    <a:pt x="222" y="965"/>
                  </a:lnTo>
                  <a:lnTo>
                    <a:pt x="227" y="963"/>
                  </a:lnTo>
                  <a:lnTo>
                    <a:pt x="231" y="962"/>
                  </a:lnTo>
                  <a:lnTo>
                    <a:pt x="236" y="962"/>
                  </a:lnTo>
                  <a:lnTo>
                    <a:pt x="241" y="962"/>
                  </a:lnTo>
                  <a:lnTo>
                    <a:pt x="246" y="963"/>
                  </a:lnTo>
                  <a:lnTo>
                    <a:pt x="252" y="964"/>
                  </a:lnTo>
                  <a:lnTo>
                    <a:pt x="257" y="967"/>
                  </a:lnTo>
                  <a:close/>
                  <a:moveTo>
                    <a:pt x="563" y="2978"/>
                  </a:moveTo>
                  <a:lnTo>
                    <a:pt x="1482" y="2075"/>
                  </a:lnTo>
                  <a:lnTo>
                    <a:pt x="1486" y="2071"/>
                  </a:lnTo>
                  <a:lnTo>
                    <a:pt x="1490" y="2067"/>
                  </a:lnTo>
                  <a:lnTo>
                    <a:pt x="1495" y="2065"/>
                  </a:lnTo>
                  <a:lnTo>
                    <a:pt x="1499" y="2063"/>
                  </a:lnTo>
                  <a:lnTo>
                    <a:pt x="1504" y="2062"/>
                  </a:lnTo>
                  <a:lnTo>
                    <a:pt x="1509" y="2061"/>
                  </a:lnTo>
                  <a:lnTo>
                    <a:pt x="1514" y="2062"/>
                  </a:lnTo>
                  <a:lnTo>
                    <a:pt x="1519" y="2062"/>
                  </a:lnTo>
                  <a:lnTo>
                    <a:pt x="1524" y="2063"/>
                  </a:lnTo>
                  <a:lnTo>
                    <a:pt x="1530" y="2065"/>
                  </a:lnTo>
                  <a:lnTo>
                    <a:pt x="1534" y="2067"/>
                  </a:lnTo>
                  <a:lnTo>
                    <a:pt x="1539" y="2071"/>
                  </a:lnTo>
                  <a:lnTo>
                    <a:pt x="1543" y="2074"/>
                  </a:lnTo>
                  <a:lnTo>
                    <a:pt x="1547" y="2078"/>
                  </a:lnTo>
                  <a:lnTo>
                    <a:pt x="1551" y="2082"/>
                  </a:lnTo>
                  <a:lnTo>
                    <a:pt x="1554" y="2086"/>
                  </a:lnTo>
                  <a:lnTo>
                    <a:pt x="1924" y="2658"/>
                  </a:lnTo>
                  <a:lnTo>
                    <a:pt x="1932" y="2671"/>
                  </a:lnTo>
                  <a:lnTo>
                    <a:pt x="1939" y="2684"/>
                  </a:lnTo>
                  <a:lnTo>
                    <a:pt x="1944" y="2696"/>
                  </a:lnTo>
                  <a:lnTo>
                    <a:pt x="1948" y="2710"/>
                  </a:lnTo>
                  <a:lnTo>
                    <a:pt x="1951" y="2722"/>
                  </a:lnTo>
                  <a:lnTo>
                    <a:pt x="1952" y="2734"/>
                  </a:lnTo>
                  <a:lnTo>
                    <a:pt x="1953" y="2745"/>
                  </a:lnTo>
                  <a:lnTo>
                    <a:pt x="1952" y="2757"/>
                  </a:lnTo>
                  <a:lnTo>
                    <a:pt x="1950" y="2769"/>
                  </a:lnTo>
                  <a:lnTo>
                    <a:pt x="1947" y="2779"/>
                  </a:lnTo>
                  <a:lnTo>
                    <a:pt x="1944" y="2790"/>
                  </a:lnTo>
                  <a:lnTo>
                    <a:pt x="1939" y="2801"/>
                  </a:lnTo>
                  <a:lnTo>
                    <a:pt x="1932" y="2811"/>
                  </a:lnTo>
                  <a:lnTo>
                    <a:pt x="1925" y="2820"/>
                  </a:lnTo>
                  <a:lnTo>
                    <a:pt x="1918" y="2829"/>
                  </a:lnTo>
                  <a:lnTo>
                    <a:pt x="1910" y="2838"/>
                  </a:lnTo>
                  <a:lnTo>
                    <a:pt x="1322" y="3416"/>
                  </a:lnTo>
                  <a:lnTo>
                    <a:pt x="1314" y="3424"/>
                  </a:lnTo>
                  <a:lnTo>
                    <a:pt x="1304" y="3432"/>
                  </a:lnTo>
                  <a:lnTo>
                    <a:pt x="1294" y="3439"/>
                  </a:lnTo>
                  <a:lnTo>
                    <a:pt x="1284" y="3445"/>
                  </a:lnTo>
                  <a:lnTo>
                    <a:pt x="1274" y="3449"/>
                  </a:lnTo>
                  <a:lnTo>
                    <a:pt x="1263" y="3453"/>
                  </a:lnTo>
                  <a:lnTo>
                    <a:pt x="1251" y="3456"/>
                  </a:lnTo>
                  <a:lnTo>
                    <a:pt x="1240" y="3457"/>
                  </a:lnTo>
                  <a:lnTo>
                    <a:pt x="1229" y="3458"/>
                  </a:lnTo>
                  <a:lnTo>
                    <a:pt x="1218" y="3457"/>
                  </a:lnTo>
                  <a:lnTo>
                    <a:pt x="1205" y="3456"/>
                  </a:lnTo>
                  <a:lnTo>
                    <a:pt x="1193" y="3453"/>
                  </a:lnTo>
                  <a:lnTo>
                    <a:pt x="1180" y="3449"/>
                  </a:lnTo>
                  <a:lnTo>
                    <a:pt x="1168" y="3444"/>
                  </a:lnTo>
                  <a:lnTo>
                    <a:pt x="1154" y="3437"/>
                  </a:lnTo>
                  <a:lnTo>
                    <a:pt x="1142" y="3428"/>
                  </a:lnTo>
                  <a:lnTo>
                    <a:pt x="575" y="3051"/>
                  </a:lnTo>
                  <a:lnTo>
                    <a:pt x="571" y="3048"/>
                  </a:lnTo>
                  <a:lnTo>
                    <a:pt x="566" y="3043"/>
                  </a:lnTo>
                  <a:lnTo>
                    <a:pt x="562" y="3039"/>
                  </a:lnTo>
                  <a:lnTo>
                    <a:pt x="559" y="3035"/>
                  </a:lnTo>
                  <a:lnTo>
                    <a:pt x="556" y="3030"/>
                  </a:lnTo>
                  <a:lnTo>
                    <a:pt x="554" y="3026"/>
                  </a:lnTo>
                  <a:lnTo>
                    <a:pt x="552" y="3021"/>
                  </a:lnTo>
                  <a:lnTo>
                    <a:pt x="551" y="3016"/>
                  </a:lnTo>
                  <a:lnTo>
                    <a:pt x="551" y="3011"/>
                  </a:lnTo>
                  <a:lnTo>
                    <a:pt x="551" y="3006"/>
                  </a:lnTo>
                  <a:lnTo>
                    <a:pt x="551" y="3001"/>
                  </a:lnTo>
                  <a:lnTo>
                    <a:pt x="552" y="2996"/>
                  </a:lnTo>
                  <a:lnTo>
                    <a:pt x="554" y="2990"/>
                  </a:lnTo>
                  <a:lnTo>
                    <a:pt x="556" y="2986"/>
                  </a:lnTo>
                  <a:lnTo>
                    <a:pt x="559" y="2982"/>
                  </a:lnTo>
                  <a:lnTo>
                    <a:pt x="563" y="2978"/>
                  </a:lnTo>
                  <a:close/>
                  <a:moveTo>
                    <a:pt x="2584" y="3306"/>
                  </a:moveTo>
                  <a:lnTo>
                    <a:pt x="2001" y="2158"/>
                  </a:lnTo>
                  <a:lnTo>
                    <a:pt x="1998" y="2153"/>
                  </a:lnTo>
                  <a:lnTo>
                    <a:pt x="1997" y="2148"/>
                  </a:lnTo>
                  <a:lnTo>
                    <a:pt x="1996" y="2143"/>
                  </a:lnTo>
                  <a:lnTo>
                    <a:pt x="1996" y="2137"/>
                  </a:lnTo>
                  <a:lnTo>
                    <a:pt x="1997" y="2133"/>
                  </a:lnTo>
                  <a:lnTo>
                    <a:pt x="1998" y="2128"/>
                  </a:lnTo>
                  <a:lnTo>
                    <a:pt x="1999" y="2123"/>
                  </a:lnTo>
                  <a:lnTo>
                    <a:pt x="2001" y="2118"/>
                  </a:lnTo>
                  <a:lnTo>
                    <a:pt x="2004" y="2113"/>
                  </a:lnTo>
                  <a:lnTo>
                    <a:pt x="2007" y="2109"/>
                  </a:lnTo>
                  <a:lnTo>
                    <a:pt x="2011" y="2106"/>
                  </a:lnTo>
                  <a:lnTo>
                    <a:pt x="2014" y="2102"/>
                  </a:lnTo>
                  <a:lnTo>
                    <a:pt x="2019" y="2099"/>
                  </a:lnTo>
                  <a:lnTo>
                    <a:pt x="2023" y="2096"/>
                  </a:lnTo>
                  <a:lnTo>
                    <a:pt x="2029" y="2094"/>
                  </a:lnTo>
                  <a:lnTo>
                    <a:pt x="2035" y="2093"/>
                  </a:lnTo>
                  <a:lnTo>
                    <a:pt x="2692" y="1913"/>
                  </a:lnTo>
                  <a:lnTo>
                    <a:pt x="2707" y="1910"/>
                  </a:lnTo>
                  <a:lnTo>
                    <a:pt x="2722" y="1907"/>
                  </a:lnTo>
                  <a:lnTo>
                    <a:pt x="2735" y="1906"/>
                  </a:lnTo>
                  <a:lnTo>
                    <a:pt x="2748" y="1906"/>
                  </a:lnTo>
                  <a:lnTo>
                    <a:pt x="2761" y="1908"/>
                  </a:lnTo>
                  <a:lnTo>
                    <a:pt x="2773" y="1910"/>
                  </a:lnTo>
                  <a:lnTo>
                    <a:pt x="2784" y="1913"/>
                  </a:lnTo>
                  <a:lnTo>
                    <a:pt x="2795" y="1917"/>
                  </a:lnTo>
                  <a:lnTo>
                    <a:pt x="2806" y="1922"/>
                  </a:lnTo>
                  <a:lnTo>
                    <a:pt x="2815" y="1929"/>
                  </a:lnTo>
                  <a:lnTo>
                    <a:pt x="2824" y="1936"/>
                  </a:lnTo>
                  <a:lnTo>
                    <a:pt x="2832" y="1944"/>
                  </a:lnTo>
                  <a:lnTo>
                    <a:pt x="2840" y="1952"/>
                  </a:lnTo>
                  <a:lnTo>
                    <a:pt x="2847" y="1961"/>
                  </a:lnTo>
                  <a:lnTo>
                    <a:pt x="2854" y="1971"/>
                  </a:lnTo>
                  <a:lnTo>
                    <a:pt x="2860" y="1982"/>
                  </a:lnTo>
                  <a:lnTo>
                    <a:pt x="3233" y="2717"/>
                  </a:lnTo>
                  <a:lnTo>
                    <a:pt x="3238" y="2728"/>
                  </a:lnTo>
                  <a:lnTo>
                    <a:pt x="3242" y="2738"/>
                  </a:lnTo>
                  <a:lnTo>
                    <a:pt x="3246" y="2750"/>
                  </a:lnTo>
                  <a:lnTo>
                    <a:pt x="3248" y="2762"/>
                  </a:lnTo>
                  <a:lnTo>
                    <a:pt x="3249" y="2773"/>
                  </a:lnTo>
                  <a:lnTo>
                    <a:pt x="3250" y="2784"/>
                  </a:lnTo>
                  <a:lnTo>
                    <a:pt x="3249" y="2795"/>
                  </a:lnTo>
                  <a:lnTo>
                    <a:pt x="3247" y="2807"/>
                  </a:lnTo>
                  <a:lnTo>
                    <a:pt x="3244" y="2818"/>
                  </a:lnTo>
                  <a:lnTo>
                    <a:pt x="3240" y="2829"/>
                  </a:lnTo>
                  <a:lnTo>
                    <a:pt x="3235" y="2840"/>
                  </a:lnTo>
                  <a:lnTo>
                    <a:pt x="3229" y="2851"/>
                  </a:lnTo>
                  <a:lnTo>
                    <a:pt x="3221" y="2862"/>
                  </a:lnTo>
                  <a:lnTo>
                    <a:pt x="3211" y="2872"/>
                  </a:lnTo>
                  <a:lnTo>
                    <a:pt x="3201" y="2882"/>
                  </a:lnTo>
                  <a:lnTo>
                    <a:pt x="3190" y="2892"/>
                  </a:lnTo>
                  <a:lnTo>
                    <a:pt x="2657" y="3317"/>
                  </a:lnTo>
                  <a:lnTo>
                    <a:pt x="2652" y="3320"/>
                  </a:lnTo>
                  <a:lnTo>
                    <a:pt x="2647" y="3323"/>
                  </a:lnTo>
                  <a:lnTo>
                    <a:pt x="2643" y="3325"/>
                  </a:lnTo>
                  <a:lnTo>
                    <a:pt x="2638" y="3327"/>
                  </a:lnTo>
                  <a:lnTo>
                    <a:pt x="2633" y="3328"/>
                  </a:lnTo>
                  <a:lnTo>
                    <a:pt x="2627" y="3329"/>
                  </a:lnTo>
                  <a:lnTo>
                    <a:pt x="2622" y="3329"/>
                  </a:lnTo>
                  <a:lnTo>
                    <a:pt x="2616" y="3328"/>
                  </a:lnTo>
                  <a:lnTo>
                    <a:pt x="2612" y="3327"/>
                  </a:lnTo>
                  <a:lnTo>
                    <a:pt x="2607" y="3326"/>
                  </a:lnTo>
                  <a:lnTo>
                    <a:pt x="2602" y="3324"/>
                  </a:lnTo>
                  <a:lnTo>
                    <a:pt x="2598" y="3321"/>
                  </a:lnTo>
                  <a:lnTo>
                    <a:pt x="2594" y="3318"/>
                  </a:lnTo>
                  <a:lnTo>
                    <a:pt x="2590" y="3315"/>
                  </a:lnTo>
                  <a:lnTo>
                    <a:pt x="2587" y="3310"/>
                  </a:lnTo>
                  <a:lnTo>
                    <a:pt x="2584" y="3306"/>
                  </a:lnTo>
                  <a:close/>
                  <a:moveTo>
                    <a:pt x="3513" y="1504"/>
                  </a:moveTo>
                  <a:lnTo>
                    <a:pt x="2239" y="1695"/>
                  </a:lnTo>
                  <a:lnTo>
                    <a:pt x="2234" y="1695"/>
                  </a:lnTo>
                  <a:lnTo>
                    <a:pt x="2228" y="1695"/>
                  </a:lnTo>
                  <a:lnTo>
                    <a:pt x="2223" y="1694"/>
                  </a:lnTo>
                  <a:lnTo>
                    <a:pt x="2218" y="1693"/>
                  </a:lnTo>
                  <a:lnTo>
                    <a:pt x="2214" y="1691"/>
                  </a:lnTo>
                  <a:lnTo>
                    <a:pt x="2209" y="1688"/>
                  </a:lnTo>
                  <a:lnTo>
                    <a:pt x="2205" y="1685"/>
                  </a:lnTo>
                  <a:lnTo>
                    <a:pt x="2201" y="1682"/>
                  </a:lnTo>
                  <a:lnTo>
                    <a:pt x="2198" y="1677"/>
                  </a:lnTo>
                  <a:lnTo>
                    <a:pt x="2195" y="1673"/>
                  </a:lnTo>
                  <a:lnTo>
                    <a:pt x="2193" y="1668"/>
                  </a:lnTo>
                  <a:lnTo>
                    <a:pt x="2191" y="1664"/>
                  </a:lnTo>
                  <a:lnTo>
                    <a:pt x="2189" y="1659"/>
                  </a:lnTo>
                  <a:lnTo>
                    <a:pt x="2188" y="1653"/>
                  </a:lnTo>
                  <a:lnTo>
                    <a:pt x="2188" y="1648"/>
                  </a:lnTo>
                  <a:lnTo>
                    <a:pt x="2188" y="1642"/>
                  </a:lnTo>
                  <a:lnTo>
                    <a:pt x="2225" y="963"/>
                  </a:lnTo>
                  <a:lnTo>
                    <a:pt x="2226" y="947"/>
                  </a:lnTo>
                  <a:lnTo>
                    <a:pt x="2229" y="933"/>
                  </a:lnTo>
                  <a:lnTo>
                    <a:pt x="2232" y="919"/>
                  </a:lnTo>
                  <a:lnTo>
                    <a:pt x="2236" y="907"/>
                  </a:lnTo>
                  <a:lnTo>
                    <a:pt x="2241" y="895"/>
                  </a:lnTo>
                  <a:lnTo>
                    <a:pt x="2247" y="884"/>
                  </a:lnTo>
                  <a:lnTo>
                    <a:pt x="2253" y="875"/>
                  </a:lnTo>
                  <a:lnTo>
                    <a:pt x="2262" y="866"/>
                  </a:lnTo>
                  <a:lnTo>
                    <a:pt x="2269" y="858"/>
                  </a:lnTo>
                  <a:lnTo>
                    <a:pt x="2278" y="850"/>
                  </a:lnTo>
                  <a:lnTo>
                    <a:pt x="2287" y="844"/>
                  </a:lnTo>
                  <a:lnTo>
                    <a:pt x="2297" y="839"/>
                  </a:lnTo>
                  <a:lnTo>
                    <a:pt x="2309" y="834"/>
                  </a:lnTo>
                  <a:lnTo>
                    <a:pt x="2319" y="830"/>
                  </a:lnTo>
                  <a:lnTo>
                    <a:pt x="2331" y="827"/>
                  </a:lnTo>
                  <a:lnTo>
                    <a:pt x="2343" y="825"/>
                  </a:lnTo>
                  <a:lnTo>
                    <a:pt x="3158" y="702"/>
                  </a:lnTo>
                  <a:lnTo>
                    <a:pt x="3171" y="701"/>
                  </a:lnTo>
                  <a:lnTo>
                    <a:pt x="3183" y="701"/>
                  </a:lnTo>
                  <a:lnTo>
                    <a:pt x="3194" y="701"/>
                  </a:lnTo>
                  <a:lnTo>
                    <a:pt x="3206" y="702"/>
                  </a:lnTo>
                  <a:lnTo>
                    <a:pt x="3218" y="704"/>
                  </a:lnTo>
                  <a:lnTo>
                    <a:pt x="3228" y="709"/>
                  </a:lnTo>
                  <a:lnTo>
                    <a:pt x="3239" y="713"/>
                  </a:lnTo>
                  <a:lnTo>
                    <a:pt x="3249" y="718"/>
                  </a:lnTo>
                  <a:lnTo>
                    <a:pt x="3259" y="724"/>
                  </a:lnTo>
                  <a:lnTo>
                    <a:pt x="3268" y="731"/>
                  </a:lnTo>
                  <a:lnTo>
                    <a:pt x="3277" y="740"/>
                  </a:lnTo>
                  <a:lnTo>
                    <a:pt x="3285" y="749"/>
                  </a:lnTo>
                  <a:lnTo>
                    <a:pt x="3292" y="761"/>
                  </a:lnTo>
                  <a:lnTo>
                    <a:pt x="3299" y="772"/>
                  </a:lnTo>
                  <a:lnTo>
                    <a:pt x="3307" y="785"/>
                  </a:lnTo>
                  <a:lnTo>
                    <a:pt x="3312" y="799"/>
                  </a:lnTo>
                  <a:lnTo>
                    <a:pt x="3548" y="1439"/>
                  </a:lnTo>
                  <a:lnTo>
                    <a:pt x="3549" y="1444"/>
                  </a:lnTo>
                  <a:lnTo>
                    <a:pt x="3550" y="1449"/>
                  </a:lnTo>
                  <a:lnTo>
                    <a:pt x="3551" y="1455"/>
                  </a:lnTo>
                  <a:lnTo>
                    <a:pt x="3551" y="1460"/>
                  </a:lnTo>
                  <a:lnTo>
                    <a:pt x="3550" y="1465"/>
                  </a:lnTo>
                  <a:lnTo>
                    <a:pt x="3549" y="1470"/>
                  </a:lnTo>
                  <a:lnTo>
                    <a:pt x="3548" y="1475"/>
                  </a:lnTo>
                  <a:lnTo>
                    <a:pt x="3546" y="1480"/>
                  </a:lnTo>
                  <a:lnTo>
                    <a:pt x="3544" y="1484"/>
                  </a:lnTo>
                  <a:lnTo>
                    <a:pt x="3541" y="1489"/>
                  </a:lnTo>
                  <a:lnTo>
                    <a:pt x="3537" y="1493"/>
                  </a:lnTo>
                  <a:lnTo>
                    <a:pt x="3534" y="1496"/>
                  </a:lnTo>
                  <a:lnTo>
                    <a:pt x="3528" y="1499"/>
                  </a:lnTo>
                  <a:lnTo>
                    <a:pt x="3524" y="1501"/>
                  </a:lnTo>
                  <a:lnTo>
                    <a:pt x="3519" y="1503"/>
                  </a:lnTo>
                  <a:lnTo>
                    <a:pt x="3513" y="1504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71683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  <p:sldLayoutId id="2147483696" r:id="rId17"/>
    <p:sldLayoutId id="2147483697" r:id="rId18"/>
    <p:sldLayoutId id="2147483698" r:id="rId19"/>
    <p:sldLayoutId id="2147483699" r:id="rId20"/>
    <p:sldLayoutId id="2147483700" r:id="rId21"/>
    <p:sldLayoutId id="2147483701" r:id="rId22"/>
    <p:sldLayoutId id="2147483702" r:id="rId23"/>
    <p:sldLayoutId id="2147483703" r:id="rId24"/>
    <p:sldLayoutId id="2147483704" r:id="rId25"/>
    <p:sldLayoutId id="2147483705" r:id="rId26"/>
    <p:sldLayoutId id="2147483706" r:id="rId27"/>
    <p:sldLayoutId id="2147483707" r:id="rId28"/>
    <p:sldLayoutId id="2147483708" r:id="rId29"/>
    <p:sldLayoutId id="2147483709" r:id="rId3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3"/>
          <p:cNvSpPr>
            <a:spLocks noChangeAspect="1" noChangeArrowheads="1" noTextEdit="1"/>
          </p:cNvSpPr>
          <p:nvPr/>
        </p:nvSpPr>
        <p:spPr bwMode="auto">
          <a:xfrm>
            <a:off x="493604" y="6381929"/>
            <a:ext cx="148246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AutoShape 3"/>
          <p:cNvSpPr>
            <a:spLocks noChangeAspect="1" noChangeArrowheads="1" noTextEdit="1"/>
          </p:cNvSpPr>
          <p:nvPr/>
        </p:nvSpPr>
        <p:spPr bwMode="auto">
          <a:xfrm>
            <a:off x="488422" y="6383517"/>
            <a:ext cx="1480741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0" name="Группа 9"/>
          <p:cNvGrpSpPr/>
          <p:nvPr/>
        </p:nvGrpSpPr>
        <p:grpSpPr>
          <a:xfrm>
            <a:off x="488422" y="6383517"/>
            <a:ext cx="1480741" cy="288925"/>
            <a:chOff x="450850" y="6383338"/>
            <a:chExt cx="1366838" cy="288925"/>
          </a:xfrm>
        </p:grpSpPr>
        <p:sp>
          <p:nvSpPr>
            <p:cNvPr id="6" name="Freeform 5"/>
            <p:cNvSpPr>
              <a:spLocks noEditPoints="1"/>
            </p:cNvSpPr>
            <p:nvPr/>
          </p:nvSpPr>
          <p:spPr bwMode="auto">
            <a:xfrm>
              <a:off x="866775" y="6448426"/>
              <a:ext cx="950913" cy="157163"/>
            </a:xfrm>
            <a:custGeom>
              <a:avLst/>
              <a:gdLst>
                <a:gd name="T0" fmla="*/ 2478 w 11388"/>
                <a:gd name="T1" fmla="*/ 807 h 1876"/>
                <a:gd name="T2" fmla="*/ 2682 w 11388"/>
                <a:gd name="T3" fmla="*/ 468 h 1876"/>
                <a:gd name="T4" fmla="*/ 3065 w 11388"/>
                <a:gd name="T5" fmla="*/ 346 h 1876"/>
                <a:gd name="T6" fmla="*/ 3449 w 11388"/>
                <a:gd name="T7" fmla="*/ 468 h 1876"/>
                <a:gd name="T8" fmla="*/ 3652 w 11388"/>
                <a:gd name="T9" fmla="*/ 807 h 1876"/>
                <a:gd name="T10" fmla="*/ 3594 w 11388"/>
                <a:gd name="T11" fmla="*/ 1239 h 1876"/>
                <a:gd name="T12" fmla="*/ 3302 w 11388"/>
                <a:gd name="T13" fmla="*/ 1489 h 1876"/>
                <a:gd name="T14" fmla="*/ 2885 w 11388"/>
                <a:gd name="T15" fmla="*/ 1506 h 1876"/>
                <a:gd name="T16" fmla="*/ 2567 w 11388"/>
                <a:gd name="T17" fmla="*/ 1287 h 1876"/>
                <a:gd name="T18" fmla="*/ 4068 w 11388"/>
                <a:gd name="T19" fmla="*/ 885 h 1876"/>
                <a:gd name="T20" fmla="*/ 3805 w 11388"/>
                <a:gd name="T21" fmla="*/ 290 h 1876"/>
                <a:gd name="T22" fmla="*/ 3217 w 11388"/>
                <a:gd name="T23" fmla="*/ 10 h 1876"/>
                <a:gd name="T24" fmla="*/ 2550 w 11388"/>
                <a:gd name="T25" fmla="*/ 126 h 1876"/>
                <a:gd name="T26" fmla="*/ 2125 w 11388"/>
                <a:gd name="T27" fmla="*/ 597 h 1876"/>
                <a:gd name="T28" fmla="*/ 2125 w 11388"/>
                <a:gd name="T29" fmla="*/ 1278 h 1876"/>
                <a:gd name="T30" fmla="*/ 2550 w 11388"/>
                <a:gd name="T31" fmla="*/ 1750 h 1876"/>
                <a:gd name="T32" fmla="*/ 3217 w 11388"/>
                <a:gd name="T33" fmla="*/ 1865 h 1876"/>
                <a:gd name="T34" fmla="*/ 3805 w 11388"/>
                <a:gd name="T35" fmla="*/ 1586 h 1876"/>
                <a:gd name="T36" fmla="*/ 4068 w 11388"/>
                <a:gd name="T37" fmla="*/ 989 h 1876"/>
                <a:gd name="T38" fmla="*/ 4468 w 11388"/>
                <a:gd name="T39" fmla="*/ 1449 h 1876"/>
                <a:gd name="T40" fmla="*/ 4564 w 11388"/>
                <a:gd name="T41" fmla="*/ 1815 h 1876"/>
                <a:gd name="T42" fmla="*/ 4837 w 11388"/>
                <a:gd name="T43" fmla="*/ 1657 h 1876"/>
                <a:gd name="T44" fmla="*/ 5827 w 11388"/>
                <a:gd name="T45" fmla="*/ 404 h 1876"/>
                <a:gd name="T46" fmla="*/ 7343 w 11388"/>
                <a:gd name="T47" fmla="*/ 1298 h 1876"/>
                <a:gd name="T48" fmla="*/ 7714 w 11388"/>
                <a:gd name="T49" fmla="*/ 1737 h 1876"/>
                <a:gd name="T50" fmla="*/ 8311 w 11388"/>
                <a:gd name="T51" fmla="*/ 1875 h 1876"/>
                <a:gd name="T52" fmla="*/ 8919 w 11388"/>
                <a:gd name="T53" fmla="*/ 1660 h 1876"/>
                <a:gd name="T54" fmla="*/ 9228 w 11388"/>
                <a:gd name="T55" fmla="*/ 1099 h 1876"/>
                <a:gd name="T56" fmla="*/ 9098 w 11388"/>
                <a:gd name="T57" fmla="*/ 416 h 1876"/>
                <a:gd name="T58" fmla="*/ 8598 w 11388"/>
                <a:gd name="T59" fmla="*/ 48 h 1876"/>
                <a:gd name="T60" fmla="*/ 7967 w 11388"/>
                <a:gd name="T61" fmla="*/ 36 h 1876"/>
                <a:gd name="T62" fmla="*/ 7500 w 11388"/>
                <a:gd name="T63" fmla="*/ 315 h 1876"/>
                <a:gd name="T64" fmla="*/ 6620 w 11388"/>
                <a:gd name="T65" fmla="*/ 42 h 1876"/>
                <a:gd name="T66" fmla="*/ 7782 w 11388"/>
                <a:gd name="T67" fmla="*/ 566 h 1876"/>
                <a:gd name="T68" fmla="*/ 8097 w 11388"/>
                <a:gd name="T69" fmla="*/ 363 h 1876"/>
                <a:gd name="T70" fmla="*/ 8537 w 11388"/>
                <a:gd name="T71" fmla="*/ 397 h 1876"/>
                <a:gd name="T72" fmla="*/ 8791 w 11388"/>
                <a:gd name="T73" fmla="*/ 663 h 1876"/>
                <a:gd name="T74" fmla="*/ 8823 w 11388"/>
                <a:gd name="T75" fmla="*/ 1100 h 1876"/>
                <a:gd name="T76" fmla="*/ 8632 w 11388"/>
                <a:gd name="T77" fmla="*/ 1424 h 1876"/>
                <a:gd name="T78" fmla="*/ 8227 w 11388"/>
                <a:gd name="T79" fmla="*/ 1529 h 1876"/>
                <a:gd name="T80" fmla="*/ 7849 w 11388"/>
                <a:gd name="T81" fmla="*/ 1391 h 1876"/>
                <a:gd name="T82" fmla="*/ 7690 w 11388"/>
                <a:gd name="T83" fmla="*/ 1037 h 1876"/>
                <a:gd name="T84" fmla="*/ 11180 w 11388"/>
                <a:gd name="T85" fmla="*/ 229 h 1876"/>
                <a:gd name="T86" fmla="*/ 10774 w 11388"/>
                <a:gd name="T87" fmla="*/ 31 h 1876"/>
                <a:gd name="T88" fmla="*/ 10181 w 11388"/>
                <a:gd name="T89" fmla="*/ 37 h 1876"/>
                <a:gd name="T90" fmla="*/ 9650 w 11388"/>
                <a:gd name="T91" fmla="*/ 387 h 1876"/>
                <a:gd name="T92" fmla="*/ 9486 w 11388"/>
                <a:gd name="T93" fmla="*/ 1044 h 1876"/>
                <a:gd name="T94" fmla="*/ 9766 w 11388"/>
                <a:gd name="T95" fmla="*/ 1624 h 1876"/>
                <a:gd name="T96" fmla="*/ 10376 w 11388"/>
                <a:gd name="T97" fmla="*/ 1871 h 1876"/>
                <a:gd name="T98" fmla="*/ 10903 w 11388"/>
                <a:gd name="T99" fmla="*/ 1806 h 1876"/>
                <a:gd name="T100" fmla="*/ 11271 w 11388"/>
                <a:gd name="T101" fmla="*/ 1557 h 1876"/>
                <a:gd name="T102" fmla="*/ 10978 w 11388"/>
                <a:gd name="T103" fmla="*/ 1330 h 1876"/>
                <a:gd name="T104" fmla="*/ 10734 w 11388"/>
                <a:gd name="T105" fmla="*/ 1480 h 1876"/>
                <a:gd name="T106" fmla="*/ 10380 w 11388"/>
                <a:gd name="T107" fmla="*/ 1510 h 1876"/>
                <a:gd name="T108" fmla="*/ 10029 w 11388"/>
                <a:gd name="T109" fmla="*/ 1338 h 1876"/>
                <a:gd name="T110" fmla="*/ 9884 w 11388"/>
                <a:gd name="T111" fmla="*/ 970 h 1876"/>
                <a:gd name="T112" fmla="*/ 9991 w 11388"/>
                <a:gd name="T113" fmla="*/ 577 h 1876"/>
                <a:gd name="T114" fmla="*/ 10316 w 11388"/>
                <a:gd name="T115" fmla="*/ 375 h 1876"/>
                <a:gd name="T116" fmla="*/ 10692 w 11388"/>
                <a:gd name="T117" fmla="*/ 384 h 1876"/>
                <a:gd name="T118" fmla="*/ 10948 w 11388"/>
                <a:gd name="T119" fmla="*/ 517 h 18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88" h="1876">
                  <a:moveTo>
                    <a:pt x="0" y="42"/>
                  </a:moveTo>
                  <a:lnTo>
                    <a:pt x="0" y="1830"/>
                  </a:lnTo>
                  <a:lnTo>
                    <a:pt x="402" y="1830"/>
                  </a:lnTo>
                  <a:lnTo>
                    <a:pt x="402" y="401"/>
                  </a:lnTo>
                  <a:lnTo>
                    <a:pt x="1360" y="401"/>
                  </a:lnTo>
                  <a:lnTo>
                    <a:pt x="1360" y="1830"/>
                  </a:lnTo>
                  <a:lnTo>
                    <a:pt x="1765" y="1830"/>
                  </a:lnTo>
                  <a:lnTo>
                    <a:pt x="1765" y="42"/>
                  </a:lnTo>
                  <a:lnTo>
                    <a:pt x="0" y="42"/>
                  </a:lnTo>
                  <a:close/>
                  <a:moveTo>
                    <a:pt x="2467" y="937"/>
                  </a:moveTo>
                  <a:lnTo>
                    <a:pt x="2467" y="904"/>
                  </a:lnTo>
                  <a:lnTo>
                    <a:pt x="2470" y="870"/>
                  </a:lnTo>
                  <a:lnTo>
                    <a:pt x="2473" y="838"/>
                  </a:lnTo>
                  <a:lnTo>
                    <a:pt x="2478" y="807"/>
                  </a:lnTo>
                  <a:lnTo>
                    <a:pt x="2486" y="776"/>
                  </a:lnTo>
                  <a:lnTo>
                    <a:pt x="2494" y="747"/>
                  </a:lnTo>
                  <a:lnTo>
                    <a:pt x="2503" y="718"/>
                  </a:lnTo>
                  <a:lnTo>
                    <a:pt x="2513" y="689"/>
                  </a:lnTo>
                  <a:lnTo>
                    <a:pt x="2524" y="663"/>
                  </a:lnTo>
                  <a:lnTo>
                    <a:pt x="2538" y="637"/>
                  </a:lnTo>
                  <a:lnTo>
                    <a:pt x="2552" y="613"/>
                  </a:lnTo>
                  <a:lnTo>
                    <a:pt x="2567" y="588"/>
                  </a:lnTo>
                  <a:lnTo>
                    <a:pt x="2584" y="566"/>
                  </a:lnTo>
                  <a:lnTo>
                    <a:pt x="2602" y="544"/>
                  </a:lnTo>
                  <a:lnTo>
                    <a:pt x="2621" y="523"/>
                  </a:lnTo>
                  <a:lnTo>
                    <a:pt x="2640" y="504"/>
                  </a:lnTo>
                  <a:lnTo>
                    <a:pt x="2660" y="485"/>
                  </a:lnTo>
                  <a:lnTo>
                    <a:pt x="2682" y="468"/>
                  </a:lnTo>
                  <a:lnTo>
                    <a:pt x="2705" y="451"/>
                  </a:lnTo>
                  <a:lnTo>
                    <a:pt x="2728" y="436"/>
                  </a:lnTo>
                  <a:lnTo>
                    <a:pt x="2752" y="422"/>
                  </a:lnTo>
                  <a:lnTo>
                    <a:pt x="2778" y="410"/>
                  </a:lnTo>
                  <a:lnTo>
                    <a:pt x="2804" y="397"/>
                  </a:lnTo>
                  <a:lnTo>
                    <a:pt x="2830" y="387"/>
                  </a:lnTo>
                  <a:lnTo>
                    <a:pt x="2858" y="377"/>
                  </a:lnTo>
                  <a:lnTo>
                    <a:pt x="2885" y="369"/>
                  </a:lnTo>
                  <a:lnTo>
                    <a:pt x="2914" y="363"/>
                  </a:lnTo>
                  <a:lnTo>
                    <a:pt x="2944" y="356"/>
                  </a:lnTo>
                  <a:lnTo>
                    <a:pt x="2973" y="352"/>
                  </a:lnTo>
                  <a:lnTo>
                    <a:pt x="3004" y="348"/>
                  </a:lnTo>
                  <a:lnTo>
                    <a:pt x="3035" y="346"/>
                  </a:lnTo>
                  <a:lnTo>
                    <a:pt x="3065" y="346"/>
                  </a:lnTo>
                  <a:lnTo>
                    <a:pt x="3097" y="346"/>
                  </a:lnTo>
                  <a:lnTo>
                    <a:pt x="3128" y="348"/>
                  </a:lnTo>
                  <a:lnTo>
                    <a:pt x="3158" y="352"/>
                  </a:lnTo>
                  <a:lnTo>
                    <a:pt x="3188" y="356"/>
                  </a:lnTo>
                  <a:lnTo>
                    <a:pt x="3218" y="363"/>
                  </a:lnTo>
                  <a:lnTo>
                    <a:pt x="3246" y="369"/>
                  </a:lnTo>
                  <a:lnTo>
                    <a:pt x="3274" y="377"/>
                  </a:lnTo>
                  <a:lnTo>
                    <a:pt x="3302" y="387"/>
                  </a:lnTo>
                  <a:lnTo>
                    <a:pt x="3328" y="397"/>
                  </a:lnTo>
                  <a:lnTo>
                    <a:pt x="3354" y="410"/>
                  </a:lnTo>
                  <a:lnTo>
                    <a:pt x="3379" y="422"/>
                  </a:lnTo>
                  <a:lnTo>
                    <a:pt x="3403" y="436"/>
                  </a:lnTo>
                  <a:lnTo>
                    <a:pt x="3426" y="451"/>
                  </a:lnTo>
                  <a:lnTo>
                    <a:pt x="3449" y="468"/>
                  </a:lnTo>
                  <a:lnTo>
                    <a:pt x="3471" y="485"/>
                  </a:lnTo>
                  <a:lnTo>
                    <a:pt x="3492" y="504"/>
                  </a:lnTo>
                  <a:lnTo>
                    <a:pt x="3511" y="523"/>
                  </a:lnTo>
                  <a:lnTo>
                    <a:pt x="3530" y="544"/>
                  </a:lnTo>
                  <a:lnTo>
                    <a:pt x="3547" y="566"/>
                  </a:lnTo>
                  <a:lnTo>
                    <a:pt x="3564" y="588"/>
                  </a:lnTo>
                  <a:lnTo>
                    <a:pt x="3580" y="613"/>
                  </a:lnTo>
                  <a:lnTo>
                    <a:pt x="3594" y="637"/>
                  </a:lnTo>
                  <a:lnTo>
                    <a:pt x="3606" y="663"/>
                  </a:lnTo>
                  <a:lnTo>
                    <a:pt x="3618" y="689"/>
                  </a:lnTo>
                  <a:lnTo>
                    <a:pt x="3629" y="718"/>
                  </a:lnTo>
                  <a:lnTo>
                    <a:pt x="3638" y="747"/>
                  </a:lnTo>
                  <a:lnTo>
                    <a:pt x="3646" y="776"/>
                  </a:lnTo>
                  <a:lnTo>
                    <a:pt x="3652" y="807"/>
                  </a:lnTo>
                  <a:lnTo>
                    <a:pt x="3657" y="838"/>
                  </a:lnTo>
                  <a:lnTo>
                    <a:pt x="3661" y="870"/>
                  </a:lnTo>
                  <a:lnTo>
                    <a:pt x="3663" y="904"/>
                  </a:lnTo>
                  <a:lnTo>
                    <a:pt x="3665" y="937"/>
                  </a:lnTo>
                  <a:lnTo>
                    <a:pt x="3663" y="972"/>
                  </a:lnTo>
                  <a:lnTo>
                    <a:pt x="3661" y="1005"/>
                  </a:lnTo>
                  <a:lnTo>
                    <a:pt x="3657" y="1037"/>
                  </a:lnTo>
                  <a:lnTo>
                    <a:pt x="3652" y="1069"/>
                  </a:lnTo>
                  <a:lnTo>
                    <a:pt x="3646" y="1100"/>
                  </a:lnTo>
                  <a:lnTo>
                    <a:pt x="3638" y="1129"/>
                  </a:lnTo>
                  <a:lnTo>
                    <a:pt x="3629" y="1158"/>
                  </a:lnTo>
                  <a:lnTo>
                    <a:pt x="3618" y="1186"/>
                  </a:lnTo>
                  <a:lnTo>
                    <a:pt x="3606" y="1212"/>
                  </a:lnTo>
                  <a:lnTo>
                    <a:pt x="3594" y="1239"/>
                  </a:lnTo>
                  <a:lnTo>
                    <a:pt x="3580" y="1263"/>
                  </a:lnTo>
                  <a:lnTo>
                    <a:pt x="3564" y="1287"/>
                  </a:lnTo>
                  <a:lnTo>
                    <a:pt x="3547" y="1310"/>
                  </a:lnTo>
                  <a:lnTo>
                    <a:pt x="3530" y="1332"/>
                  </a:lnTo>
                  <a:lnTo>
                    <a:pt x="3511" y="1352"/>
                  </a:lnTo>
                  <a:lnTo>
                    <a:pt x="3492" y="1371"/>
                  </a:lnTo>
                  <a:lnTo>
                    <a:pt x="3471" y="1391"/>
                  </a:lnTo>
                  <a:lnTo>
                    <a:pt x="3449" y="1408"/>
                  </a:lnTo>
                  <a:lnTo>
                    <a:pt x="3426" y="1424"/>
                  </a:lnTo>
                  <a:lnTo>
                    <a:pt x="3403" y="1440"/>
                  </a:lnTo>
                  <a:lnTo>
                    <a:pt x="3379" y="1453"/>
                  </a:lnTo>
                  <a:lnTo>
                    <a:pt x="3354" y="1466"/>
                  </a:lnTo>
                  <a:lnTo>
                    <a:pt x="3328" y="1479"/>
                  </a:lnTo>
                  <a:lnTo>
                    <a:pt x="3302" y="1489"/>
                  </a:lnTo>
                  <a:lnTo>
                    <a:pt x="3274" y="1498"/>
                  </a:lnTo>
                  <a:lnTo>
                    <a:pt x="3246" y="1506"/>
                  </a:lnTo>
                  <a:lnTo>
                    <a:pt x="3218" y="1513"/>
                  </a:lnTo>
                  <a:lnTo>
                    <a:pt x="3188" y="1519"/>
                  </a:lnTo>
                  <a:lnTo>
                    <a:pt x="3158" y="1523"/>
                  </a:lnTo>
                  <a:lnTo>
                    <a:pt x="3128" y="1527"/>
                  </a:lnTo>
                  <a:lnTo>
                    <a:pt x="3097" y="1529"/>
                  </a:lnTo>
                  <a:lnTo>
                    <a:pt x="3065" y="1530"/>
                  </a:lnTo>
                  <a:lnTo>
                    <a:pt x="3035" y="1529"/>
                  </a:lnTo>
                  <a:lnTo>
                    <a:pt x="3004" y="1527"/>
                  </a:lnTo>
                  <a:lnTo>
                    <a:pt x="2973" y="1523"/>
                  </a:lnTo>
                  <a:lnTo>
                    <a:pt x="2944" y="1519"/>
                  </a:lnTo>
                  <a:lnTo>
                    <a:pt x="2914" y="1513"/>
                  </a:lnTo>
                  <a:lnTo>
                    <a:pt x="2885" y="1506"/>
                  </a:lnTo>
                  <a:lnTo>
                    <a:pt x="2858" y="1498"/>
                  </a:lnTo>
                  <a:lnTo>
                    <a:pt x="2830" y="1489"/>
                  </a:lnTo>
                  <a:lnTo>
                    <a:pt x="2804" y="1479"/>
                  </a:lnTo>
                  <a:lnTo>
                    <a:pt x="2778" y="1466"/>
                  </a:lnTo>
                  <a:lnTo>
                    <a:pt x="2752" y="1453"/>
                  </a:lnTo>
                  <a:lnTo>
                    <a:pt x="2728" y="1440"/>
                  </a:lnTo>
                  <a:lnTo>
                    <a:pt x="2705" y="1424"/>
                  </a:lnTo>
                  <a:lnTo>
                    <a:pt x="2682" y="1408"/>
                  </a:lnTo>
                  <a:lnTo>
                    <a:pt x="2660" y="1391"/>
                  </a:lnTo>
                  <a:lnTo>
                    <a:pt x="2640" y="1371"/>
                  </a:lnTo>
                  <a:lnTo>
                    <a:pt x="2621" y="1352"/>
                  </a:lnTo>
                  <a:lnTo>
                    <a:pt x="2602" y="1332"/>
                  </a:lnTo>
                  <a:lnTo>
                    <a:pt x="2584" y="1310"/>
                  </a:lnTo>
                  <a:lnTo>
                    <a:pt x="2567" y="1287"/>
                  </a:lnTo>
                  <a:lnTo>
                    <a:pt x="2552" y="1263"/>
                  </a:lnTo>
                  <a:lnTo>
                    <a:pt x="2538" y="1239"/>
                  </a:lnTo>
                  <a:lnTo>
                    <a:pt x="2524" y="1212"/>
                  </a:lnTo>
                  <a:lnTo>
                    <a:pt x="2513" y="1186"/>
                  </a:lnTo>
                  <a:lnTo>
                    <a:pt x="2503" y="1158"/>
                  </a:lnTo>
                  <a:lnTo>
                    <a:pt x="2494" y="1129"/>
                  </a:lnTo>
                  <a:lnTo>
                    <a:pt x="2486" y="1100"/>
                  </a:lnTo>
                  <a:lnTo>
                    <a:pt x="2478" y="1069"/>
                  </a:lnTo>
                  <a:lnTo>
                    <a:pt x="2473" y="1037"/>
                  </a:lnTo>
                  <a:lnTo>
                    <a:pt x="2470" y="1005"/>
                  </a:lnTo>
                  <a:lnTo>
                    <a:pt x="2467" y="972"/>
                  </a:lnTo>
                  <a:lnTo>
                    <a:pt x="2467" y="937"/>
                  </a:lnTo>
                  <a:close/>
                  <a:moveTo>
                    <a:pt x="4069" y="937"/>
                  </a:moveTo>
                  <a:lnTo>
                    <a:pt x="4068" y="885"/>
                  </a:lnTo>
                  <a:lnTo>
                    <a:pt x="4064" y="834"/>
                  </a:lnTo>
                  <a:lnTo>
                    <a:pt x="4057" y="784"/>
                  </a:lnTo>
                  <a:lnTo>
                    <a:pt x="4048" y="736"/>
                  </a:lnTo>
                  <a:lnTo>
                    <a:pt x="4037" y="688"/>
                  </a:lnTo>
                  <a:lnTo>
                    <a:pt x="4023" y="642"/>
                  </a:lnTo>
                  <a:lnTo>
                    <a:pt x="4007" y="597"/>
                  </a:lnTo>
                  <a:lnTo>
                    <a:pt x="3989" y="554"/>
                  </a:lnTo>
                  <a:lnTo>
                    <a:pt x="3968" y="512"/>
                  </a:lnTo>
                  <a:lnTo>
                    <a:pt x="3946" y="471"/>
                  </a:lnTo>
                  <a:lnTo>
                    <a:pt x="3921" y="432"/>
                  </a:lnTo>
                  <a:lnTo>
                    <a:pt x="3896" y="394"/>
                  </a:lnTo>
                  <a:lnTo>
                    <a:pt x="3867" y="358"/>
                  </a:lnTo>
                  <a:lnTo>
                    <a:pt x="3836" y="323"/>
                  </a:lnTo>
                  <a:lnTo>
                    <a:pt x="3805" y="290"/>
                  </a:lnTo>
                  <a:lnTo>
                    <a:pt x="3772" y="258"/>
                  </a:lnTo>
                  <a:lnTo>
                    <a:pt x="3736" y="228"/>
                  </a:lnTo>
                  <a:lnTo>
                    <a:pt x="3699" y="200"/>
                  </a:lnTo>
                  <a:lnTo>
                    <a:pt x="3661" y="174"/>
                  </a:lnTo>
                  <a:lnTo>
                    <a:pt x="3623" y="148"/>
                  </a:lnTo>
                  <a:lnTo>
                    <a:pt x="3582" y="126"/>
                  </a:lnTo>
                  <a:lnTo>
                    <a:pt x="3540" y="104"/>
                  </a:lnTo>
                  <a:lnTo>
                    <a:pt x="3496" y="85"/>
                  </a:lnTo>
                  <a:lnTo>
                    <a:pt x="3452" y="68"/>
                  </a:lnTo>
                  <a:lnTo>
                    <a:pt x="3407" y="52"/>
                  </a:lnTo>
                  <a:lnTo>
                    <a:pt x="3360" y="39"/>
                  </a:lnTo>
                  <a:lnTo>
                    <a:pt x="3313" y="27"/>
                  </a:lnTo>
                  <a:lnTo>
                    <a:pt x="3265" y="18"/>
                  </a:lnTo>
                  <a:lnTo>
                    <a:pt x="3217" y="10"/>
                  </a:lnTo>
                  <a:lnTo>
                    <a:pt x="3167" y="4"/>
                  </a:lnTo>
                  <a:lnTo>
                    <a:pt x="3116" y="1"/>
                  </a:lnTo>
                  <a:lnTo>
                    <a:pt x="3065" y="0"/>
                  </a:lnTo>
                  <a:lnTo>
                    <a:pt x="3015" y="1"/>
                  </a:lnTo>
                  <a:lnTo>
                    <a:pt x="2965" y="4"/>
                  </a:lnTo>
                  <a:lnTo>
                    <a:pt x="2915" y="10"/>
                  </a:lnTo>
                  <a:lnTo>
                    <a:pt x="2867" y="18"/>
                  </a:lnTo>
                  <a:lnTo>
                    <a:pt x="2819" y="27"/>
                  </a:lnTo>
                  <a:lnTo>
                    <a:pt x="2771" y="39"/>
                  </a:lnTo>
                  <a:lnTo>
                    <a:pt x="2725" y="52"/>
                  </a:lnTo>
                  <a:lnTo>
                    <a:pt x="2680" y="68"/>
                  </a:lnTo>
                  <a:lnTo>
                    <a:pt x="2635" y="85"/>
                  </a:lnTo>
                  <a:lnTo>
                    <a:pt x="2592" y="104"/>
                  </a:lnTo>
                  <a:lnTo>
                    <a:pt x="2550" y="126"/>
                  </a:lnTo>
                  <a:lnTo>
                    <a:pt x="2509" y="148"/>
                  </a:lnTo>
                  <a:lnTo>
                    <a:pt x="2470" y="174"/>
                  </a:lnTo>
                  <a:lnTo>
                    <a:pt x="2431" y="200"/>
                  </a:lnTo>
                  <a:lnTo>
                    <a:pt x="2396" y="228"/>
                  </a:lnTo>
                  <a:lnTo>
                    <a:pt x="2360" y="258"/>
                  </a:lnTo>
                  <a:lnTo>
                    <a:pt x="2326" y="290"/>
                  </a:lnTo>
                  <a:lnTo>
                    <a:pt x="2294" y="323"/>
                  </a:lnTo>
                  <a:lnTo>
                    <a:pt x="2265" y="358"/>
                  </a:lnTo>
                  <a:lnTo>
                    <a:pt x="2236" y="394"/>
                  </a:lnTo>
                  <a:lnTo>
                    <a:pt x="2210" y="432"/>
                  </a:lnTo>
                  <a:lnTo>
                    <a:pt x="2185" y="471"/>
                  </a:lnTo>
                  <a:lnTo>
                    <a:pt x="2164" y="512"/>
                  </a:lnTo>
                  <a:lnTo>
                    <a:pt x="2143" y="554"/>
                  </a:lnTo>
                  <a:lnTo>
                    <a:pt x="2125" y="597"/>
                  </a:lnTo>
                  <a:lnTo>
                    <a:pt x="2108" y="642"/>
                  </a:lnTo>
                  <a:lnTo>
                    <a:pt x="2095" y="688"/>
                  </a:lnTo>
                  <a:lnTo>
                    <a:pt x="2083" y="736"/>
                  </a:lnTo>
                  <a:lnTo>
                    <a:pt x="2075" y="784"/>
                  </a:lnTo>
                  <a:lnTo>
                    <a:pt x="2067" y="834"/>
                  </a:lnTo>
                  <a:lnTo>
                    <a:pt x="2063" y="885"/>
                  </a:lnTo>
                  <a:lnTo>
                    <a:pt x="2062" y="937"/>
                  </a:lnTo>
                  <a:lnTo>
                    <a:pt x="2063" y="989"/>
                  </a:lnTo>
                  <a:lnTo>
                    <a:pt x="2067" y="1041"/>
                  </a:lnTo>
                  <a:lnTo>
                    <a:pt x="2075" y="1091"/>
                  </a:lnTo>
                  <a:lnTo>
                    <a:pt x="2083" y="1140"/>
                  </a:lnTo>
                  <a:lnTo>
                    <a:pt x="2095" y="1187"/>
                  </a:lnTo>
                  <a:lnTo>
                    <a:pt x="2108" y="1234"/>
                  </a:lnTo>
                  <a:lnTo>
                    <a:pt x="2125" y="1278"/>
                  </a:lnTo>
                  <a:lnTo>
                    <a:pt x="2143" y="1321"/>
                  </a:lnTo>
                  <a:lnTo>
                    <a:pt x="2164" y="1363"/>
                  </a:lnTo>
                  <a:lnTo>
                    <a:pt x="2185" y="1404"/>
                  </a:lnTo>
                  <a:lnTo>
                    <a:pt x="2210" y="1444"/>
                  </a:lnTo>
                  <a:lnTo>
                    <a:pt x="2236" y="1482"/>
                  </a:lnTo>
                  <a:lnTo>
                    <a:pt x="2265" y="1518"/>
                  </a:lnTo>
                  <a:lnTo>
                    <a:pt x="2294" y="1553"/>
                  </a:lnTo>
                  <a:lnTo>
                    <a:pt x="2326" y="1586"/>
                  </a:lnTo>
                  <a:lnTo>
                    <a:pt x="2360" y="1617"/>
                  </a:lnTo>
                  <a:lnTo>
                    <a:pt x="2396" y="1647"/>
                  </a:lnTo>
                  <a:lnTo>
                    <a:pt x="2431" y="1676"/>
                  </a:lnTo>
                  <a:lnTo>
                    <a:pt x="2470" y="1702"/>
                  </a:lnTo>
                  <a:lnTo>
                    <a:pt x="2509" y="1727"/>
                  </a:lnTo>
                  <a:lnTo>
                    <a:pt x="2550" y="1750"/>
                  </a:lnTo>
                  <a:lnTo>
                    <a:pt x="2592" y="1772"/>
                  </a:lnTo>
                  <a:lnTo>
                    <a:pt x="2635" y="1790"/>
                  </a:lnTo>
                  <a:lnTo>
                    <a:pt x="2680" y="1808"/>
                  </a:lnTo>
                  <a:lnTo>
                    <a:pt x="2725" y="1824"/>
                  </a:lnTo>
                  <a:lnTo>
                    <a:pt x="2771" y="1837"/>
                  </a:lnTo>
                  <a:lnTo>
                    <a:pt x="2819" y="1848"/>
                  </a:lnTo>
                  <a:lnTo>
                    <a:pt x="2867" y="1858"/>
                  </a:lnTo>
                  <a:lnTo>
                    <a:pt x="2915" y="1865"/>
                  </a:lnTo>
                  <a:lnTo>
                    <a:pt x="2965" y="1871"/>
                  </a:lnTo>
                  <a:lnTo>
                    <a:pt x="3015" y="1874"/>
                  </a:lnTo>
                  <a:lnTo>
                    <a:pt x="3065" y="1876"/>
                  </a:lnTo>
                  <a:lnTo>
                    <a:pt x="3116" y="1874"/>
                  </a:lnTo>
                  <a:lnTo>
                    <a:pt x="3167" y="1871"/>
                  </a:lnTo>
                  <a:lnTo>
                    <a:pt x="3217" y="1865"/>
                  </a:lnTo>
                  <a:lnTo>
                    <a:pt x="3265" y="1858"/>
                  </a:lnTo>
                  <a:lnTo>
                    <a:pt x="3313" y="1848"/>
                  </a:lnTo>
                  <a:lnTo>
                    <a:pt x="3360" y="1837"/>
                  </a:lnTo>
                  <a:lnTo>
                    <a:pt x="3407" y="1824"/>
                  </a:lnTo>
                  <a:lnTo>
                    <a:pt x="3452" y="1808"/>
                  </a:lnTo>
                  <a:lnTo>
                    <a:pt x="3496" y="1790"/>
                  </a:lnTo>
                  <a:lnTo>
                    <a:pt x="3540" y="1772"/>
                  </a:lnTo>
                  <a:lnTo>
                    <a:pt x="3582" y="1750"/>
                  </a:lnTo>
                  <a:lnTo>
                    <a:pt x="3623" y="1727"/>
                  </a:lnTo>
                  <a:lnTo>
                    <a:pt x="3661" y="1702"/>
                  </a:lnTo>
                  <a:lnTo>
                    <a:pt x="3699" y="1676"/>
                  </a:lnTo>
                  <a:lnTo>
                    <a:pt x="3736" y="1647"/>
                  </a:lnTo>
                  <a:lnTo>
                    <a:pt x="3772" y="1617"/>
                  </a:lnTo>
                  <a:lnTo>
                    <a:pt x="3805" y="1586"/>
                  </a:lnTo>
                  <a:lnTo>
                    <a:pt x="3836" y="1553"/>
                  </a:lnTo>
                  <a:lnTo>
                    <a:pt x="3867" y="1518"/>
                  </a:lnTo>
                  <a:lnTo>
                    <a:pt x="3896" y="1482"/>
                  </a:lnTo>
                  <a:lnTo>
                    <a:pt x="3921" y="1444"/>
                  </a:lnTo>
                  <a:lnTo>
                    <a:pt x="3946" y="1404"/>
                  </a:lnTo>
                  <a:lnTo>
                    <a:pt x="3968" y="1363"/>
                  </a:lnTo>
                  <a:lnTo>
                    <a:pt x="3989" y="1321"/>
                  </a:lnTo>
                  <a:lnTo>
                    <a:pt x="4007" y="1278"/>
                  </a:lnTo>
                  <a:lnTo>
                    <a:pt x="4023" y="1234"/>
                  </a:lnTo>
                  <a:lnTo>
                    <a:pt x="4037" y="1187"/>
                  </a:lnTo>
                  <a:lnTo>
                    <a:pt x="4048" y="1140"/>
                  </a:lnTo>
                  <a:lnTo>
                    <a:pt x="4057" y="1091"/>
                  </a:lnTo>
                  <a:lnTo>
                    <a:pt x="4064" y="1041"/>
                  </a:lnTo>
                  <a:lnTo>
                    <a:pt x="4068" y="989"/>
                  </a:lnTo>
                  <a:lnTo>
                    <a:pt x="4069" y="937"/>
                  </a:lnTo>
                  <a:close/>
                  <a:moveTo>
                    <a:pt x="4805" y="42"/>
                  </a:moveTo>
                  <a:lnTo>
                    <a:pt x="4564" y="1322"/>
                  </a:lnTo>
                  <a:lnTo>
                    <a:pt x="4560" y="1340"/>
                  </a:lnTo>
                  <a:lnTo>
                    <a:pt x="4555" y="1356"/>
                  </a:lnTo>
                  <a:lnTo>
                    <a:pt x="4549" y="1371"/>
                  </a:lnTo>
                  <a:lnTo>
                    <a:pt x="4542" y="1385"/>
                  </a:lnTo>
                  <a:lnTo>
                    <a:pt x="4535" y="1398"/>
                  </a:lnTo>
                  <a:lnTo>
                    <a:pt x="4525" y="1409"/>
                  </a:lnTo>
                  <a:lnTo>
                    <a:pt x="4515" y="1419"/>
                  </a:lnTo>
                  <a:lnTo>
                    <a:pt x="4505" y="1429"/>
                  </a:lnTo>
                  <a:lnTo>
                    <a:pt x="4494" y="1437"/>
                  </a:lnTo>
                  <a:lnTo>
                    <a:pt x="4481" y="1443"/>
                  </a:lnTo>
                  <a:lnTo>
                    <a:pt x="4468" y="1449"/>
                  </a:lnTo>
                  <a:lnTo>
                    <a:pt x="4454" y="1453"/>
                  </a:lnTo>
                  <a:lnTo>
                    <a:pt x="4440" y="1457"/>
                  </a:lnTo>
                  <a:lnTo>
                    <a:pt x="4423" y="1459"/>
                  </a:lnTo>
                  <a:lnTo>
                    <a:pt x="4407" y="1461"/>
                  </a:lnTo>
                  <a:lnTo>
                    <a:pt x="4389" y="1461"/>
                  </a:lnTo>
                  <a:lnTo>
                    <a:pt x="4195" y="1461"/>
                  </a:lnTo>
                  <a:lnTo>
                    <a:pt x="4195" y="1830"/>
                  </a:lnTo>
                  <a:lnTo>
                    <a:pt x="4409" y="1830"/>
                  </a:lnTo>
                  <a:lnTo>
                    <a:pt x="4436" y="1830"/>
                  </a:lnTo>
                  <a:lnTo>
                    <a:pt x="4463" y="1829"/>
                  </a:lnTo>
                  <a:lnTo>
                    <a:pt x="4490" y="1827"/>
                  </a:lnTo>
                  <a:lnTo>
                    <a:pt x="4515" y="1824"/>
                  </a:lnTo>
                  <a:lnTo>
                    <a:pt x="4540" y="1820"/>
                  </a:lnTo>
                  <a:lnTo>
                    <a:pt x="4564" y="1815"/>
                  </a:lnTo>
                  <a:lnTo>
                    <a:pt x="4588" y="1809"/>
                  </a:lnTo>
                  <a:lnTo>
                    <a:pt x="4611" y="1803"/>
                  </a:lnTo>
                  <a:lnTo>
                    <a:pt x="4634" y="1796"/>
                  </a:lnTo>
                  <a:lnTo>
                    <a:pt x="4655" y="1788"/>
                  </a:lnTo>
                  <a:lnTo>
                    <a:pt x="4677" y="1779"/>
                  </a:lnTo>
                  <a:lnTo>
                    <a:pt x="4697" y="1770"/>
                  </a:lnTo>
                  <a:lnTo>
                    <a:pt x="4718" y="1758"/>
                  </a:lnTo>
                  <a:lnTo>
                    <a:pt x="4736" y="1747"/>
                  </a:lnTo>
                  <a:lnTo>
                    <a:pt x="4755" y="1735"/>
                  </a:lnTo>
                  <a:lnTo>
                    <a:pt x="4773" y="1721"/>
                  </a:lnTo>
                  <a:lnTo>
                    <a:pt x="4790" y="1706"/>
                  </a:lnTo>
                  <a:lnTo>
                    <a:pt x="4807" y="1691"/>
                  </a:lnTo>
                  <a:lnTo>
                    <a:pt x="4822" y="1675"/>
                  </a:lnTo>
                  <a:lnTo>
                    <a:pt x="4837" y="1657"/>
                  </a:lnTo>
                  <a:lnTo>
                    <a:pt x="4852" y="1640"/>
                  </a:lnTo>
                  <a:lnTo>
                    <a:pt x="4865" y="1620"/>
                  </a:lnTo>
                  <a:lnTo>
                    <a:pt x="4878" y="1600"/>
                  </a:lnTo>
                  <a:lnTo>
                    <a:pt x="4890" y="1579"/>
                  </a:lnTo>
                  <a:lnTo>
                    <a:pt x="4902" y="1557"/>
                  </a:lnTo>
                  <a:lnTo>
                    <a:pt x="4912" y="1534"/>
                  </a:lnTo>
                  <a:lnTo>
                    <a:pt x="4922" y="1510"/>
                  </a:lnTo>
                  <a:lnTo>
                    <a:pt x="4931" y="1485"/>
                  </a:lnTo>
                  <a:lnTo>
                    <a:pt x="4939" y="1458"/>
                  </a:lnTo>
                  <a:lnTo>
                    <a:pt x="4947" y="1432"/>
                  </a:lnTo>
                  <a:lnTo>
                    <a:pt x="4954" y="1403"/>
                  </a:lnTo>
                  <a:lnTo>
                    <a:pt x="4959" y="1374"/>
                  </a:lnTo>
                  <a:lnTo>
                    <a:pt x="5141" y="404"/>
                  </a:lnTo>
                  <a:lnTo>
                    <a:pt x="5827" y="404"/>
                  </a:lnTo>
                  <a:lnTo>
                    <a:pt x="5827" y="1830"/>
                  </a:lnTo>
                  <a:lnTo>
                    <a:pt x="6232" y="1830"/>
                  </a:lnTo>
                  <a:lnTo>
                    <a:pt x="6232" y="42"/>
                  </a:lnTo>
                  <a:lnTo>
                    <a:pt x="4805" y="42"/>
                  </a:lnTo>
                  <a:close/>
                  <a:moveTo>
                    <a:pt x="6620" y="42"/>
                  </a:moveTo>
                  <a:lnTo>
                    <a:pt x="6620" y="1830"/>
                  </a:lnTo>
                  <a:lnTo>
                    <a:pt x="7018" y="1830"/>
                  </a:lnTo>
                  <a:lnTo>
                    <a:pt x="7018" y="1073"/>
                  </a:lnTo>
                  <a:lnTo>
                    <a:pt x="7290" y="1073"/>
                  </a:lnTo>
                  <a:lnTo>
                    <a:pt x="7297" y="1121"/>
                  </a:lnTo>
                  <a:lnTo>
                    <a:pt x="7305" y="1167"/>
                  </a:lnTo>
                  <a:lnTo>
                    <a:pt x="7317" y="1212"/>
                  </a:lnTo>
                  <a:lnTo>
                    <a:pt x="7329" y="1256"/>
                  </a:lnTo>
                  <a:lnTo>
                    <a:pt x="7343" y="1298"/>
                  </a:lnTo>
                  <a:lnTo>
                    <a:pt x="7360" y="1339"/>
                  </a:lnTo>
                  <a:lnTo>
                    <a:pt x="7378" y="1377"/>
                  </a:lnTo>
                  <a:lnTo>
                    <a:pt x="7397" y="1415"/>
                  </a:lnTo>
                  <a:lnTo>
                    <a:pt x="7419" y="1452"/>
                  </a:lnTo>
                  <a:lnTo>
                    <a:pt x="7442" y="1488"/>
                  </a:lnTo>
                  <a:lnTo>
                    <a:pt x="7467" y="1520"/>
                  </a:lnTo>
                  <a:lnTo>
                    <a:pt x="7493" y="1553"/>
                  </a:lnTo>
                  <a:lnTo>
                    <a:pt x="7520" y="1584"/>
                  </a:lnTo>
                  <a:lnTo>
                    <a:pt x="7550" y="1613"/>
                  </a:lnTo>
                  <a:lnTo>
                    <a:pt x="7580" y="1641"/>
                  </a:lnTo>
                  <a:lnTo>
                    <a:pt x="7612" y="1667"/>
                  </a:lnTo>
                  <a:lnTo>
                    <a:pt x="7645" y="1692"/>
                  </a:lnTo>
                  <a:lnTo>
                    <a:pt x="7679" y="1715"/>
                  </a:lnTo>
                  <a:lnTo>
                    <a:pt x="7714" y="1737"/>
                  </a:lnTo>
                  <a:lnTo>
                    <a:pt x="7751" y="1757"/>
                  </a:lnTo>
                  <a:lnTo>
                    <a:pt x="7789" y="1776"/>
                  </a:lnTo>
                  <a:lnTo>
                    <a:pt x="7828" y="1793"/>
                  </a:lnTo>
                  <a:lnTo>
                    <a:pt x="7867" y="1808"/>
                  </a:lnTo>
                  <a:lnTo>
                    <a:pt x="7908" y="1823"/>
                  </a:lnTo>
                  <a:lnTo>
                    <a:pt x="7950" y="1835"/>
                  </a:lnTo>
                  <a:lnTo>
                    <a:pt x="7991" y="1845"/>
                  </a:lnTo>
                  <a:lnTo>
                    <a:pt x="8034" y="1854"/>
                  </a:lnTo>
                  <a:lnTo>
                    <a:pt x="8078" y="1861"/>
                  </a:lnTo>
                  <a:lnTo>
                    <a:pt x="8123" y="1868"/>
                  </a:lnTo>
                  <a:lnTo>
                    <a:pt x="8168" y="1872"/>
                  </a:lnTo>
                  <a:lnTo>
                    <a:pt x="8214" y="1875"/>
                  </a:lnTo>
                  <a:lnTo>
                    <a:pt x="8261" y="1876"/>
                  </a:lnTo>
                  <a:lnTo>
                    <a:pt x="8311" y="1875"/>
                  </a:lnTo>
                  <a:lnTo>
                    <a:pt x="8362" y="1872"/>
                  </a:lnTo>
                  <a:lnTo>
                    <a:pt x="8410" y="1867"/>
                  </a:lnTo>
                  <a:lnTo>
                    <a:pt x="8459" y="1859"/>
                  </a:lnTo>
                  <a:lnTo>
                    <a:pt x="8506" y="1850"/>
                  </a:lnTo>
                  <a:lnTo>
                    <a:pt x="8552" y="1840"/>
                  </a:lnTo>
                  <a:lnTo>
                    <a:pt x="8598" y="1828"/>
                  </a:lnTo>
                  <a:lnTo>
                    <a:pt x="8642" y="1812"/>
                  </a:lnTo>
                  <a:lnTo>
                    <a:pt x="8686" y="1796"/>
                  </a:lnTo>
                  <a:lnTo>
                    <a:pt x="8728" y="1779"/>
                  </a:lnTo>
                  <a:lnTo>
                    <a:pt x="8769" y="1758"/>
                  </a:lnTo>
                  <a:lnTo>
                    <a:pt x="8808" y="1736"/>
                  </a:lnTo>
                  <a:lnTo>
                    <a:pt x="8846" y="1712"/>
                  </a:lnTo>
                  <a:lnTo>
                    <a:pt x="8883" y="1687"/>
                  </a:lnTo>
                  <a:lnTo>
                    <a:pt x="8919" y="1660"/>
                  </a:lnTo>
                  <a:lnTo>
                    <a:pt x="8953" y="1631"/>
                  </a:lnTo>
                  <a:lnTo>
                    <a:pt x="8985" y="1600"/>
                  </a:lnTo>
                  <a:lnTo>
                    <a:pt x="9016" y="1567"/>
                  </a:lnTo>
                  <a:lnTo>
                    <a:pt x="9045" y="1533"/>
                  </a:lnTo>
                  <a:lnTo>
                    <a:pt x="9072" y="1497"/>
                  </a:lnTo>
                  <a:lnTo>
                    <a:pt x="9098" y="1459"/>
                  </a:lnTo>
                  <a:lnTo>
                    <a:pt x="9121" y="1420"/>
                  </a:lnTo>
                  <a:lnTo>
                    <a:pt x="9143" y="1380"/>
                  </a:lnTo>
                  <a:lnTo>
                    <a:pt x="9162" y="1337"/>
                  </a:lnTo>
                  <a:lnTo>
                    <a:pt x="9180" y="1293"/>
                  </a:lnTo>
                  <a:lnTo>
                    <a:pt x="9195" y="1247"/>
                  </a:lnTo>
                  <a:lnTo>
                    <a:pt x="9208" y="1199"/>
                  </a:lnTo>
                  <a:lnTo>
                    <a:pt x="9218" y="1150"/>
                  </a:lnTo>
                  <a:lnTo>
                    <a:pt x="9228" y="1099"/>
                  </a:lnTo>
                  <a:lnTo>
                    <a:pt x="9234" y="1047"/>
                  </a:lnTo>
                  <a:lnTo>
                    <a:pt x="9238" y="993"/>
                  </a:lnTo>
                  <a:lnTo>
                    <a:pt x="9239" y="937"/>
                  </a:lnTo>
                  <a:lnTo>
                    <a:pt x="9238" y="882"/>
                  </a:lnTo>
                  <a:lnTo>
                    <a:pt x="9234" y="828"/>
                  </a:lnTo>
                  <a:lnTo>
                    <a:pt x="9228" y="776"/>
                  </a:lnTo>
                  <a:lnTo>
                    <a:pt x="9218" y="726"/>
                  </a:lnTo>
                  <a:lnTo>
                    <a:pt x="9208" y="677"/>
                  </a:lnTo>
                  <a:lnTo>
                    <a:pt x="9195" y="629"/>
                  </a:lnTo>
                  <a:lnTo>
                    <a:pt x="9180" y="583"/>
                  </a:lnTo>
                  <a:lnTo>
                    <a:pt x="9162" y="539"/>
                  </a:lnTo>
                  <a:lnTo>
                    <a:pt x="9143" y="496"/>
                  </a:lnTo>
                  <a:lnTo>
                    <a:pt x="9121" y="456"/>
                  </a:lnTo>
                  <a:lnTo>
                    <a:pt x="9098" y="416"/>
                  </a:lnTo>
                  <a:lnTo>
                    <a:pt x="9072" y="378"/>
                  </a:lnTo>
                  <a:lnTo>
                    <a:pt x="9045" y="342"/>
                  </a:lnTo>
                  <a:lnTo>
                    <a:pt x="9016" y="309"/>
                  </a:lnTo>
                  <a:lnTo>
                    <a:pt x="8985" y="276"/>
                  </a:lnTo>
                  <a:lnTo>
                    <a:pt x="8953" y="245"/>
                  </a:lnTo>
                  <a:lnTo>
                    <a:pt x="8919" y="216"/>
                  </a:lnTo>
                  <a:lnTo>
                    <a:pt x="8883" y="188"/>
                  </a:lnTo>
                  <a:lnTo>
                    <a:pt x="8846" y="163"/>
                  </a:lnTo>
                  <a:lnTo>
                    <a:pt x="8808" y="139"/>
                  </a:lnTo>
                  <a:lnTo>
                    <a:pt x="8769" y="118"/>
                  </a:lnTo>
                  <a:lnTo>
                    <a:pt x="8728" y="97"/>
                  </a:lnTo>
                  <a:lnTo>
                    <a:pt x="8686" y="79"/>
                  </a:lnTo>
                  <a:lnTo>
                    <a:pt x="8642" y="62"/>
                  </a:lnTo>
                  <a:lnTo>
                    <a:pt x="8598" y="48"/>
                  </a:lnTo>
                  <a:lnTo>
                    <a:pt x="8552" y="36"/>
                  </a:lnTo>
                  <a:lnTo>
                    <a:pt x="8506" y="25"/>
                  </a:lnTo>
                  <a:lnTo>
                    <a:pt x="8459" y="17"/>
                  </a:lnTo>
                  <a:lnTo>
                    <a:pt x="8410" y="9"/>
                  </a:lnTo>
                  <a:lnTo>
                    <a:pt x="8362" y="4"/>
                  </a:lnTo>
                  <a:lnTo>
                    <a:pt x="8311" y="1"/>
                  </a:lnTo>
                  <a:lnTo>
                    <a:pt x="8261" y="0"/>
                  </a:lnTo>
                  <a:lnTo>
                    <a:pt x="8217" y="1"/>
                  </a:lnTo>
                  <a:lnTo>
                    <a:pt x="8174" y="3"/>
                  </a:lnTo>
                  <a:lnTo>
                    <a:pt x="8132" y="7"/>
                  </a:lnTo>
                  <a:lnTo>
                    <a:pt x="8090" y="12"/>
                  </a:lnTo>
                  <a:lnTo>
                    <a:pt x="8048" y="19"/>
                  </a:lnTo>
                  <a:lnTo>
                    <a:pt x="8007" y="27"/>
                  </a:lnTo>
                  <a:lnTo>
                    <a:pt x="7967" y="36"/>
                  </a:lnTo>
                  <a:lnTo>
                    <a:pt x="7927" y="47"/>
                  </a:lnTo>
                  <a:lnTo>
                    <a:pt x="7888" y="59"/>
                  </a:lnTo>
                  <a:lnTo>
                    <a:pt x="7850" y="74"/>
                  </a:lnTo>
                  <a:lnTo>
                    <a:pt x="7814" y="89"/>
                  </a:lnTo>
                  <a:lnTo>
                    <a:pt x="7778" y="105"/>
                  </a:lnTo>
                  <a:lnTo>
                    <a:pt x="7742" y="123"/>
                  </a:lnTo>
                  <a:lnTo>
                    <a:pt x="7708" y="142"/>
                  </a:lnTo>
                  <a:lnTo>
                    <a:pt x="7675" y="163"/>
                  </a:lnTo>
                  <a:lnTo>
                    <a:pt x="7643" y="185"/>
                  </a:lnTo>
                  <a:lnTo>
                    <a:pt x="7612" y="208"/>
                  </a:lnTo>
                  <a:lnTo>
                    <a:pt x="7582" y="233"/>
                  </a:lnTo>
                  <a:lnTo>
                    <a:pt x="7553" y="258"/>
                  </a:lnTo>
                  <a:lnTo>
                    <a:pt x="7526" y="286"/>
                  </a:lnTo>
                  <a:lnTo>
                    <a:pt x="7500" y="315"/>
                  </a:lnTo>
                  <a:lnTo>
                    <a:pt x="7475" y="344"/>
                  </a:lnTo>
                  <a:lnTo>
                    <a:pt x="7452" y="376"/>
                  </a:lnTo>
                  <a:lnTo>
                    <a:pt x="7429" y="408"/>
                  </a:lnTo>
                  <a:lnTo>
                    <a:pt x="7409" y="441"/>
                  </a:lnTo>
                  <a:lnTo>
                    <a:pt x="7389" y="477"/>
                  </a:lnTo>
                  <a:lnTo>
                    <a:pt x="7371" y="513"/>
                  </a:lnTo>
                  <a:lnTo>
                    <a:pt x="7354" y="550"/>
                  </a:lnTo>
                  <a:lnTo>
                    <a:pt x="7340" y="588"/>
                  </a:lnTo>
                  <a:lnTo>
                    <a:pt x="7327" y="628"/>
                  </a:lnTo>
                  <a:lnTo>
                    <a:pt x="7316" y="669"/>
                  </a:lnTo>
                  <a:lnTo>
                    <a:pt x="7306" y="712"/>
                  </a:lnTo>
                  <a:lnTo>
                    <a:pt x="7018" y="712"/>
                  </a:lnTo>
                  <a:lnTo>
                    <a:pt x="7018" y="42"/>
                  </a:lnTo>
                  <a:lnTo>
                    <a:pt x="6620" y="42"/>
                  </a:lnTo>
                  <a:close/>
                  <a:moveTo>
                    <a:pt x="7685" y="937"/>
                  </a:moveTo>
                  <a:lnTo>
                    <a:pt x="7686" y="904"/>
                  </a:lnTo>
                  <a:lnTo>
                    <a:pt x="7687" y="870"/>
                  </a:lnTo>
                  <a:lnTo>
                    <a:pt x="7690" y="838"/>
                  </a:lnTo>
                  <a:lnTo>
                    <a:pt x="7694" y="807"/>
                  </a:lnTo>
                  <a:lnTo>
                    <a:pt x="7699" y="776"/>
                  </a:lnTo>
                  <a:lnTo>
                    <a:pt x="7705" y="747"/>
                  </a:lnTo>
                  <a:lnTo>
                    <a:pt x="7713" y="718"/>
                  </a:lnTo>
                  <a:lnTo>
                    <a:pt x="7722" y="689"/>
                  </a:lnTo>
                  <a:lnTo>
                    <a:pt x="7732" y="663"/>
                  </a:lnTo>
                  <a:lnTo>
                    <a:pt x="7742" y="637"/>
                  </a:lnTo>
                  <a:lnTo>
                    <a:pt x="7754" y="613"/>
                  </a:lnTo>
                  <a:lnTo>
                    <a:pt x="7768" y="588"/>
                  </a:lnTo>
                  <a:lnTo>
                    <a:pt x="7782" y="566"/>
                  </a:lnTo>
                  <a:lnTo>
                    <a:pt x="7797" y="544"/>
                  </a:lnTo>
                  <a:lnTo>
                    <a:pt x="7814" y="523"/>
                  </a:lnTo>
                  <a:lnTo>
                    <a:pt x="7831" y="504"/>
                  </a:lnTo>
                  <a:lnTo>
                    <a:pt x="7849" y="485"/>
                  </a:lnTo>
                  <a:lnTo>
                    <a:pt x="7870" y="468"/>
                  </a:lnTo>
                  <a:lnTo>
                    <a:pt x="7890" y="451"/>
                  </a:lnTo>
                  <a:lnTo>
                    <a:pt x="7913" y="436"/>
                  </a:lnTo>
                  <a:lnTo>
                    <a:pt x="7935" y="422"/>
                  </a:lnTo>
                  <a:lnTo>
                    <a:pt x="7960" y="410"/>
                  </a:lnTo>
                  <a:lnTo>
                    <a:pt x="7985" y="397"/>
                  </a:lnTo>
                  <a:lnTo>
                    <a:pt x="8011" y="387"/>
                  </a:lnTo>
                  <a:lnTo>
                    <a:pt x="8038" y="377"/>
                  </a:lnTo>
                  <a:lnTo>
                    <a:pt x="8067" y="369"/>
                  </a:lnTo>
                  <a:lnTo>
                    <a:pt x="8097" y="363"/>
                  </a:lnTo>
                  <a:lnTo>
                    <a:pt x="8127" y="356"/>
                  </a:lnTo>
                  <a:lnTo>
                    <a:pt x="8159" y="352"/>
                  </a:lnTo>
                  <a:lnTo>
                    <a:pt x="8192" y="348"/>
                  </a:lnTo>
                  <a:lnTo>
                    <a:pt x="8227" y="346"/>
                  </a:lnTo>
                  <a:lnTo>
                    <a:pt x="8261" y="346"/>
                  </a:lnTo>
                  <a:lnTo>
                    <a:pt x="8296" y="346"/>
                  </a:lnTo>
                  <a:lnTo>
                    <a:pt x="8330" y="348"/>
                  </a:lnTo>
                  <a:lnTo>
                    <a:pt x="8363" y="352"/>
                  </a:lnTo>
                  <a:lnTo>
                    <a:pt x="8394" y="356"/>
                  </a:lnTo>
                  <a:lnTo>
                    <a:pt x="8425" y="363"/>
                  </a:lnTo>
                  <a:lnTo>
                    <a:pt x="8455" y="369"/>
                  </a:lnTo>
                  <a:lnTo>
                    <a:pt x="8483" y="377"/>
                  </a:lnTo>
                  <a:lnTo>
                    <a:pt x="8511" y="387"/>
                  </a:lnTo>
                  <a:lnTo>
                    <a:pt x="8537" y="397"/>
                  </a:lnTo>
                  <a:lnTo>
                    <a:pt x="8563" y="410"/>
                  </a:lnTo>
                  <a:lnTo>
                    <a:pt x="8587" y="422"/>
                  </a:lnTo>
                  <a:lnTo>
                    <a:pt x="8610" y="436"/>
                  </a:lnTo>
                  <a:lnTo>
                    <a:pt x="8632" y="451"/>
                  </a:lnTo>
                  <a:lnTo>
                    <a:pt x="8653" y="468"/>
                  </a:lnTo>
                  <a:lnTo>
                    <a:pt x="8672" y="485"/>
                  </a:lnTo>
                  <a:lnTo>
                    <a:pt x="8691" y="504"/>
                  </a:lnTo>
                  <a:lnTo>
                    <a:pt x="8709" y="523"/>
                  </a:lnTo>
                  <a:lnTo>
                    <a:pt x="8726" y="544"/>
                  </a:lnTo>
                  <a:lnTo>
                    <a:pt x="8741" y="566"/>
                  </a:lnTo>
                  <a:lnTo>
                    <a:pt x="8755" y="588"/>
                  </a:lnTo>
                  <a:lnTo>
                    <a:pt x="8767" y="613"/>
                  </a:lnTo>
                  <a:lnTo>
                    <a:pt x="8780" y="637"/>
                  </a:lnTo>
                  <a:lnTo>
                    <a:pt x="8791" y="663"/>
                  </a:lnTo>
                  <a:lnTo>
                    <a:pt x="8800" y="689"/>
                  </a:lnTo>
                  <a:lnTo>
                    <a:pt x="8809" y="718"/>
                  </a:lnTo>
                  <a:lnTo>
                    <a:pt x="8817" y="747"/>
                  </a:lnTo>
                  <a:lnTo>
                    <a:pt x="8823" y="776"/>
                  </a:lnTo>
                  <a:lnTo>
                    <a:pt x="8828" y="807"/>
                  </a:lnTo>
                  <a:lnTo>
                    <a:pt x="8832" y="838"/>
                  </a:lnTo>
                  <a:lnTo>
                    <a:pt x="8835" y="870"/>
                  </a:lnTo>
                  <a:lnTo>
                    <a:pt x="8837" y="904"/>
                  </a:lnTo>
                  <a:lnTo>
                    <a:pt x="8837" y="937"/>
                  </a:lnTo>
                  <a:lnTo>
                    <a:pt x="8837" y="972"/>
                  </a:lnTo>
                  <a:lnTo>
                    <a:pt x="8835" y="1005"/>
                  </a:lnTo>
                  <a:lnTo>
                    <a:pt x="8832" y="1037"/>
                  </a:lnTo>
                  <a:lnTo>
                    <a:pt x="8828" y="1069"/>
                  </a:lnTo>
                  <a:lnTo>
                    <a:pt x="8823" y="1100"/>
                  </a:lnTo>
                  <a:lnTo>
                    <a:pt x="8817" y="1129"/>
                  </a:lnTo>
                  <a:lnTo>
                    <a:pt x="8809" y="1158"/>
                  </a:lnTo>
                  <a:lnTo>
                    <a:pt x="8800" y="1186"/>
                  </a:lnTo>
                  <a:lnTo>
                    <a:pt x="8791" y="1212"/>
                  </a:lnTo>
                  <a:lnTo>
                    <a:pt x="8780" y="1239"/>
                  </a:lnTo>
                  <a:lnTo>
                    <a:pt x="8767" y="1263"/>
                  </a:lnTo>
                  <a:lnTo>
                    <a:pt x="8755" y="1287"/>
                  </a:lnTo>
                  <a:lnTo>
                    <a:pt x="8741" y="1310"/>
                  </a:lnTo>
                  <a:lnTo>
                    <a:pt x="8726" y="1332"/>
                  </a:lnTo>
                  <a:lnTo>
                    <a:pt x="8709" y="1352"/>
                  </a:lnTo>
                  <a:lnTo>
                    <a:pt x="8691" y="1371"/>
                  </a:lnTo>
                  <a:lnTo>
                    <a:pt x="8672" y="1391"/>
                  </a:lnTo>
                  <a:lnTo>
                    <a:pt x="8653" y="1408"/>
                  </a:lnTo>
                  <a:lnTo>
                    <a:pt x="8632" y="1424"/>
                  </a:lnTo>
                  <a:lnTo>
                    <a:pt x="8610" y="1440"/>
                  </a:lnTo>
                  <a:lnTo>
                    <a:pt x="8587" y="1453"/>
                  </a:lnTo>
                  <a:lnTo>
                    <a:pt x="8563" y="1466"/>
                  </a:lnTo>
                  <a:lnTo>
                    <a:pt x="8537" y="1479"/>
                  </a:lnTo>
                  <a:lnTo>
                    <a:pt x="8511" y="1489"/>
                  </a:lnTo>
                  <a:lnTo>
                    <a:pt x="8483" y="1498"/>
                  </a:lnTo>
                  <a:lnTo>
                    <a:pt x="8455" y="1506"/>
                  </a:lnTo>
                  <a:lnTo>
                    <a:pt x="8425" y="1513"/>
                  </a:lnTo>
                  <a:lnTo>
                    <a:pt x="8394" y="1519"/>
                  </a:lnTo>
                  <a:lnTo>
                    <a:pt x="8363" y="1523"/>
                  </a:lnTo>
                  <a:lnTo>
                    <a:pt x="8330" y="1527"/>
                  </a:lnTo>
                  <a:lnTo>
                    <a:pt x="8296" y="1529"/>
                  </a:lnTo>
                  <a:lnTo>
                    <a:pt x="8261" y="1530"/>
                  </a:lnTo>
                  <a:lnTo>
                    <a:pt x="8227" y="1529"/>
                  </a:lnTo>
                  <a:lnTo>
                    <a:pt x="8192" y="1527"/>
                  </a:lnTo>
                  <a:lnTo>
                    <a:pt x="8159" y="1523"/>
                  </a:lnTo>
                  <a:lnTo>
                    <a:pt x="8127" y="1519"/>
                  </a:lnTo>
                  <a:lnTo>
                    <a:pt x="8097" y="1513"/>
                  </a:lnTo>
                  <a:lnTo>
                    <a:pt x="8067" y="1506"/>
                  </a:lnTo>
                  <a:lnTo>
                    <a:pt x="8038" y="1498"/>
                  </a:lnTo>
                  <a:lnTo>
                    <a:pt x="8011" y="1489"/>
                  </a:lnTo>
                  <a:lnTo>
                    <a:pt x="7985" y="1479"/>
                  </a:lnTo>
                  <a:lnTo>
                    <a:pt x="7960" y="1466"/>
                  </a:lnTo>
                  <a:lnTo>
                    <a:pt x="7935" y="1453"/>
                  </a:lnTo>
                  <a:lnTo>
                    <a:pt x="7913" y="1440"/>
                  </a:lnTo>
                  <a:lnTo>
                    <a:pt x="7890" y="1424"/>
                  </a:lnTo>
                  <a:lnTo>
                    <a:pt x="7870" y="1408"/>
                  </a:lnTo>
                  <a:lnTo>
                    <a:pt x="7849" y="1391"/>
                  </a:lnTo>
                  <a:lnTo>
                    <a:pt x="7831" y="1371"/>
                  </a:lnTo>
                  <a:lnTo>
                    <a:pt x="7814" y="1352"/>
                  </a:lnTo>
                  <a:lnTo>
                    <a:pt x="7797" y="1332"/>
                  </a:lnTo>
                  <a:lnTo>
                    <a:pt x="7782" y="1310"/>
                  </a:lnTo>
                  <a:lnTo>
                    <a:pt x="7768" y="1287"/>
                  </a:lnTo>
                  <a:lnTo>
                    <a:pt x="7754" y="1263"/>
                  </a:lnTo>
                  <a:lnTo>
                    <a:pt x="7742" y="1239"/>
                  </a:lnTo>
                  <a:lnTo>
                    <a:pt x="7732" y="1212"/>
                  </a:lnTo>
                  <a:lnTo>
                    <a:pt x="7722" y="1186"/>
                  </a:lnTo>
                  <a:lnTo>
                    <a:pt x="7713" y="1158"/>
                  </a:lnTo>
                  <a:lnTo>
                    <a:pt x="7705" y="1129"/>
                  </a:lnTo>
                  <a:lnTo>
                    <a:pt x="7699" y="1100"/>
                  </a:lnTo>
                  <a:lnTo>
                    <a:pt x="7694" y="1069"/>
                  </a:lnTo>
                  <a:lnTo>
                    <a:pt x="7690" y="1037"/>
                  </a:lnTo>
                  <a:lnTo>
                    <a:pt x="7687" y="1005"/>
                  </a:lnTo>
                  <a:lnTo>
                    <a:pt x="7686" y="972"/>
                  </a:lnTo>
                  <a:lnTo>
                    <a:pt x="7685" y="937"/>
                  </a:lnTo>
                  <a:close/>
                  <a:moveTo>
                    <a:pt x="11388" y="479"/>
                  </a:moveTo>
                  <a:lnTo>
                    <a:pt x="11371" y="449"/>
                  </a:lnTo>
                  <a:lnTo>
                    <a:pt x="11352" y="422"/>
                  </a:lnTo>
                  <a:lnTo>
                    <a:pt x="11333" y="394"/>
                  </a:lnTo>
                  <a:lnTo>
                    <a:pt x="11313" y="368"/>
                  </a:lnTo>
                  <a:lnTo>
                    <a:pt x="11293" y="342"/>
                  </a:lnTo>
                  <a:lnTo>
                    <a:pt x="11271" y="318"/>
                  </a:lnTo>
                  <a:lnTo>
                    <a:pt x="11250" y="294"/>
                  </a:lnTo>
                  <a:lnTo>
                    <a:pt x="11227" y="272"/>
                  </a:lnTo>
                  <a:lnTo>
                    <a:pt x="11204" y="249"/>
                  </a:lnTo>
                  <a:lnTo>
                    <a:pt x="11180" y="229"/>
                  </a:lnTo>
                  <a:lnTo>
                    <a:pt x="11156" y="208"/>
                  </a:lnTo>
                  <a:lnTo>
                    <a:pt x="11130" y="189"/>
                  </a:lnTo>
                  <a:lnTo>
                    <a:pt x="11105" y="172"/>
                  </a:lnTo>
                  <a:lnTo>
                    <a:pt x="11077" y="154"/>
                  </a:lnTo>
                  <a:lnTo>
                    <a:pt x="11051" y="137"/>
                  </a:lnTo>
                  <a:lnTo>
                    <a:pt x="11022" y="122"/>
                  </a:lnTo>
                  <a:lnTo>
                    <a:pt x="10993" y="107"/>
                  </a:lnTo>
                  <a:lnTo>
                    <a:pt x="10964" y="93"/>
                  </a:lnTo>
                  <a:lnTo>
                    <a:pt x="10934" y="81"/>
                  </a:lnTo>
                  <a:lnTo>
                    <a:pt x="10903" y="69"/>
                  </a:lnTo>
                  <a:lnTo>
                    <a:pt x="10872" y="58"/>
                  </a:lnTo>
                  <a:lnTo>
                    <a:pt x="10840" y="48"/>
                  </a:lnTo>
                  <a:lnTo>
                    <a:pt x="10807" y="39"/>
                  </a:lnTo>
                  <a:lnTo>
                    <a:pt x="10774" y="31"/>
                  </a:lnTo>
                  <a:lnTo>
                    <a:pt x="10740" y="24"/>
                  </a:lnTo>
                  <a:lnTo>
                    <a:pt x="10705" y="18"/>
                  </a:lnTo>
                  <a:lnTo>
                    <a:pt x="10669" y="12"/>
                  </a:lnTo>
                  <a:lnTo>
                    <a:pt x="10633" y="8"/>
                  </a:lnTo>
                  <a:lnTo>
                    <a:pt x="10597" y="4"/>
                  </a:lnTo>
                  <a:lnTo>
                    <a:pt x="10559" y="2"/>
                  </a:lnTo>
                  <a:lnTo>
                    <a:pt x="10521" y="1"/>
                  </a:lnTo>
                  <a:lnTo>
                    <a:pt x="10482" y="0"/>
                  </a:lnTo>
                  <a:lnTo>
                    <a:pt x="10429" y="1"/>
                  </a:lnTo>
                  <a:lnTo>
                    <a:pt x="10378" y="4"/>
                  </a:lnTo>
                  <a:lnTo>
                    <a:pt x="10327" y="9"/>
                  </a:lnTo>
                  <a:lnTo>
                    <a:pt x="10277" y="17"/>
                  </a:lnTo>
                  <a:lnTo>
                    <a:pt x="10229" y="26"/>
                  </a:lnTo>
                  <a:lnTo>
                    <a:pt x="10181" y="37"/>
                  </a:lnTo>
                  <a:lnTo>
                    <a:pt x="10133" y="50"/>
                  </a:lnTo>
                  <a:lnTo>
                    <a:pt x="10087" y="66"/>
                  </a:lnTo>
                  <a:lnTo>
                    <a:pt x="10043" y="82"/>
                  </a:lnTo>
                  <a:lnTo>
                    <a:pt x="10001" y="101"/>
                  </a:lnTo>
                  <a:lnTo>
                    <a:pt x="9959" y="122"/>
                  </a:lnTo>
                  <a:lnTo>
                    <a:pt x="9918" y="144"/>
                  </a:lnTo>
                  <a:lnTo>
                    <a:pt x="9879" y="169"/>
                  </a:lnTo>
                  <a:lnTo>
                    <a:pt x="9841" y="195"/>
                  </a:lnTo>
                  <a:lnTo>
                    <a:pt x="9805" y="223"/>
                  </a:lnTo>
                  <a:lnTo>
                    <a:pt x="9771" y="252"/>
                  </a:lnTo>
                  <a:lnTo>
                    <a:pt x="9738" y="283"/>
                  </a:lnTo>
                  <a:lnTo>
                    <a:pt x="9706" y="316"/>
                  </a:lnTo>
                  <a:lnTo>
                    <a:pt x="9677" y="350"/>
                  </a:lnTo>
                  <a:lnTo>
                    <a:pt x="9650" y="387"/>
                  </a:lnTo>
                  <a:lnTo>
                    <a:pt x="9623" y="425"/>
                  </a:lnTo>
                  <a:lnTo>
                    <a:pt x="9600" y="464"/>
                  </a:lnTo>
                  <a:lnTo>
                    <a:pt x="9578" y="505"/>
                  </a:lnTo>
                  <a:lnTo>
                    <a:pt x="9559" y="547"/>
                  </a:lnTo>
                  <a:lnTo>
                    <a:pt x="9540" y="591"/>
                  </a:lnTo>
                  <a:lnTo>
                    <a:pt x="9525" y="636"/>
                  </a:lnTo>
                  <a:lnTo>
                    <a:pt x="9512" y="683"/>
                  </a:lnTo>
                  <a:lnTo>
                    <a:pt x="9502" y="731"/>
                  </a:lnTo>
                  <a:lnTo>
                    <a:pt x="9492" y="781"/>
                  </a:lnTo>
                  <a:lnTo>
                    <a:pt x="9486" y="832"/>
                  </a:lnTo>
                  <a:lnTo>
                    <a:pt x="9483" y="884"/>
                  </a:lnTo>
                  <a:lnTo>
                    <a:pt x="9481" y="937"/>
                  </a:lnTo>
                  <a:lnTo>
                    <a:pt x="9482" y="992"/>
                  </a:lnTo>
                  <a:lnTo>
                    <a:pt x="9486" y="1044"/>
                  </a:lnTo>
                  <a:lnTo>
                    <a:pt x="9492" y="1095"/>
                  </a:lnTo>
                  <a:lnTo>
                    <a:pt x="9501" y="1144"/>
                  </a:lnTo>
                  <a:lnTo>
                    <a:pt x="9512" y="1193"/>
                  </a:lnTo>
                  <a:lnTo>
                    <a:pt x="9525" y="1240"/>
                  </a:lnTo>
                  <a:lnTo>
                    <a:pt x="9539" y="1285"/>
                  </a:lnTo>
                  <a:lnTo>
                    <a:pt x="9557" y="1328"/>
                  </a:lnTo>
                  <a:lnTo>
                    <a:pt x="9576" y="1370"/>
                  </a:lnTo>
                  <a:lnTo>
                    <a:pt x="9598" y="1411"/>
                  </a:lnTo>
                  <a:lnTo>
                    <a:pt x="9621" y="1451"/>
                  </a:lnTo>
                  <a:lnTo>
                    <a:pt x="9647" y="1489"/>
                  </a:lnTo>
                  <a:lnTo>
                    <a:pt x="9674" y="1524"/>
                  </a:lnTo>
                  <a:lnTo>
                    <a:pt x="9703" y="1559"/>
                  </a:lnTo>
                  <a:lnTo>
                    <a:pt x="9734" y="1592"/>
                  </a:lnTo>
                  <a:lnTo>
                    <a:pt x="9766" y="1624"/>
                  </a:lnTo>
                  <a:lnTo>
                    <a:pt x="9801" y="1653"/>
                  </a:lnTo>
                  <a:lnTo>
                    <a:pt x="9837" y="1681"/>
                  </a:lnTo>
                  <a:lnTo>
                    <a:pt x="9875" y="1707"/>
                  </a:lnTo>
                  <a:lnTo>
                    <a:pt x="9914" y="1731"/>
                  </a:lnTo>
                  <a:lnTo>
                    <a:pt x="9954" y="1753"/>
                  </a:lnTo>
                  <a:lnTo>
                    <a:pt x="9995" y="1775"/>
                  </a:lnTo>
                  <a:lnTo>
                    <a:pt x="10039" y="1793"/>
                  </a:lnTo>
                  <a:lnTo>
                    <a:pt x="10083" y="1810"/>
                  </a:lnTo>
                  <a:lnTo>
                    <a:pt x="10129" y="1826"/>
                  </a:lnTo>
                  <a:lnTo>
                    <a:pt x="10176" y="1838"/>
                  </a:lnTo>
                  <a:lnTo>
                    <a:pt x="10224" y="1849"/>
                  </a:lnTo>
                  <a:lnTo>
                    <a:pt x="10275" y="1858"/>
                  </a:lnTo>
                  <a:lnTo>
                    <a:pt x="10325" y="1865"/>
                  </a:lnTo>
                  <a:lnTo>
                    <a:pt x="10376" y="1871"/>
                  </a:lnTo>
                  <a:lnTo>
                    <a:pt x="10428" y="1875"/>
                  </a:lnTo>
                  <a:lnTo>
                    <a:pt x="10482" y="1876"/>
                  </a:lnTo>
                  <a:lnTo>
                    <a:pt x="10521" y="1875"/>
                  </a:lnTo>
                  <a:lnTo>
                    <a:pt x="10559" y="1874"/>
                  </a:lnTo>
                  <a:lnTo>
                    <a:pt x="10597" y="1871"/>
                  </a:lnTo>
                  <a:lnTo>
                    <a:pt x="10633" y="1868"/>
                  </a:lnTo>
                  <a:lnTo>
                    <a:pt x="10669" y="1863"/>
                  </a:lnTo>
                  <a:lnTo>
                    <a:pt x="10705" y="1858"/>
                  </a:lnTo>
                  <a:lnTo>
                    <a:pt x="10740" y="1852"/>
                  </a:lnTo>
                  <a:lnTo>
                    <a:pt x="10774" y="1845"/>
                  </a:lnTo>
                  <a:lnTo>
                    <a:pt x="10807" y="1837"/>
                  </a:lnTo>
                  <a:lnTo>
                    <a:pt x="10840" y="1828"/>
                  </a:lnTo>
                  <a:lnTo>
                    <a:pt x="10872" y="1817"/>
                  </a:lnTo>
                  <a:lnTo>
                    <a:pt x="10903" y="1806"/>
                  </a:lnTo>
                  <a:lnTo>
                    <a:pt x="10934" y="1795"/>
                  </a:lnTo>
                  <a:lnTo>
                    <a:pt x="10964" y="1782"/>
                  </a:lnTo>
                  <a:lnTo>
                    <a:pt x="10993" y="1768"/>
                  </a:lnTo>
                  <a:lnTo>
                    <a:pt x="11022" y="1753"/>
                  </a:lnTo>
                  <a:lnTo>
                    <a:pt x="11051" y="1738"/>
                  </a:lnTo>
                  <a:lnTo>
                    <a:pt x="11077" y="1722"/>
                  </a:lnTo>
                  <a:lnTo>
                    <a:pt x="11105" y="1704"/>
                  </a:lnTo>
                  <a:lnTo>
                    <a:pt x="11130" y="1686"/>
                  </a:lnTo>
                  <a:lnTo>
                    <a:pt x="11156" y="1666"/>
                  </a:lnTo>
                  <a:lnTo>
                    <a:pt x="11180" y="1647"/>
                  </a:lnTo>
                  <a:lnTo>
                    <a:pt x="11204" y="1626"/>
                  </a:lnTo>
                  <a:lnTo>
                    <a:pt x="11227" y="1604"/>
                  </a:lnTo>
                  <a:lnTo>
                    <a:pt x="11250" y="1581"/>
                  </a:lnTo>
                  <a:lnTo>
                    <a:pt x="11271" y="1557"/>
                  </a:lnTo>
                  <a:lnTo>
                    <a:pt x="11293" y="1533"/>
                  </a:lnTo>
                  <a:lnTo>
                    <a:pt x="11313" y="1507"/>
                  </a:lnTo>
                  <a:lnTo>
                    <a:pt x="11333" y="1481"/>
                  </a:lnTo>
                  <a:lnTo>
                    <a:pt x="11352" y="1454"/>
                  </a:lnTo>
                  <a:lnTo>
                    <a:pt x="11371" y="1425"/>
                  </a:lnTo>
                  <a:lnTo>
                    <a:pt x="11388" y="1397"/>
                  </a:lnTo>
                  <a:lnTo>
                    <a:pt x="11074" y="1216"/>
                  </a:lnTo>
                  <a:lnTo>
                    <a:pt x="11061" y="1234"/>
                  </a:lnTo>
                  <a:lnTo>
                    <a:pt x="11048" y="1251"/>
                  </a:lnTo>
                  <a:lnTo>
                    <a:pt x="11034" y="1268"/>
                  </a:lnTo>
                  <a:lnTo>
                    <a:pt x="11021" y="1285"/>
                  </a:lnTo>
                  <a:lnTo>
                    <a:pt x="11007" y="1300"/>
                  </a:lnTo>
                  <a:lnTo>
                    <a:pt x="10992" y="1315"/>
                  </a:lnTo>
                  <a:lnTo>
                    <a:pt x="10978" y="1330"/>
                  </a:lnTo>
                  <a:lnTo>
                    <a:pt x="10963" y="1345"/>
                  </a:lnTo>
                  <a:lnTo>
                    <a:pt x="10948" y="1358"/>
                  </a:lnTo>
                  <a:lnTo>
                    <a:pt x="10932" y="1371"/>
                  </a:lnTo>
                  <a:lnTo>
                    <a:pt x="10917" y="1384"/>
                  </a:lnTo>
                  <a:lnTo>
                    <a:pt x="10900" y="1396"/>
                  </a:lnTo>
                  <a:lnTo>
                    <a:pt x="10883" y="1408"/>
                  </a:lnTo>
                  <a:lnTo>
                    <a:pt x="10866" y="1418"/>
                  </a:lnTo>
                  <a:lnTo>
                    <a:pt x="10848" y="1429"/>
                  </a:lnTo>
                  <a:lnTo>
                    <a:pt x="10831" y="1439"/>
                  </a:lnTo>
                  <a:lnTo>
                    <a:pt x="10812" y="1448"/>
                  </a:lnTo>
                  <a:lnTo>
                    <a:pt x="10793" y="1457"/>
                  </a:lnTo>
                  <a:lnTo>
                    <a:pt x="10774" y="1465"/>
                  </a:lnTo>
                  <a:lnTo>
                    <a:pt x="10754" y="1472"/>
                  </a:lnTo>
                  <a:lnTo>
                    <a:pt x="10734" y="1480"/>
                  </a:lnTo>
                  <a:lnTo>
                    <a:pt x="10713" y="1486"/>
                  </a:lnTo>
                  <a:lnTo>
                    <a:pt x="10692" y="1492"/>
                  </a:lnTo>
                  <a:lnTo>
                    <a:pt x="10670" y="1497"/>
                  </a:lnTo>
                  <a:lnTo>
                    <a:pt x="10648" y="1501"/>
                  </a:lnTo>
                  <a:lnTo>
                    <a:pt x="10624" y="1505"/>
                  </a:lnTo>
                  <a:lnTo>
                    <a:pt x="10601" y="1508"/>
                  </a:lnTo>
                  <a:lnTo>
                    <a:pt x="10577" y="1511"/>
                  </a:lnTo>
                  <a:lnTo>
                    <a:pt x="10553" y="1513"/>
                  </a:lnTo>
                  <a:lnTo>
                    <a:pt x="10527" y="1515"/>
                  </a:lnTo>
                  <a:lnTo>
                    <a:pt x="10502" y="1516"/>
                  </a:lnTo>
                  <a:lnTo>
                    <a:pt x="10475" y="1516"/>
                  </a:lnTo>
                  <a:lnTo>
                    <a:pt x="10442" y="1515"/>
                  </a:lnTo>
                  <a:lnTo>
                    <a:pt x="10411" y="1513"/>
                  </a:lnTo>
                  <a:lnTo>
                    <a:pt x="10380" y="1510"/>
                  </a:lnTo>
                  <a:lnTo>
                    <a:pt x="10349" y="1506"/>
                  </a:lnTo>
                  <a:lnTo>
                    <a:pt x="10320" y="1500"/>
                  </a:lnTo>
                  <a:lnTo>
                    <a:pt x="10291" y="1493"/>
                  </a:lnTo>
                  <a:lnTo>
                    <a:pt x="10262" y="1485"/>
                  </a:lnTo>
                  <a:lnTo>
                    <a:pt x="10235" y="1474"/>
                  </a:lnTo>
                  <a:lnTo>
                    <a:pt x="10208" y="1464"/>
                  </a:lnTo>
                  <a:lnTo>
                    <a:pt x="10183" y="1452"/>
                  </a:lnTo>
                  <a:lnTo>
                    <a:pt x="10158" y="1439"/>
                  </a:lnTo>
                  <a:lnTo>
                    <a:pt x="10134" y="1424"/>
                  </a:lnTo>
                  <a:lnTo>
                    <a:pt x="10111" y="1409"/>
                  </a:lnTo>
                  <a:lnTo>
                    <a:pt x="10090" y="1393"/>
                  </a:lnTo>
                  <a:lnTo>
                    <a:pt x="10068" y="1375"/>
                  </a:lnTo>
                  <a:lnTo>
                    <a:pt x="10048" y="1357"/>
                  </a:lnTo>
                  <a:lnTo>
                    <a:pt x="10029" y="1338"/>
                  </a:lnTo>
                  <a:lnTo>
                    <a:pt x="10011" y="1317"/>
                  </a:lnTo>
                  <a:lnTo>
                    <a:pt x="9994" y="1295"/>
                  </a:lnTo>
                  <a:lnTo>
                    <a:pt x="9978" y="1273"/>
                  </a:lnTo>
                  <a:lnTo>
                    <a:pt x="9964" y="1250"/>
                  </a:lnTo>
                  <a:lnTo>
                    <a:pt x="9949" y="1225"/>
                  </a:lnTo>
                  <a:lnTo>
                    <a:pt x="9937" y="1200"/>
                  </a:lnTo>
                  <a:lnTo>
                    <a:pt x="9926" y="1174"/>
                  </a:lnTo>
                  <a:lnTo>
                    <a:pt x="9917" y="1148"/>
                  </a:lnTo>
                  <a:lnTo>
                    <a:pt x="9908" y="1119"/>
                  </a:lnTo>
                  <a:lnTo>
                    <a:pt x="9900" y="1092"/>
                  </a:lnTo>
                  <a:lnTo>
                    <a:pt x="9894" y="1062"/>
                  </a:lnTo>
                  <a:lnTo>
                    <a:pt x="9889" y="1032"/>
                  </a:lnTo>
                  <a:lnTo>
                    <a:pt x="9886" y="1002"/>
                  </a:lnTo>
                  <a:lnTo>
                    <a:pt x="9884" y="970"/>
                  </a:lnTo>
                  <a:lnTo>
                    <a:pt x="9883" y="937"/>
                  </a:lnTo>
                  <a:lnTo>
                    <a:pt x="9884" y="905"/>
                  </a:lnTo>
                  <a:lnTo>
                    <a:pt x="9886" y="873"/>
                  </a:lnTo>
                  <a:lnTo>
                    <a:pt x="9889" y="842"/>
                  </a:lnTo>
                  <a:lnTo>
                    <a:pt x="9893" y="812"/>
                  </a:lnTo>
                  <a:lnTo>
                    <a:pt x="9899" y="782"/>
                  </a:lnTo>
                  <a:lnTo>
                    <a:pt x="9906" y="754"/>
                  </a:lnTo>
                  <a:lnTo>
                    <a:pt x="9916" y="726"/>
                  </a:lnTo>
                  <a:lnTo>
                    <a:pt x="9925" y="699"/>
                  </a:lnTo>
                  <a:lnTo>
                    <a:pt x="9936" y="673"/>
                  </a:lnTo>
                  <a:lnTo>
                    <a:pt x="9947" y="647"/>
                  </a:lnTo>
                  <a:lnTo>
                    <a:pt x="9961" y="623"/>
                  </a:lnTo>
                  <a:lnTo>
                    <a:pt x="9976" y="599"/>
                  </a:lnTo>
                  <a:lnTo>
                    <a:pt x="9991" y="577"/>
                  </a:lnTo>
                  <a:lnTo>
                    <a:pt x="10008" y="556"/>
                  </a:lnTo>
                  <a:lnTo>
                    <a:pt x="10025" y="535"/>
                  </a:lnTo>
                  <a:lnTo>
                    <a:pt x="10045" y="516"/>
                  </a:lnTo>
                  <a:lnTo>
                    <a:pt x="10064" y="498"/>
                  </a:lnTo>
                  <a:lnTo>
                    <a:pt x="10085" y="481"/>
                  </a:lnTo>
                  <a:lnTo>
                    <a:pt x="10107" y="465"/>
                  </a:lnTo>
                  <a:lnTo>
                    <a:pt x="10129" y="449"/>
                  </a:lnTo>
                  <a:lnTo>
                    <a:pt x="10154" y="435"/>
                  </a:lnTo>
                  <a:lnTo>
                    <a:pt x="10178" y="422"/>
                  </a:lnTo>
                  <a:lnTo>
                    <a:pt x="10204" y="411"/>
                  </a:lnTo>
                  <a:lnTo>
                    <a:pt x="10231" y="400"/>
                  </a:lnTo>
                  <a:lnTo>
                    <a:pt x="10258" y="390"/>
                  </a:lnTo>
                  <a:lnTo>
                    <a:pt x="10287" y="382"/>
                  </a:lnTo>
                  <a:lnTo>
                    <a:pt x="10316" y="375"/>
                  </a:lnTo>
                  <a:lnTo>
                    <a:pt x="10346" y="370"/>
                  </a:lnTo>
                  <a:lnTo>
                    <a:pt x="10378" y="365"/>
                  </a:lnTo>
                  <a:lnTo>
                    <a:pt x="10410" y="362"/>
                  </a:lnTo>
                  <a:lnTo>
                    <a:pt x="10442" y="360"/>
                  </a:lnTo>
                  <a:lnTo>
                    <a:pt x="10475" y="360"/>
                  </a:lnTo>
                  <a:lnTo>
                    <a:pt x="10502" y="360"/>
                  </a:lnTo>
                  <a:lnTo>
                    <a:pt x="10527" y="361"/>
                  </a:lnTo>
                  <a:lnTo>
                    <a:pt x="10553" y="362"/>
                  </a:lnTo>
                  <a:lnTo>
                    <a:pt x="10577" y="364"/>
                  </a:lnTo>
                  <a:lnTo>
                    <a:pt x="10601" y="367"/>
                  </a:lnTo>
                  <a:lnTo>
                    <a:pt x="10624" y="370"/>
                  </a:lnTo>
                  <a:lnTo>
                    <a:pt x="10648" y="374"/>
                  </a:lnTo>
                  <a:lnTo>
                    <a:pt x="10670" y="379"/>
                  </a:lnTo>
                  <a:lnTo>
                    <a:pt x="10692" y="384"/>
                  </a:lnTo>
                  <a:lnTo>
                    <a:pt x="10713" y="390"/>
                  </a:lnTo>
                  <a:lnTo>
                    <a:pt x="10734" y="396"/>
                  </a:lnTo>
                  <a:lnTo>
                    <a:pt x="10754" y="403"/>
                  </a:lnTo>
                  <a:lnTo>
                    <a:pt x="10774" y="411"/>
                  </a:lnTo>
                  <a:lnTo>
                    <a:pt x="10793" y="419"/>
                  </a:lnTo>
                  <a:lnTo>
                    <a:pt x="10812" y="427"/>
                  </a:lnTo>
                  <a:lnTo>
                    <a:pt x="10831" y="437"/>
                  </a:lnTo>
                  <a:lnTo>
                    <a:pt x="10848" y="446"/>
                  </a:lnTo>
                  <a:lnTo>
                    <a:pt x="10866" y="457"/>
                  </a:lnTo>
                  <a:lnTo>
                    <a:pt x="10883" y="468"/>
                  </a:lnTo>
                  <a:lnTo>
                    <a:pt x="10900" y="479"/>
                  </a:lnTo>
                  <a:lnTo>
                    <a:pt x="10917" y="491"/>
                  </a:lnTo>
                  <a:lnTo>
                    <a:pt x="10932" y="505"/>
                  </a:lnTo>
                  <a:lnTo>
                    <a:pt x="10948" y="517"/>
                  </a:lnTo>
                  <a:lnTo>
                    <a:pt x="10963" y="531"/>
                  </a:lnTo>
                  <a:lnTo>
                    <a:pt x="10978" y="545"/>
                  </a:lnTo>
                  <a:lnTo>
                    <a:pt x="10992" y="560"/>
                  </a:lnTo>
                  <a:lnTo>
                    <a:pt x="11007" y="575"/>
                  </a:lnTo>
                  <a:lnTo>
                    <a:pt x="11021" y="591"/>
                  </a:lnTo>
                  <a:lnTo>
                    <a:pt x="11034" y="608"/>
                  </a:lnTo>
                  <a:lnTo>
                    <a:pt x="11048" y="624"/>
                  </a:lnTo>
                  <a:lnTo>
                    <a:pt x="11061" y="641"/>
                  </a:lnTo>
                  <a:lnTo>
                    <a:pt x="11074" y="660"/>
                  </a:lnTo>
                  <a:lnTo>
                    <a:pt x="11388" y="479"/>
                  </a:lnTo>
                  <a:close/>
                </a:path>
              </a:pathLst>
            </a:custGeom>
            <a:solidFill>
              <a:srgbClr val="59595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450850" y="6383338"/>
              <a:ext cx="296863" cy="288925"/>
            </a:xfrm>
            <a:custGeom>
              <a:avLst/>
              <a:gdLst>
                <a:gd name="T0" fmla="*/ 1863 w 3551"/>
                <a:gd name="T1" fmla="*/ 1342 h 3458"/>
                <a:gd name="T2" fmla="*/ 1837 w 3551"/>
                <a:gd name="T3" fmla="*/ 1357 h 3458"/>
                <a:gd name="T4" fmla="*/ 1805 w 3551"/>
                <a:gd name="T5" fmla="*/ 1355 h 3458"/>
                <a:gd name="T6" fmla="*/ 1110 w 3551"/>
                <a:gd name="T7" fmla="*/ 1073 h 3458"/>
                <a:gd name="T8" fmla="*/ 1077 w 3551"/>
                <a:gd name="T9" fmla="*/ 1014 h 3458"/>
                <a:gd name="T10" fmla="*/ 1211 w 3551"/>
                <a:gd name="T11" fmla="*/ 142 h 3458"/>
                <a:gd name="T12" fmla="*/ 1237 w 3551"/>
                <a:gd name="T13" fmla="*/ 78 h 3458"/>
                <a:gd name="T14" fmla="*/ 1293 w 3551"/>
                <a:gd name="T15" fmla="*/ 37 h 3458"/>
                <a:gd name="T16" fmla="*/ 2037 w 3551"/>
                <a:gd name="T17" fmla="*/ 0 h 3458"/>
                <a:gd name="T18" fmla="*/ 2066 w 3551"/>
                <a:gd name="T19" fmla="*/ 11 h 3458"/>
                <a:gd name="T20" fmla="*/ 2083 w 3551"/>
                <a:gd name="T21" fmla="*/ 37 h 3458"/>
                <a:gd name="T22" fmla="*/ 1407 w 3551"/>
                <a:gd name="T23" fmla="*/ 1560 h 3458"/>
                <a:gd name="T24" fmla="*/ 1424 w 3551"/>
                <a:gd name="T25" fmla="*/ 1585 h 3458"/>
                <a:gd name="T26" fmla="*/ 1421 w 3551"/>
                <a:gd name="T27" fmla="*/ 1616 h 3458"/>
                <a:gd name="T28" fmla="*/ 963 w 3551"/>
                <a:gd name="T29" fmla="*/ 2181 h 3458"/>
                <a:gd name="T30" fmla="*/ 898 w 3551"/>
                <a:gd name="T31" fmla="*/ 2217 h 3458"/>
                <a:gd name="T32" fmla="*/ 830 w 3551"/>
                <a:gd name="T33" fmla="*/ 2210 h 3458"/>
                <a:gd name="T34" fmla="*/ 45 w 3551"/>
                <a:gd name="T35" fmla="*/ 1803 h 3458"/>
                <a:gd name="T36" fmla="*/ 6 w 3551"/>
                <a:gd name="T37" fmla="*/ 1748 h 3458"/>
                <a:gd name="T38" fmla="*/ 4 w 3551"/>
                <a:gd name="T39" fmla="*/ 1670 h 3458"/>
                <a:gd name="T40" fmla="*/ 201 w 3551"/>
                <a:gd name="T41" fmla="*/ 980 h 3458"/>
                <a:gd name="T42" fmla="*/ 227 w 3551"/>
                <a:gd name="T43" fmla="*/ 963 h 3458"/>
                <a:gd name="T44" fmla="*/ 257 w 3551"/>
                <a:gd name="T45" fmla="*/ 967 h 3458"/>
                <a:gd name="T46" fmla="*/ 1499 w 3551"/>
                <a:gd name="T47" fmla="*/ 2063 h 3458"/>
                <a:gd name="T48" fmla="*/ 1530 w 3551"/>
                <a:gd name="T49" fmla="*/ 2065 h 3458"/>
                <a:gd name="T50" fmla="*/ 1554 w 3551"/>
                <a:gd name="T51" fmla="*/ 2086 h 3458"/>
                <a:gd name="T52" fmla="*/ 1951 w 3551"/>
                <a:gd name="T53" fmla="*/ 2722 h 3458"/>
                <a:gd name="T54" fmla="*/ 1944 w 3551"/>
                <a:gd name="T55" fmla="*/ 2790 h 3458"/>
                <a:gd name="T56" fmla="*/ 1322 w 3551"/>
                <a:gd name="T57" fmla="*/ 3416 h 3458"/>
                <a:gd name="T58" fmla="*/ 1263 w 3551"/>
                <a:gd name="T59" fmla="*/ 3453 h 3458"/>
                <a:gd name="T60" fmla="*/ 1193 w 3551"/>
                <a:gd name="T61" fmla="*/ 3453 h 3458"/>
                <a:gd name="T62" fmla="*/ 571 w 3551"/>
                <a:gd name="T63" fmla="*/ 3048 h 3458"/>
                <a:gd name="T64" fmla="*/ 552 w 3551"/>
                <a:gd name="T65" fmla="*/ 3021 h 3458"/>
                <a:gd name="T66" fmla="*/ 554 w 3551"/>
                <a:gd name="T67" fmla="*/ 2990 h 3458"/>
                <a:gd name="T68" fmla="*/ 1998 w 3551"/>
                <a:gd name="T69" fmla="*/ 2153 h 3458"/>
                <a:gd name="T70" fmla="*/ 1999 w 3551"/>
                <a:gd name="T71" fmla="*/ 2123 h 3458"/>
                <a:gd name="T72" fmla="*/ 2019 w 3551"/>
                <a:gd name="T73" fmla="*/ 2099 h 3458"/>
                <a:gd name="T74" fmla="*/ 2722 w 3551"/>
                <a:gd name="T75" fmla="*/ 1907 h 3458"/>
                <a:gd name="T76" fmla="*/ 2795 w 3551"/>
                <a:gd name="T77" fmla="*/ 1917 h 3458"/>
                <a:gd name="T78" fmla="*/ 2847 w 3551"/>
                <a:gd name="T79" fmla="*/ 1961 h 3458"/>
                <a:gd name="T80" fmla="*/ 3246 w 3551"/>
                <a:gd name="T81" fmla="*/ 2750 h 3458"/>
                <a:gd name="T82" fmla="*/ 3244 w 3551"/>
                <a:gd name="T83" fmla="*/ 2818 h 3458"/>
                <a:gd name="T84" fmla="*/ 3201 w 3551"/>
                <a:gd name="T85" fmla="*/ 2882 h 3458"/>
                <a:gd name="T86" fmla="*/ 2638 w 3551"/>
                <a:gd name="T87" fmla="*/ 3327 h 3458"/>
                <a:gd name="T88" fmla="*/ 2607 w 3551"/>
                <a:gd name="T89" fmla="*/ 3326 h 3458"/>
                <a:gd name="T90" fmla="*/ 2584 w 3551"/>
                <a:gd name="T91" fmla="*/ 3306 h 3458"/>
                <a:gd name="T92" fmla="*/ 2218 w 3551"/>
                <a:gd name="T93" fmla="*/ 1693 h 3458"/>
                <a:gd name="T94" fmla="*/ 2195 w 3551"/>
                <a:gd name="T95" fmla="*/ 1673 h 3458"/>
                <a:gd name="T96" fmla="*/ 2188 w 3551"/>
                <a:gd name="T97" fmla="*/ 1642 h 3458"/>
                <a:gd name="T98" fmla="*/ 2241 w 3551"/>
                <a:gd name="T99" fmla="*/ 895 h 3458"/>
                <a:gd name="T100" fmla="*/ 2287 w 3551"/>
                <a:gd name="T101" fmla="*/ 844 h 3458"/>
                <a:gd name="T102" fmla="*/ 3158 w 3551"/>
                <a:gd name="T103" fmla="*/ 702 h 3458"/>
                <a:gd name="T104" fmla="*/ 3228 w 3551"/>
                <a:gd name="T105" fmla="*/ 709 h 3458"/>
                <a:gd name="T106" fmla="*/ 3285 w 3551"/>
                <a:gd name="T107" fmla="*/ 749 h 3458"/>
                <a:gd name="T108" fmla="*/ 3549 w 3551"/>
                <a:gd name="T109" fmla="*/ 1444 h 3458"/>
                <a:gd name="T110" fmla="*/ 3548 w 3551"/>
                <a:gd name="T111" fmla="*/ 1475 h 3458"/>
                <a:gd name="T112" fmla="*/ 3528 w 3551"/>
                <a:gd name="T113" fmla="*/ 1499 h 3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51" h="3458">
                  <a:moveTo>
                    <a:pt x="2083" y="52"/>
                  </a:moveTo>
                  <a:lnTo>
                    <a:pt x="1871" y="1322"/>
                  </a:lnTo>
                  <a:lnTo>
                    <a:pt x="1870" y="1327"/>
                  </a:lnTo>
                  <a:lnTo>
                    <a:pt x="1868" y="1332"/>
                  </a:lnTo>
                  <a:lnTo>
                    <a:pt x="1866" y="1337"/>
                  </a:lnTo>
                  <a:lnTo>
                    <a:pt x="1863" y="1342"/>
                  </a:lnTo>
                  <a:lnTo>
                    <a:pt x="1859" y="1346"/>
                  </a:lnTo>
                  <a:lnTo>
                    <a:pt x="1856" y="1349"/>
                  </a:lnTo>
                  <a:lnTo>
                    <a:pt x="1852" y="1352"/>
                  </a:lnTo>
                  <a:lnTo>
                    <a:pt x="1847" y="1354"/>
                  </a:lnTo>
                  <a:lnTo>
                    <a:pt x="1842" y="1356"/>
                  </a:lnTo>
                  <a:lnTo>
                    <a:pt x="1837" y="1357"/>
                  </a:lnTo>
                  <a:lnTo>
                    <a:pt x="1832" y="1358"/>
                  </a:lnTo>
                  <a:lnTo>
                    <a:pt x="1827" y="1359"/>
                  </a:lnTo>
                  <a:lnTo>
                    <a:pt x="1821" y="1358"/>
                  </a:lnTo>
                  <a:lnTo>
                    <a:pt x="1816" y="1358"/>
                  </a:lnTo>
                  <a:lnTo>
                    <a:pt x="1811" y="1357"/>
                  </a:lnTo>
                  <a:lnTo>
                    <a:pt x="1805" y="1355"/>
                  </a:lnTo>
                  <a:lnTo>
                    <a:pt x="1170" y="1110"/>
                  </a:lnTo>
                  <a:lnTo>
                    <a:pt x="1155" y="1104"/>
                  </a:lnTo>
                  <a:lnTo>
                    <a:pt x="1142" y="1097"/>
                  </a:lnTo>
                  <a:lnTo>
                    <a:pt x="1131" y="1089"/>
                  </a:lnTo>
                  <a:lnTo>
                    <a:pt x="1120" y="1081"/>
                  </a:lnTo>
                  <a:lnTo>
                    <a:pt x="1110" y="1073"/>
                  </a:lnTo>
                  <a:lnTo>
                    <a:pt x="1102" y="1064"/>
                  </a:lnTo>
                  <a:lnTo>
                    <a:pt x="1095" y="1055"/>
                  </a:lnTo>
                  <a:lnTo>
                    <a:pt x="1089" y="1045"/>
                  </a:lnTo>
                  <a:lnTo>
                    <a:pt x="1084" y="1035"/>
                  </a:lnTo>
                  <a:lnTo>
                    <a:pt x="1080" y="1024"/>
                  </a:lnTo>
                  <a:lnTo>
                    <a:pt x="1077" y="1014"/>
                  </a:lnTo>
                  <a:lnTo>
                    <a:pt x="1074" y="1003"/>
                  </a:lnTo>
                  <a:lnTo>
                    <a:pt x="1073" y="990"/>
                  </a:lnTo>
                  <a:lnTo>
                    <a:pt x="1073" y="979"/>
                  </a:lnTo>
                  <a:lnTo>
                    <a:pt x="1074" y="967"/>
                  </a:lnTo>
                  <a:lnTo>
                    <a:pt x="1075" y="955"/>
                  </a:lnTo>
                  <a:lnTo>
                    <a:pt x="1211" y="142"/>
                  </a:lnTo>
                  <a:lnTo>
                    <a:pt x="1213" y="131"/>
                  </a:lnTo>
                  <a:lnTo>
                    <a:pt x="1216" y="118"/>
                  </a:lnTo>
                  <a:lnTo>
                    <a:pt x="1220" y="107"/>
                  </a:lnTo>
                  <a:lnTo>
                    <a:pt x="1225" y="97"/>
                  </a:lnTo>
                  <a:lnTo>
                    <a:pt x="1231" y="87"/>
                  </a:lnTo>
                  <a:lnTo>
                    <a:pt x="1237" y="78"/>
                  </a:lnTo>
                  <a:lnTo>
                    <a:pt x="1244" y="69"/>
                  </a:lnTo>
                  <a:lnTo>
                    <a:pt x="1252" y="61"/>
                  </a:lnTo>
                  <a:lnTo>
                    <a:pt x="1262" y="54"/>
                  </a:lnTo>
                  <a:lnTo>
                    <a:pt x="1272" y="47"/>
                  </a:lnTo>
                  <a:lnTo>
                    <a:pt x="1282" y="42"/>
                  </a:lnTo>
                  <a:lnTo>
                    <a:pt x="1293" y="37"/>
                  </a:lnTo>
                  <a:lnTo>
                    <a:pt x="1307" y="33"/>
                  </a:lnTo>
                  <a:lnTo>
                    <a:pt x="1320" y="30"/>
                  </a:lnTo>
                  <a:lnTo>
                    <a:pt x="1334" y="28"/>
                  </a:lnTo>
                  <a:lnTo>
                    <a:pt x="1350" y="27"/>
                  </a:lnTo>
                  <a:lnTo>
                    <a:pt x="2031" y="0"/>
                  </a:lnTo>
                  <a:lnTo>
                    <a:pt x="2037" y="0"/>
                  </a:lnTo>
                  <a:lnTo>
                    <a:pt x="2042" y="1"/>
                  </a:lnTo>
                  <a:lnTo>
                    <a:pt x="2047" y="2"/>
                  </a:lnTo>
                  <a:lnTo>
                    <a:pt x="2053" y="3"/>
                  </a:lnTo>
                  <a:lnTo>
                    <a:pt x="2057" y="5"/>
                  </a:lnTo>
                  <a:lnTo>
                    <a:pt x="2062" y="8"/>
                  </a:lnTo>
                  <a:lnTo>
                    <a:pt x="2066" y="11"/>
                  </a:lnTo>
                  <a:lnTo>
                    <a:pt x="2070" y="14"/>
                  </a:lnTo>
                  <a:lnTo>
                    <a:pt x="2074" y="18"/>
                  </a:lnTo>
                  <a:lnTo>
                    <a:pt x="2077" y="22"/>
                  </a:lnTo>
                  <a:lnTo>
                    <a:pt x="2079" y="27"/>
                  </a:lnTo>
                  <a:lnTo>
                    <a:pt x="2081" y="32"/>
                  </a:lnTo>
                  <a:lnTo>
                    <a:pt x="2083" y="37"/>
                  </a:lnTo>
                  <a:lnTo>
                    <a:pt x="2083" y="42"/>
                  </a:lnTo>
                  <a:lnTo>
                    <a:pt x="2084" y="47"/>
                  </a:lnTo>
                  <a:lnTo>
                    <a:pt x="2083" y="52"/>
                  </a:lnTo>
                  <a:close/>
                  <a:moveTo>
                    <a:pt x="257" y="967"/>
                  </a:moveTo>
                  <a:lnTo>
                    <a:pt x="1402" y="1557"/>
                  </a:lnTo>
                  <a:lnTo>
                    <a:pt x="1407" y="1560"/>
                  </a:lnTo>
                  <a:lnTo>
                    <a:pt x="1411" y="1563"/>
                  </a:lnTo>
                  <a:lnTo>
                    <a:pt x="1415" y="1567"/>
                  </a:lnTo>
                  <a:lnTo>
                    <a:pt x="1418" y="1571"/>
                  </a:lnTo>
                  <a:lnTo>
                    <a:pt x="1420" y="1575"/>
                  </a:lnTo>
                  <a:lnTo>
                    <a:pt x="1422" y="1580"/>
                  </a:lnTo>
                  <a:lnTo>
                    <a:pt x="1424" y="1585"/>
                  </a:lnTo>
                  <a:lnTo>
                    <a:pt x="1425" y="1590"/>
                  </a:lnTo>
                  <a:lnTo>
                    <a:pt x="1425" y="1595"/>
                  </a:lnTo>
                  <a:lnTo>
                    <a:pt x="1425" y="1600"/>
                  </a:lnTo>
                  <a:lnTo>
                    <a:pt x="1424" y="1606"/>
                  </a:lnTo>
                  <a:lnTo>
                    <a:pt x="1423" y="1611"/>
                  </a:lnTo>
                  <a:lnTo>
                    <a:pt x="1421" y="1616"/>
                  </a:lnTo>
                  <a:lnTo>
                    <a:pt x="1419" y="1620"/>
                  </a:lnTo>
                  <a:lnTo>
                    <a:pt x="1416" y="1625"/>
                  </a:lnTo>
                  <a:lnTo>
                    <a:pt x="1413" y="1630"/>
                  </a:lnTo>
                  <a:lnTo>
                    <a:pt x="984" y="2159"/>
                  </a:lnTo>
                  <a:lnTo>
                    <a:pt x="974" y="2171"/>
                  </a:lnTo>
                  <a:lnTo>
                    <a:pt x="963" y="2181"/>
                  </a:lnTo>
                  <a:lnTo>
                    <a:pt x="953" y="2190"/>
                  </a:lnTo>
                  <a:lnTo>
                    <a:pt x="943" y="2197"/>
                  </a:lnTo>
                  <a:lnTo>
                    <a:pt x="931" y="2204"/>
                  </a:lnTo>
                  <a:lnTo>
                    <a:pt x="920" y="2209"/>
                  </a:lnTo>
                  <a:lnTo>
                    <a:pt x="909" y="2213"/>
                  </a:lnTo>
                  <a:lnTo>
                    <a:pt x="898" y="2217"/>
                  </a:lnTo>
                  <a:lnTo>
                    <a:pt x="886" y="2218"/>
                  </a:lnTo>
                  <a:lnTo>
                    <a:pt x="875" y="2219"/>
                  </a:lnTo>
                  <a:lnTo>
                    <a:pt x="864" y="2218"/>
                  </a:lnTo>
                  <a:lnTo>
                    <a:pt x="853" y="2217"/>
                  </a:lnTo>
                  <a:lnTo>
                    <a:pt x="841" y="2214"/>
                  </a:lnTo>
                  <a:lnTo>
                    <a:pt x="830" y="2210"/>
                  </a:lnTo>
                  <a:lnTo>
                    <a:pt x="819" y="2206"/>
                  </a:lnTo>
                  <a:lnTo>
                    <a:pt x="808" y="2201"/>
                  </a:lnTo>
                  <a:lnTo>
                    <a:pt x="75" y="1823"/>
                  </a:lnTo>
                  <a:lnTo>
                    <a:pt x="64" y="1817"/>
                  </a:lnTo>
                  <a:lnTo>
                    <a:pt x="54" y="1810"/>
                  </a:lnTo>
                  <a:lnTo>
                    <a:pt x="45" y="1803"/>
                  </a:lnTo>
                  <a:lnTo>
                    <a:pt x="37" y="1796"/>
                  </a:lnTo>
                  <a:lnTo>
                    <a:pt x="29" y="1787"/>
                  </a:lnTo>
                  <a:lnTo>
                    <a:pt x="21" y="1779"/>
                  </a:lnTo>
                  <a:lnTo>
                    <a:pt x="15" y="1768"/>
                  </a:lnTo>
                  <a:lnTo>
                    <a:pt x="10" y="1758"/>
                  </a:lnTo>
                  <a:lnTo>
                    <a:pt x="6" y="1748"/>
                  </a:lnTo>
                  <a:lnTo>
                    <a:pt x="3" y="1736"/>
                  </a:lnTo>
                  <a:lnTo>
                    <a:pt x="1" y="1724"/>
                  </a:lnTo>
                  <a:lnTo>
                    <a:pt x="0" y="1711"/>
                  </a:lnTo>
                  <a:lnTo>
                    <a:pt x="0" y="1698"/>
                  </a:lnTo>
                  <a:lnTo>
                    <a:pt x="1" y="1685"/>
                  </a:lnTo>
                  <a:lnTo>
                    <a:pt x="4" y="1670"/>
                  </a:lnTo>
                  <a:lnTo>
                    <a:pt x="7" y="1655"/>
                  </a:lnTo>
                  <a:lnTo>
                    <a:pt x="191" y="1000"/>
                  </a:lnTo>
                  <a:lnTo>
                    <a:pt x="193" y="994"/>
                  </a:lnTo>
                  <a:lnTo>
                    <a:pt x="195" y="989"/>
                  </a:lnTo>
                  <a:lnTo>
                    <a:pt x="198" y="984"/>
                  </a:lnTo>
                  <a:lnTo>
                    <a:pt x="201" y="980"/>
                  </a:lnTo>
                  <a:lnTo>
                    <a:pt x="204" y="976"/>
                  </a:lnTo>
                  <a:lnTo>
                    <a:pt x="209" y="973"/>
                  </a:lnTo>
                  <a:lnTo>
                    <a:pt x="213" y="969"/>
                  </a:lnTo>
                  <a:lnTo>
                    <a:pt x="217" y="967"/>
                  </a:lnTo>
                  <a:lnTo>
                    <a:pt x="222" y="965"/>
                  </a:lnTo>
                  <a:lnTo>
                    <a:pt x="227" y="963"/>
                  </a:lnTo>
                  <a:lnTo>
                    <a:pt x="231" y="962"/>
                  </a:lnTo>
                  <a:lnTo>
                    <a:pt x="236" y="962"/>
                  </a:lnTo>
                  <a:lnTo>
                    <a:pt x="241" y="962"/>
                  </a:lnTo>
                  <a:lnTo>
                    <a:pt x="246" y="963"/>
                  </a:lnTo>
                  <a:lnTo>
                    <a:pt x="252" y="964"/>
                  </a:lnTo>
                  <a:lnTo>
                    <a:pt x="257" y="967"/>
                  </a:lnTo>
                  <a:close/>
                  <a:moveTo>
                    <a:pt x="563" y="2978"/>
                  </a:moveTo>
                  <a:lnTo>
                    <a:pt x="1482" y="2075"/>
                  </a:lnTo>
                  <a:lnTo>
                    <a:pt x="1486" y="2071"/>
                  </a:lnTo>
                  <a:lnTo>
                    <a:pt x="1490" y="2067"/>
                  </a:lnTo>
                  <a:lnTo>
                    <a:pt x="1495" y="2065"/>
                  </a:lnTo>
                  <a:lnTo>
                    <a:pt x="1499" y="2063"/>
                  </a:lnTo>
                  <a:lnTo>
                    <a:pt x="1504" y="2062"/>
                  </a:lnTo>
                  <a:lnTo>
                    <a:pt x="1509" y="2061"/>
                  </a:lnTo>
                  <a:lnTo>
                    <a:pt x="1514" y="2062"/>
                  </a:lnTo>
                  <a:lnTo>
                    <a:pt x="1519" y="2062"/>
                  </a:lnTo>
                  <a:lnTo>
                    <a:pt x="1524" y="2063"/>
                  </a:lnTo>
                  <a:lnTo>
                    <a:pt x="1530" y="2065"/>
                  </a:lnTo>
                  <a:lnTo>
                    <a:pt x="1534" y="2067"/>
                  </a:lnTo>
                  <a:lnTo>
                    <a:pt x="1539" y="2071"/>
                  </a:lnTo>
                  <a:lnTo>
                    <a:pt x="1543" y="2074"/>
                  </a:lnTo>
                  <a:lnTo>
                    <a:pt x="1547" y="2078"/>
                  </a:lnTo>
                  <a:lnTo>
                    <a:pt x="1551" y="2082"/>
                  </a:lnTo>
                  <a:lnTo>
                    <a:pt x="1554" y="2086"/>
                  </a:lnTo>
                  <a:lnTo>
                    <a:pt x="1924" y="2658"/>
                  </a:lnTo>
                  <a:lnTo>
                    <a:pt x="1932" y="2671"/>
                  </a:lnTo>
                  <a:lnTo>
                    <a:pt x="1939" y="2684"/>
                  </a:lnTo>
                  <a:lnTo>
                    <a:pt x="1944" y="2696"/>
                  </a:lnTo>
                  <a:lnTo>
                    <a:pt x="1948" y="2710"/>
                  </a:lnTo>
                  <a:lnTo>
                    <a:pt x="1951" y="2722"/>
                  </a:lnTo>
                  <a:lnTo>
                    <a:pt x="1952" y="2734"/>
                  </a:lnTo>
                  <a:lnTo>
                    <a:pt x="1953" y="2745"/>
                  </a:lnTo>
                  <a:lnTo>
                    <a:pt x="1952" y="2757"/>
                  </a:lnTo>
                  <a:lnTo>
                    <a:pt x="1950" y="2769"/>
                  </a:lnTo>
                  <a:lnTo>
                    <a:pt x="1947" y="2779"/>
                  </a:lnTo>
                  <a:lnTo>
                    <a:pt x="1944" y="2790"/>
                  </a:lnTo>
                  <a:lnTo>
                    <a:pt x="1939" y="2801"/>
                  </a:lnTo>
                  <a:lnTo>
                    <a:pt x="1932" y="2811"/>
                  </a:lnTo>
                  <a:lnTo>
                    <a:pt x="1925" y="2820"/>
                  </a:lnTo>
                  <a:lnTo>
                    <a:pt x="1918" y="2829"/>
                  </a:lnTo>
                  <a:lnTo>
                    <a:pt x="1910" y="2838"/>
                  </a:lnTo>
                  <a:lnTo>
                    <a:pt x="1322" y="3416"/>
                  </a:lnTo>
                  <a:lnTo>
                    <a:pt x="1314" y="3424"/>
                  </a:lnTo>
                  <a:lnTo>
                    <a:pt x="1304" y="3432"/>
                  </a:lnTo>
                  <a:lnTo>
                    <a:pt x="1294" y="3439"/>
                  </a:lnTo>
                  <a:lnTo>
                    <a:pt x="1284" y="3445"/>
                  </a:lnTo>
                  <a:lnTo>
                    <a:pt x="1274" y="3449"/>
                  </a:lnTo>
                  <a:lnTo>
                    <a:pt x="1263" y="3453"/>
                  </a:lnTo>
                  <a:lnTo>
                    <a:pt x="1251" y="3456"/>
                  </a:lnTo>
                  <a:lnTo>
                    <a:pt x="1240" y="3457"/>
                  </a:lnTo>
                  <a:lnTo>
                    <a:pt x="1229" y="3458"/>
                  </a:lnTo>
                  <a:lnTo>
                    <a:pt x="1218" y="3457"/>
                  </a:lnTo>
                  <a:lnTo>
                    <a:pt x="1205" y="3456"/>
                  </a:lnTo>
                  <a:lnTo>
                    <a:pt x="1193" y="3453"/>
                  </a:lnTo>
                  <a:lnTo>
                    <a:pt x="1180" y="3449"/>
                  </a:lnTo>
                  <a:lnTo>
                    <a:pt x="1168" y="3444"/>
                  </a:lnTo>
                  <a:lnTo>
                    <a:pt x="1154" y="3437"/>
                  </a:lnTo>
                  <a:lnTo>
                    <a:pt x="1142" y="3428"/>
                  </a:lnTo>
                  <a:lnTo>
                    <a:pt x="575" y="3051"/>
                  </a:lnTo>
                  <a:lnTo>
                    <a:pt x="571" y="3048"/>
                  </a:lnTo>
                  <a:lnTo>
                    <a:pt x="566" y="3043"/>
                  </a:lnTo>
                  <a:lnTo>
                    <a:pt x="562" y="3039"/>
                  </a:lnTo>
                  <a:lnTo>
                    <a:pt x="559" y="3035"/>
                  </a:lnTo>
                  <a:lnTo>
                    <a:pt x="556" y="3030"/>
                  </a:lnTo>
                  <a:lnTo>
                    <a:pt x="554" y="3026"/>
                  </a:lnTo>
                  <a:lnTo>
                    <a:pt x="552" y="3021"/>
                  </a:lnTo>
                  <a:lnTo>
                    <a:pt x="551" y="3016"/>
                  </a:lnTo>
                  <a:lnTo>
                    <a:pt x="551" y="3011"/>
                  </a:lnTo>
                  <a:lnTo>
                    <a:pt x="551" y="3006"/>
                  </a:lnTo>
                  <a:lnTo>
                    <a:pt x="551" y="3001"/>
                  </a:lnTo>
                  <a:lnTo>
                    <a:pt x="552" y="2996"/>
                  </a:lnTo>
                  <a:lnTo>
                    <a:pt x="554" y="2990"/>
                  </a:lnTo>
                  <a:lnTo>
                    <a:pt x="556" y="2986"/>
                  </a:lnTo>
                  <a:lnTo>
                    <a:pt x="559" y="2982"/>
                  </a:lnTo>
                  <a:lnTo>
                    <a:pt x="563" y="2978"/>
                  </a:lnTo>
                  <a:close/>
                  <a:moveTo>
                    <a:pt x="2584" y="3306"/>
                  </a:moveTo>
                  <a:lnTo>
                    <a:pt x="2001" y="2158"/>
                  </a:lnTo>
                  <a:lnTo>
                    <a:pt x="1998" y="2153"/>
                  </a:lnTo>
                  <a:lnTo>
                    <a:pt x="1997" y="2148"/>
                  </a:lnTo>
                  <a:lnTo>
                    <a:pt x="1996" y="2143"/>
                  </a:lnTo>
                  <a:lnTo>
                    <a:pt x="1996" y="2137"/>
                  </a:lnTo>
                  <a:lnTo>
                    <a:pt x="1997" y="2133"/>
                  </a:lnTo>
                  <a:lnTo>
                    <a:pt x="1998" y="2128"/>
                  </a:lnTo>
                  <a:lnTo>
                    <a:pt x="1999" y="2123"/>
                  </a:lnTo>
                  <a:lnTo>
                    <a:pt x="2001" y="2118"/>
                  </a:lnTo>
                  <a:lnTo>
                    <a:pt x="2004" y="2113"/>
                  </a:lnTo>
                  <a:lnTo>
                    <a:pt x="2007" y="2109"/>
                  </a:lnTo>
                  <a:lnTo>
                    <a:pt x="2011" y="2106"/>
                  </a:lnTo>
                  <a:lnTo>
                    <a:pt x="2014" y="2102"/>
                  </a:lnTo>
                  <a:lnTo>
                    <a:pt x="2019" y="2099"/>
                  </a:lnTo>
                  <a:lnTo>
                    <a:pt x="2023" y="2096"/>
                  </a:lnTo>
                  <a:lnTo>
                    <a:pt x="2029" y="2094"/>
                  </a:lnTo>
                  <a:lnTo>
                    <a:pt x="2035" y="2093"/>
                  </a:lnTo>
                  <a:lnTo>
                    <a:pt x="2692" y="1913"/>
                  </a:lnTo>
                  <a:lnTo>
                    <a:pt x="2707" y="1910"/>
                  </a:lnTo>
                  <a:lnTo>
                    <a:pt x="2722" y="1907"/>
                  </a:lnTo>
                  <a:lnTo>
                    <a:pt x="2735" y="1906"/>
                  </a:lnTo>
                  <a:lnTo>
                    <a:pt x="2748" y="1906"/>
                  </a:lnTo>
                  <a:lnTo>
                    <a:pt x="2761" y="1908"/>
                  </a:lnTo>
                  <a:lnTo>
                    <a:pt x="2773" y="1910"/>
                  </a:lnTo>
                  <a:lnTo>
                    <a:pt x="2784" y="1913"/>
                  </a:lnTo>
                  <a:lnTo>
                    <a:pt x="2795" y="1917"/>
                  </a:lnTo>
                  <a:lnTo>
                    <a:pt x="2806" y="1922"/>
                  </a:lnTo>
                  <a:lnTo>
                    <a:pt x="2815" y="1929"/>
                  </a:lnTo>
                  <a:lnTo>
                    <a:pt x="2824" y="1936"/>
                  </a:lnTo>
                  <a:lnTo>
                    <a:pt x="2832" y="1944"/>
                  </a:lnTo>
                  <a:lnTo>
                    <a:pt x="2840" y="1952"/>
                  </a:lnTo>
                  <a:lnTo>
                    <a:pt x="2847" y="1961"/>
                  </a:lnTo>
                  <a:lnTo>
                    <a:pt x="2854" y="1971"/>
                  </a:lnTo>
                  <a:lnTo>
                    <a:pt x="2860" y="1982"/>
                  </a:lnTo>
                  <a:lnTo>
                    <a:pt x="3233" y="2717"/>
                  </a:lnTo>
                  <a:lnTo>
                    <a:pt x="3238" y="2728"/>
                  </a:lnTo>
                  <a:lnTo>
                    <a:pt x="3242" y="2738"/>
                  </a:lnTo>
                  <a:lnTo>
                    <a:pt x="3246" y="2750"/>
                  </a:lnTo>
                  <a:lnTo>
                    <a:pt x="3248" y="2762"/>
                  </a:lnTo>
                  <a:lnTo>
                    <a:pt x="3249" y="2773"/>
                  </a:lnTo>
                  <a:lnTo>
                    <a:pt x="3250" y="2784"/>
                  </a:lnTo>
                  <a:lnTo>
                    <a:pt x="3249" y="2795"/>
                  </a:lnTo>
                  <a:lnTo>
                    <a:pt x="3247" y="2807"/>
                  </a:lnTo>
                  <a:lnTo>
                    <a:pt x="3244" y="2818"/>
                  </a:lnTo>
                  <a:lnTo>
                    <a:pt x="3240" y="2829"/>
                  </a:lnTo>
                  <a:lnTo>
                    <a:pt x="3235" y="2840"/>
                  </a:lnTo>
                  <a:lnTo>
                    <a:pt x="3229" y="2851"/>
                  </a:lnTo>
                  <a:lnTo>
                    <a:pt x="3221" y="2862"/>
                  </a:lnTo>
                  <a:lnTo>
                    <a:pt x="3211" y="2872"/>
                  </a:lnTo>
                  <a:lnTo>
                    <a:pt x="3201" y="2882"/>
                  </a:lnTo>
                  <a:lnTo>
                    <a:pt x="3190" y="2892"/>
                  </a:lnTo>
                  <a:lnTo>
                    <a:pt x="2657" y="3317"/>
                  </a:lnTo>
                  <a:lnTo>
                    <a:pt x="2652" y="3320"/>
                  </a:lnTo>
                  <a:lnTo>
                    <a:pt x="2647" y="3323"/>
                  </a:lnTo>
                  <a:lnTo>
                    <a:pt x="2643" y="3325"/>
                  </a:lnTo>
                  <a:lnTo>
                    <a:pt x="2638" y="3327"/>
                  </a:lnTo>
                  <a:lnTo>
                    <a:pt x="2633" y="3328"/>
                  </a:lnTo>
                  <a:lnTo>
                    <a:pt x="2627" y="3329"/>
                  </a:lnTo>
                  <a:lnTo>
                    <a:pt x="2622" y="3329"/>
                  </a:lnTo>
                  <a:lnTo>
                    <a:pt x="2616" y="3328"/>
                  </a:lnTo>
                  <a:lnTo>
                    <a:pt x="2612" y="3327"/>
                  </a:lnTo>
                  <a:lnTo>
                    <a:pt x="2607" y="3326"/>
                  </a:lnTo>
                  <a:lnTo>
                    <a:pt x="2602" y="3324"/>
                  </a:lnTo>
                  <a:lnTo>
                    <a:pt x="2598" y="3321"/>
                  </a:lnTo>
                  <a:lnTo>
                    <a:pt x="2594" y="3318"/>
                  </a:lnTo>
                  <a:lnTo>
                    <a:pt x="2590" y="3315"/>
                  </a:lnTo>
                  <a:lnTo>
                    <a:pt x="2587" y="3310"/>
                  </a:lnTo>
                  <a:lnTo>
                    <a:pt x="2584" y="3306"/>
                  </a:lnTo>
                  <a:close/>
                  <a:moveTo>
                    <a:pt x="3513" y="1504"/>
                  </a:moveTo>
                  <a:lnTo>
                    <a:pt x="2239" y="1695"/>
                  </a:lnTo>
                  <a:lnTo>
                    <a:pt x="2234" y="1695"/>
                  </a:lnTo>
                  <a:lnTo>
                    <a:pt x="2228" y="1695"/>
                  </a:lnTo>
                  <a:lnTo>
                    <a:pt x="2223" y="1694"/>
                  </a:lnTo>
                  <a:lnTo>
                    <a:pt x="2218" y="1693"/>
                  </a:lnTo>
                  <a:lnTo>
                    <a:pt x="2214" y="1691"/>
                  </a:lnTo>
                  <a:lnTo>
                    <a:pt x="2209" y="1688"/>
                  </a:lnTo>
                  <a:lnTo>
                    <a:pt x="2205" y="1685"/>
                  </a:lnTo>
                  <a:lnTo>
                    <a:pt x="2201" y="1682"/>
                  </a:lnTo>
                  <a:lnTo>
                    <a:pt x="2198" y="1677"/>
                  </a:lnTo>
                  <a:lnTo>
                    <a:pt x="2195" y="1673"/>
                  </a:lnTo>
                  <a:lnTo>
                    <a:pt x="2193" y="1668"/>
                  </a:lnTo>
                  <a:lnTo>
                    <a:pt x="2191" y="1664"/>
                  </a:lnTo>
                  <a:lnTo>
                    <a:pt x="2189" y="1659"/>
                  </a:lnTo>
                  <a:lnTo>
                    <a:pt x="2188" y="1653"/>
                  </a:lnTo>
                  <a:lnTo>
                    <a:pt x="2188" y="1648"/>
                  </a:lnTo>
                  <a:lnTo>
                    <a:pt x="2188" y="1642"/>
                  </a:lnTo>
                  <a:lnTo>
                    <a:pt x="2225" y="963"/>
                  </a:lnTo>
                  <a:lnTo>
                    <a:pt x="2226" y="947"/>
                  </a:lnTo>
                  <a:lnTo>
                    <a:pt x="2229" y="933"/>
                  </a:lnTo>
                  <a:lnTo>
                    <a:pt x="2232" y="919"/>
                  </a:lnTo>
                  <a:lnTo>
                    <a:pt x="2236" y="907"/>
                  </a:lnTo>
                  <a:lnTo>
                    <a:pt x="2241" y="895"/>
                  </a:lnTo>
                  <a:lnTo>
                    <a:pt x="2247" y="884"/>
                  </a:lnTo>
                  <a:lnTo>
                    <a:pt x="2253" y="875"/>
                  </a:lnTo>
                  <a:lnTo>
                    <a:pt x="2262" y="866"/>
                  </a:lnTo>
                  <a:lnTo>
                    <a:pt x="2269" y="858"/>
                  </a:lnTo>
                  <a:lnTo>
                    <a:pt x="2278" y="850"/>
                  </a:lnTo>
                  <a:lnTo>
                    <a:pt x="2287" y="844"/>
                  </a:lnTo>
                  <a:lnTo>
                    <a:pt x="2297" y="839"/>
                  </a:lnTo>
                  <a:lnTo>
                    <a:pt x="2309" y="834"/>
                  </a:lnTo>
                  <a:lnTo>
                    <a:pt x="2319" y="830"/>
                  </a:lnTo>
                  <a:lnTo>
                    <a:pt x="2331" y="827"/>
                  </a:lnTo>
                  <a:lnTo>
                    <a:pt x="2343" y="825"/>
                  </a:lnTo>
                  <a:lnTo>
                    <a:pt x="3158" y="702"/>
                  </a:lnTo>
                  <a:lnTo>
                    <a:pt x="3171" y="701"/>
                  </a:lnTo>
                  <a:lnTo>
                    <a:pt x="3183" y="701"/>
                  </a:lnTo>
                  <a:lnTo>
                    <a:pt x="3194" y="701"/>
                  </a:lnTo>
                  <a:lnTo>
                    <a:pt x="3206" y="702"/>
                  </a:lnTo>
                  <a:lnTo>
                    <a:pt x="3218" y="704"/>
                  </a:lnTo>
                  <a:lnTo>
                    <a:pt x="3228" y="709"/>
                  </a:lnTo>
                  <a:lnTo>
                    <a:pt x="3239" y="713"/>
                  </a:lnTo>
                  <a:lnTo>
                    <a:pt x="3249" y="718"/>
                  </a:lnTo>
                  <a:lnTo>
                    <a:pt x="3259" y="724"/>
                  </a:lnTo>
                  <a:lnTo>
                    <a:pt x="3268" y="731"/>
                  </a:lnTo>
                  <a:lnTo>
                    <a:pt x="3277" y="740"/>
                  </a:lnTo>
                  <a:lnTo>
                    <a:pt x="3285" y="749"/>
                  </a:lnTo>
                  <a:lnTo>
                    <a:pt x="3292" y="761"/>
                  </a:lnTo>
                  <a:lnTo>
                    <a:pt x="3299" y="772"/>
                  </a:lnTo>
                  <a:lnTo>
                    <a:pt x="3307" y="785"/>
                  </a:lnTo>
                  <a:lnTo>
                    <a:pt x="3312" y="799"/>
                  </a:lnTo>
                  <a:lnTo>
                    <a:pt x="3548" y="1439"/>
                  </a:lnTo>
                  <a:lnTo>
                    <a:pt x="3549" y="1444"/>
                  </a:lnTo>
                  <a:lnTo>
                    <a:pt x="3550" y="1449"/>
                  </a:lnTo>
                  <a:lnTo>
                    <a:pt x="3551" y="1455"/>
                  </a:lnTo>
                  <a:lnTo>
                    <a:pt x="3551" y="1460"/>
                  </a:lnTo>
                  <a:lnTo>
                    <a:pt x="3550" y="1465"/>
                  </a:lnTo>
                  <a:lnTo>
                    <a:pt x="3549" y="1470"/>
                  </a:lnTo>
                  <a:lnTo>
                    <a:pt x="3548" y="1475"/>
                  </a:lnTo>
                  <a:lnTo>
                    <a:pt x="3546" y="1480"/>
                  </a:lnTo>
                  <a:lnTo>
                    <a:pt x="3544" y="1484"/>
                  </a:lnTo>
                  <a:lnTo>
                    <a:pt x="3541" y="1489"/>
                  </a:lnTo>
                  <a:lnTo>
                    <a:pt x="3537" y="1493"/>
                  </a:lnTo>
                  <a:lnTo>
                    <a:pt x="3534" y="1496"/>
                  </a:lnTo>
                  <a:lnTo>
                    <a:pt x="3528" y="1499"/>
                  </a:lnTo>
                  <a:lnTo>
                    <a:pt x="3524" y="1501"/>
                  </a:lnTo>
                  <a:lnTo>
                    <a:pt x="3519" y="1503"/>
                  </a:lnTo>
                  <a:lnTo>
                    <a:pt x="3513" y="1504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  <p:sp>
        <p:nvSpPr>
          <p:cNvPr id="7" name="AutoShape 3"/>
          <p:cNvSpPr>
            <a:spLocks noChangeAspect="1" noChangeArrowheads="1" noTextEdit="1"/>
          </p:cNvSpPr>
          <p:nvPr userDrawn="1"/>
        </p:nvSpPr>
        <p:spPr bwMode="auto">
          <a:xfrm>
            <a:off x="493604" y="6381929"/>
            <a:ext cx="148246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AutoShape 3"/>
          <p:cNvSpPr>
            <a:spLocks noChangeAspect="1" noChangeArrowheads="1" noTextEdit="1"/>
          </p:cNvSpPr>
          <p:nvPr userDrawn="1"/>
        </p:nvSpPr>
        <p:spPr bwMode="auto">
          <a:xfrm>
            <a:off x="488422" y="6383517"/>
            <a:ext cx="1480741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1" name="Группа 10"/>
          <p:cNvGrpSpPr/>
          <p:nvPr userDrawn="1"/>
        </p:nvGrpSpPr>
        <p:grpSpPr>
          <a:xfrm>
            <a:off x="488422" y="6383517"/>
            <a:ext cx="1480741" cy="288925"/>
            <a:chOff x="450850" y="6383338"/>
            <a:chExt cx="1366838" cy="288925"/>
          </a:xfrm>
        </p:grpSpPr>
        <p:sp>
          <p:nvSpPr>
            <p:cNvPr id="12" name="Freeform 5"/>
            <p:cNvSpPr>
              <a:spLocks noEditPoints="1"/>
            </p:cNvSpPr>
            <p:nvPr userDrawn="1"/>
          </p:nvSpPr>
          <p:spPr bwMode="auto">
            <a:xfrm>
              <a:off x="866775" y="6448426"/>
              <a:ext cx="950913" cy="157163"/>
            </a:xfrm>
            <a:custGeom>
              <a:avLst/>
              <a:gdLst>
                <a:gd name="T0" fmla="*/ 2478 w 11388"/>
                <a:gd name="T1" fmla="*/ 807 h 1876"/>
                <a:gd name="T2" fmla="*/ 2682 w 11388"/>
                <a:gd name="T3" fmla="*/ 468 h 1876"/>
                <a:gd name="T4" fmla="*/ 3065 w 11388"/>
                <a:gd name="T5" fmla="*/ 346 h 1876"/>
                <a:gd name="T6" fmla="*/ 3449 w 11388"/>
                <a:gd name="T7" fmla="*/ 468 h 1876"/>
                <a:gd name="T8" fmla="*/ 3652 w 11388"/>
                <a:gd name="T9" fmla="*/ 807 h 1876"/>
                <a:gd name="T10" fmla="*/ 3594 w 11388"/>
                <a:gd name="T11" fmla="*/ 1239 h 1876"/>
                <a:gd name="T12" fmla="*/ 3302 w 11388"/>
                <a:gd name="T13" fmla="*/ 1489 h 1876"/>
                <a:gd name="T14" fmla="*/ 2885 w 11388"/>
                <a:gd name="T15" fmla="*/ 1506 h 1876"/>
                <a:gd name="T16" fmla="*/ 2567 w 11388"/>
                <a:gd name="T17" fmla="*/ 1287 h 1876"/>
                <a:gd name="T18" fmla="*/ 4068 w 11388"/>
                <a:gd name="T19" fmla="*/ 885 h 1876"/>
                <a:gd name="T20" fmla="*/ 3805 w 11388"/>
                <a:gd name="T21" fmla="*/ 290 h 1876"/>
                <a:gd name="T22" fmla="*/ 3217 w 11388"/>
                <a:gd name="T23" fmla="*/ 10 h 1876"/>
                <a:gd name="T24" fmla="*/ 2550 w 11388"/>
                <a:gd name="T25" fmla="*/ 126 h 1876"/>
                <a:gd name="T26" fmla="*/ 2125 w 11388"/>
                <a:gd name="T27" fmla="*/ 597 h 1876"/>
                <a:gd name="T28" fmla="*/ 2125 w 11388"/>
                <a:gd name="T29" fmla="*/ 1278 h 1876"/>
                <a:gd name="T30" fmla="*/ 2550 w 11388"/>
                <a:gd name="T31" fmla="*/ 1750 h 1876"/>
                <a:gd name="T32" fmla="*/ 3217 w 11388"/>
                <a:gd name="T33" fmla="*/ 1865 h 1876"/>
                <a:gd name="T34" fmla="*/ 3805 w 11388"/>
                <a:gd name="T35" fmla="*/ 1586 h 1876"/>
                <a:gd name="T36" fmla="*/ 4068 w 11388"/>
                <a:gd name="T37" fmla="*/ 989 h 1876"/>
                <a:gd name="T38" fmla="*/ 4468 w 11388"/>
                <a:gd name="T39" fmla="*/ 1449 h 1876"/>
                <a:gd name="T40" fmla="*/ 4564 w 11388"/>
                <a:gd name="T41" fmla="*/ 1815 h 1876"/>
                <a:gd name="T42" fmla="*/ 4837 w 11388"/>
                <a:gd name="T43" fmla="*/ 1657 h 1876"/>
                <a:gd name="T44" fmla="*/ 5827 w 11388"/>
                <a:gd name="T45" fmla="*/ 404 h 1876"/>
                <a:gd name="T46" fmla="*/ 7343 w 11388"/>
                <a:gd name="T47" fmla="*/ 1298 h 1876"/>
                <a:gd name="T48" fmla="*/ 7714 w 11388"/>
                <a:gd name="T49" fmla="*/ 1737 h 1876"/>
                <a:gd name="T50" fmla="*/ 8311 w 11388"/>
                <a:gd name="T51" fmla="*/ 1875 h 1876"/>
                <a:gd name="T52" fmla="*/ 8919 w 11388"/>
                <a:gd name="T53" fmla="*/ 1660 h 1876"/>
                <a:gd name="T54" fmla="*/ 9228 w 11388"/>
                <a:gd name="T55" fmla="*/ 1099 h 1876"/>
                <a:gd name="T56" fmla="*/ 9098 w 11388"/>
                <a:gd name="T57" fmla="*/ 416 h 1876"/>
                <a:gd name="T58" fmla="*/ 8598 w 11388"/>
                <a:gd name="T59" fmla="*/ 48 h 1876"/>
                <a:gd name="T60" fmla="*/ 7967 w 11388"/>
                <a:gd name="T61" fmla="*/ 36 h 1876"/>
                <a:gd name="T62" fmla="*/ 7500 w 11388"/>
                <a:gd name="T63" fmla="*/ 315 h 1876"/>
                <a:gd name="T64" fmla="*/ 6620 w 11388"/>
                <a:gd name="T65" fmla="*/ 42 h 1876"/>
                <a:gd name="T66" fmla="*/ 7782 w 11388"/>
                <a:gd name="T67" fmla="*/ 566 h 1876"/>
                <a:gd name="T68" fmla="*/ 8097 w 11388"/>
                <a:gd name="T69" fmla="*/ 363 h 1876"/>
                <a:gd name="T70" fmla="*/ 8537 w 11388"/>
                <a:gd name="T71" fmla="*/ 397 h 1876"/>
                <a:gd name="T72" fmla="*/ 8791 w 11388"/>
                <a:gd name="T73" fmla="*/ 663 h 1876"/>
                <a:gd name="T74" fmla="*/ 8823 w 11388"/>
                <a:gd name="T75" fmla="*/ 1100 h 1876"/>
                <a:gd name="T76" fmla="*/ 8632 w 11388"/>
                <a:gd name="T77" fmla="*/ 1424 h 1876"/>
                <a:gd name="T78" fmla="*/ 8227 w 11388"/>
                <a:gd name="T79" fmla="*/ 1529 h 1876"/>
                <a:gd name="T80" fmla="*/ 7849 w 11388"/>
                <a:gd name="T81" fmla="*/ 1391 h 1876"/>
                <a:gd name="T82" fmla="*/ 7690 w 11388"/>
                <a:gd name="T83" fmla="*/ 1037 h 1876"/>
                <a:gd name="T84" fmla="*/ 11180 w 11388"/>
                <a:gd name="T85" fmla="*/ 229 h 1876"/>
                <a:gd name="T86" fmla="*/ 10774 w 11388"/>
                <a:gd name="T87" fmla="*/ 31 h 1876"/>
                <a:gd name="T88" fmla="*/ 10181 w 11388"/>
                <a:gd name="T89" fmla="*/ 37 h 1876"/>
                <a:gd name="T90" fmla="*/ 9650 w 11388"/>
                <a:gd name="T91" fmla="*/ 387 h 1876"/>
                <a:gd name="T92" fmla="*/ 9486 w 11388"/>
                <a:gd name="T93" fmla="*/ 1044 h 1876"/>
                <a:gd name="T94" fmla="*/ 9766 w 11388"/>
                <a:gd name="T95" fmla="*/ 1624 h 1876"/>
                <a:gd name="T96" fmla="*/ 10376 w 11388"/>
                <a:gd name="T97" fmla="*/ 1871 h 1876"/>
                <a:gd name="T98" fmla="*/ 10903 w 11388"/>
                <a:gd name="T99" fmla="*/ 1806 h 1876"/>
                <a:gd name="T100" fmla="*/ 11271 w 11388"/>
                <a:gd name="T101" fmla="*/ 1557 h 1876"/>
                <a:gd name="T102" fmla="*/ 10978 w 11388"/>
                <a:gd name="T103" fmla="*/ 1330 h 1876"/>
                <a:gd name="T104" fmla="*/ 10734 w 11388"/>
                <a:gd name="T105" fmla="*/ 1480 h 1876"/>
                <a:gd name="T106" fmla="*/ 10380 w 11388"/>
                <a:gd name="T107" fmla="*/ 1510 h 1876"/>
                <a:gd name="T108" fmla="*/ 10029 w 11388"/>
                <a:gd name="T109" fmla="*/ 1338 h 1876"/>
                <a:gd name="T110" fmla="*/ 9884 w 11388"/>
                <a:gd name="T111" fmla="*/ 970 h 1876"/>
                <a:gd name="T112" fmla="*/ 9991 w 11388"/>
                <a:gd name="T113" fmla="*/ 577 h 1876"/>
                <a:gd name="T114" fmla="*/ 10316 w 11388"/>
                <a:gd name="T115" fmla="*/ 375 h 1876"/>
                <a:gd name="T116" fmla="*/ 10692 w 11388"/>
                <a:gd name="T117" fmla="*/ 384 h 1876"/>
                <a:gd name="T118" fmla="*/ 10948 w 11388"/>
                <a:gd name="T119" fmla="*/ 517 h 18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88" h="1876">
                  <a:moveTo>
                    <a:pt x="0" y="42"/>
                  </a:moveTo>
                  <a:lnTo>
                    <a:pt x="0" y="1830"/>
                  </a:lnTo>
                  <a:lnTo>
                    <a:pt x="402" y="1830"/>
                  </a:lnTo>
                  <a:lnTo>
                    <a:pt x="402" y="401"/>
                  </a:lnTo>
                  <a:lnTo>
                    <a:pt x="1360" y="401"/>
                  </a:lnTo>
                  <a:lnTo>
                    <a:pt x="1360" y="1830"/>
                  </a:lnTo>
                  <a:lnTo>
                    <a:pt x="1765" y="1830"/>
                  </a:lnTo>
                  <a:lnTo>
                    <a:pt x="1765" y="42"/>
                  </a:lnTo>
                  <a:lnTo>
                    <a:pt x="0" y="42"/>
                  </a:lnTo>
                  <a:close/>
                  <a:moveTo>
                    <a:pt x="2467" y="937"/>
                  </a:moveTo>
                  <a:lnTo>
                    <a:pt x="2467" y="904"/>
                  </a:lnTo>
                  <a:lnTo>
                    <a:pt x="2470" y="870"/>
                  </a:lnTo>
                  <a:lnTo>
                    <a:pt x="2473" y="838"/>
                  </a:lnTo>
                  <a:lnTo>
                    <a:pt x="2478" y="807"/>
                  </a:lnTo>
                  <a:lnTo>
                    <a:pt x="2486" y="776"/>
                  </a:lnTo>
                  <a:lnTo>
                    <a:pt x="2494" y="747"/>
                  </a:lnTo>
                  <a:lnTo>
                    <a:pt x="2503" y="718"/>
                  </a:lnTo>
                  <a:lnTo>
                    <a:pt x="2513" y="689"/>
                  </a:lnTo>
                  <a:lnTo>
                    <a:pt x="2524" y="663"/>
                  </a:lnTo>
                  <a:lnTo>
                    <a:pt x="2538" y="637"/>
                  </a:lnTo>
                  <a:lnTo>
                    <a:pt x="2552" y="613"/>
                  </a:lnTo>
                  <a:lnTo>
                    <a:pt x="2567" y="588"/>
                  </a:lnTo>
                  <a:lnTo>
                    <a:pt x="2584" y="566"/>
                  </a:lnTo>
                  <a:lnTo>
                    <a:pt x="2602" y="544"/>
                  </a:lnTo>
                  <a:lnTo>
                    <a:pt x="2621" y="523"/>
                  </a:lnTo>
                  <a:lnTo>
                    <a:pt x="2640" y="504"/>
                  </a:lnTo>
                  <a:lnTo>
                    <a:pt x="2660" y="485"/>
                  </a:lnTo>
                  <a:lnTo>
                    <a:pt x="2682" y="468"/>
                  </a:lnTo>
                  <a:lnTo>
                    <a:pt x="2705" y="451"/>
                  </a:lnTo>
                  <a:lnTo>
                    <a:pt x="2728" y="436"/>
                  </a:lnTo>
                  <a:lnTo>
                    <a:pt x="2752" y="422"/>
                  </a:lnTo>
                  <a:lnTo>
                    <a:pt x="2778" y="410"/>
                  </a:lnTo>
                  <a:lnTo>
                    <a:pt x="2804" y="397"/>
                  </a:lnTo>
                  <a:lnTo>
                    <a:pt x="2830" y="387"/>
                  </a:lnTo>
                  <a:lnTo>
                    <a:pt x="2858" y="377"/>
                  </a:lnTo>
                  <a:lnTo>
                    <a:pt x="2885" y="369"/>
                  </a:lnTo>
                  <a:lnTo>
                    <a:pt x="2914" y="363"/>
                  </a:lnTo>
                  <a:lnTo>
                    <a:pt x="2944" y="356"/>
                  </a:lnTo>
                  <a:lnTo>
                    <a:pt x="2973" y="352"/>
                  </a:lnTo>
                  <a:lnTo>
                    <a:pt x="3004" y="348"/>
                  </a:lnTo>
                  <a:lnTo>
                    <a:pt x="3035" y="346"/>
                  </a:lnTo>
                  <a:lnTo>
                    <a:pt x="3065" y="346"/>
                  </a:lnTo>
                  <a:lnTo>
                    <a:pt x="3097" y="346"/>
                  </a:lnTo>
                  <a:lnTo>
                    <a:pt x="3128" y="348"/>
                  </a:lnTo>
                  <a:lnTo>
                    <a:pt x="3158" y="352"/>
                  </a:lnTo>
                  <a:lnTo>
                    <a:pt x="3188" y="356"/>
                  </a:lnTo>
                  <a:lnTo>
                    <a:pt x="3218" y="363"/>
                  </a:lnTo>
                  <a:lnTo>
                    <a:pt x="3246" y="369"/>
                  </a:lnTo>
                  <a:lnTo>
                    <a:pt x="3274" y="377"/>
                  </a:lnTo>
                  <a:lnTo>
                    <a:pt x="3302" y="387"/>
                  </a:lnTo>
                  <a:lnTo>
                    <a:pt x="3328" y="397"/>
                  </a:lnTo>
                  <a:lnTo>
                    <a:pt x="3354" y="410"/>
                  </a:lnTo>
                  <a:lnTo>
                    <a:pt x="3379" y="422"/>
                  </a:lnTo>
                  <a:lnTo>
                    <a:pt x="3403" y="436"/>
                  </a:lnTo>
                  <a:lnTo>
                    <a:pt x="3426" y="451"/>
                  </a:lnTo>
                  <a:lnTo>
                    <a:pt x="3449" y="468"/>
                  </a:lnTo>
                  <a:lnTo>
                    <a:pt x="3471" y="485"/>
                  </a:lnTo>
                  <a:lnTo>
                    <a:pt x="3492" y="504"/>
                  </a:lnTo>
                  <a:lnTo>
                    <a:pt x="3511" y="523"/>
                  </a:lnTo>
                  <a:lnTo>
                    <a:pt x="3530" y="544"/>
                  </a:lnTo>
                  <a:lnTo>
                    <a:pt x="3547" y="566"/>
                  </a:lnTo>
                  <a:lnTo>
                    <a:pt x="3564" y="588"/>
                  </a:lnTo>
                  <a:lnTo>
                    <a:pt x="3580" y="613"/>
                  </a:lnTo>
                  <a:lnTo>
                    <a:pt x="3594" y="637"/>
                  </a:lnTo>
                  <a:lnTo>
                    <a:pt x="3606" y="663"/>
                  </a:lnTo>
                  <a:lnTo>
                    <a:pt x="3618" y="689"/>
                  </a:lnTo>
                  <a:lnTo>
                    <a:pt x="3629" y="718"/>
                  </a:lnTo>
                  <a:lnTo>
                    <a:pt x="3638" y="747"/>
                  </a:lnTo>
                  <a:lnTo>
                    <a:pt x="3646" y="776"/>
                  </a:lnTo>
                  <a:lnTo>
                    <a:pt x="3652" y="807"/>
                  </a:lnTo>
                  <a:lnTo>
                    <a:pt x="3657" y="838"/>
                  </a:lnTo>
                  <a:lnTo>
                    <a:pt x="3661" y="870"/>
                  </a:lnTo>
                  <a:lnTo>
                    <a:pt x="3663" y="904"/>
                  </a:lnTo>
                  <a:lnTo>
                    <a:pt x="3665" y="937"/>
                  </a:lnTo>
                  <a:lnTo>
                    <a:pt x="3663" y="972"/>
                  </a:lnTo>
                  <a:lnTo>
                    <a:pt x="3661" y="1005"/>
                  </a:lnTo>
                  <a:lnTo>
                    <a:pt x="3657" y="1037"/>
                  </a:lnTo>
                  <a:lnTo>
                    <a:pt x="3652" y="1069"/>
                  </a:lnTo>
                  <a:lnTo>
                    <a:pt x="3646" y="1100"/>
                  </a:lnTo>
                  <a:lnTo>
                    <a:pt x="3638" y="1129"/>
                  </a:lnTo>
                  <a:lnTo>
                    <a:pt x="3629" y="1158"/>
                  </a:lnTo>
                  <a:lnTo>
                    <a:pt x="3618" y="1186"/>
                  </a:lnTo>
                  <a:lnTo>
                    <a:pt x="3606" y="1212"/>
                  </a:lnTo>
                  <a:lnTo>
                    <a:pt x="3594" y="1239"/>
                  </a:lnTo>
                  <a:lnTo>
                    <a:pt x="3580" y="1263"/>
                  </a:lnTo>
                  <a:lnTo>
                    <a:pt x="3564" y="1287"/>
                  </a:lnTo>
                  <a:lnTo>
                    <a:pt x="3547" y="1310"/>
                  </a:lnTo>
                  <a:lnTo>
                    <a:pt x="3530" y="1332"/>
                  </a:lnTo>
                  <a:lnTo>
                    <a:pt x="3511" y="1352"/>
                  </a:lnTo>
                  <a:lnTo>
                    <a:pt x="3492" y="1371"/>
                  </a:lnTo>
                  <a:lnTo>
                    <a:pt x="3471" y="1391"/>
                  </a:lnTo>
                  <a:lnTo>
                    <a:pt x="3449" y="1408"/>
                  </a:lnTo>
                  <a:lnTo>
                    <a:pt x="3426" y="1424"/>
                  </a:lnTo>
                  <a:lnTo>
                    <a:pt x="3403" y="1440"/>
                  </a:lnTo>
                  <a:lnTo>
                    <a:pt x="3379" y="1453"/>
                  </a:lnTo>
                  <a:lnTo>
                    <a:pt x="3354" y="1466"/>
                  </a:lnTo>
                  <a:lnTo>
                    <a:pt x="3328" y="1479"/>
                  </a:lnTo>
                  <a:lnTo>
                    <a:pt x="3302" y="1489"/>
                  </a:lnTo>
                  <a:lnTo>
                    <a:pt x="3274" y="1498"/>
                  </a:lnTo>
                  <a:lnTo>
                    <a:pt x="3246" y="1506"/>
                  </a:lnTo>
                  <a:lnTo>
                    <a:pt x="3218" y="1513"/>
                  </a:lnTo>
                  <a:lnTo>
                    <a:pt x="3188" y="1519"/>
                  </a:lnTo>
                  <a:lnTo>
                    <a:pt x="3158" y="1523"/>
                  </a:lnTo>
                  <a:lnTo>
                    <a:pt x="3128" y="1527"/>
                  </a:lnTo>
                  <a:lnTo>
                    <a:pt x="3097" y="1529"/>
                  </a:lnTo>
                  <a:lnTo>
                    <a:pt x="3065" y="1530"/>
                  </a:lnTo>
                  <a:lnTo>
                    <a:pt x="3035" y="1529"/>
                  </a:lnTo>
                  <a:lnTo>
                    <a:pt x="3004" y="1527"/>
                  </a:lnTo>
                  <a:lnTo>
                    <a:pt x="2973" y="1523"/>
                  </a:lnTo>
                  <a:lnTo>
                    <a:pt x="2944" y="1519"/>
                  </a:lnTo>
                  <a:lnTo>
                    <a:pt x="2914" y="1513"/>
                  </a:lnTo>
                  <a:lnTo>
                    <a:pt x="2885" y="1506"/>
                  </a:lnTo>
                  <a:lnTo>
                    <a:pt x="2858" y="1498"/>
                  </a:lnTo>
                  <a:lnTo>
                    <a:pt x="2830" y="1489"/>
                  </a:lnTo>
                  <a:lnTo>
                    <a:pt x="2804" y="1479"/>
                  </a:lnTo>
                  <a:lnTo>
                    <a:pt x="2778" y="1466"/>
                  </a:lnTo>
                  <a:lnTo>
                    <a:pt x="2752" y="1453"/>
                  </a:lnTo>
                  <a:lnTo>
                    <a:pt x="2728" y="1440"/>
                  </a:lnTo>
                  <a:lnTo>
                    <a:pt x="2705" y="1424"/>
                  </a:lnTo>
                  <a:lnTo>
                    <a:pt x="2682" y="1408"/>
                  </a:lnTo>
                  <a:lnTo>
                    <a:pt x="2660" y="1391"/>
                  </a:lnTo>
                  <a:lnTo>
                    <a:pt x="2640" y="1371"/>
                  </a:lnTo>
                  <a:lnTo>
                    <a:pt x="2621" y="1352"/>
                  </a:lnTo>
                  <a:lnTo>
                    <a:pt x="2602" y="1332"/>
                  </a:lnTo>
                  <a:lnTo>
                    <a:pt x="2584" y="1310"/>
                  </a:lnTo>
                  <a:lnTo>
                    <a:pt x="2567" y="1287"/>
                  </a:lnTo>
                  <a:lnTo>
                    <a:pt x="2552" y="1263"/>
                  </a:lnTo>
                  <a:lnTo>
                    <a:pt x="2538" y="1239"/>
                  </a:lnTo>
                  <a:lnTo>
                    <a:pt x="2524" y="1212"/>
                  </a:lnTo>
                  <a:lnTo>
                    <a:pt x="2513" y="1186"/>
                  </a:lnTo>
                  <a:lnTo>
                    <a:pt x="2503" y="1158"/>
                  </a:lnTo>
                  <a:lnTo>
                    <a:pt x="2494" y="1129"/>
                  </a:lnTo>
                  <a:lnTo>
                    <a:pt x="2486" y="1100"/>
                  </a:lnTo>
                  <a:lnTo>
                    <a:pt x="2478" y="1069"/>
                  </a:lnTo>
                  <a:lnTo>
                    <a:pt x="2473" y="1037"/>
                  </a:lnTo>
                  <a:lnTo>
                    <a:pt x="2470" y="1005"/>
                  </a:lnTo>
                  <a:lnTo>
                    <a:pt x="2467" y="972"/>
                  </a:lnTo>
                  <a:lnTo>
                    <a:pt x="2467" y="937"/>
                  </a:lnTo>
                  <a:close/>
                  <a:moveTo>
                    <a:pt x="4069" y="937"/>
                  </a:moveTo>
                  <a:lnTo>
                    <a:pt x="4068" y="885"/>
                  </a:lnTo>
                  <a:lnTo>
                    <a:pt x="4064" y="834"/>
                  </a:lnTo>
                  <a:lnTo>
                    <a:pt x="4057" y="784"/>
                  </a:lnTo>
                  <a:lnTo>
                    <a:pt x="4048" y="736"/>
                  </a:lnTo>
                  <a:lnTo>
                    <a:pt x="4037" y="688"/>
                  </a:lnTo>
                  <a:lnTo>
                    <a:pt x="4023" y="642"/>
                  </a:lnTo>
                  <a:lnTo>
                    <a:pt x="4007" y="597"/>
                  </a:lnTo>
                  <a:lnTo>
                    <a:pt x="3989" y="554"/>
                  </a:lnTo>
                  <a:lnTo>
                    <a:pt x="3968" y="512"/>
                  </a:lnTo>
                  <a:lnTo>
                    <a:pt x="3946" y="471"/>
                  </a:lnTo>
                  <a:lnTo>
                    <a:pt x="3921" y="432"/>
                  </a:lnTo>
                  <a:lnTo>
                    <a:pt x="3896" y="394"/>
                  </a:lnTo>
                  <a:lnTo>
                    <a:pt x="3867" y="358"/>
                  </a:lnTo>
                  <a:lnTo>
                    <a:pt x="3836" y="323"/>
                  </a:lnTo>
                  <a:lnTo>
                    <a:pt x="3805" y="290"/>
                  </a:lnTo>
                  <a:lnTo>
                    <a:pt x="3772" y="258"/>
                  </a:lnTo>
                  <a:lnTo>
                    <a:pt x="3736" y="228"/>
                  </a:lnTo>
                  <a:lnTo>
                    <a:pt x="3699" y="200"/>
                  </a:lnTo>
                  <a:lnTo>
                    <a:pt x="3661" y="174"/>
                  </a:lnTo>
                  <a:lnTo>
                    <a:pt x="3623" y="148"/>
                  </a:lnTo>
                  <a:lnTo>
                    <a:pt x="3582" y="126"/>
                  </a:lnTo>
                  <a:lnTo>
                    <a:pt x="3540" y="104"/>
                  </a:lnTo>
                  <a:lnTo>
                    <a:pt x="3496" y="85"/>
                  </a:lnTo>
                  <a:lnTo>
                    <a:pt x="3452" y="68"/>
                  </a:lnTo>
                  <a:lnTo>
                    <a:pt x="3407" y="52"/>
                  </a:lnTo>
                  <a:lnTo>
                    <a:pt x="3360" y="39"/>
                  </a:lnTo>
                  <a:lnTo>
                    <a:pt x="3313" y="27"/>
                  </a:lnTo>
                  <a:lnTo>
                    <a:pt x="3265" y="18"/>
                  </a:lnTo>
                  <a:lnTo>
                    <a:pt x="3217" y="10"/>
                  </a:lnTo>
                  <a:lnTo>
                    <a:pt x="3167" y="4"/>
                  </a:lnTo>
                  <a:lnTo>
                    <a:pt x="3116" y="1"/>
                  </a:lnTo>
                  <a:lnTo>
                    <a:pt x="3065" y="0"/>
                  </a:lnTo>
                  <a:lnTo>
                    <a:pt x="3015" y="1"/>
                  </a:lnTo>
                  <a:lnTo>
                    <a:pt x="2965" y="4"/>
                  </a:lnTo>
                  <a:lnTo>
                    <a:pt x="2915" y="10"/>
                  </a:lnTo>
                  <a:lnTo>
                    <a:pt x="2867" y="18"/>
                  </a:lnTo>
                  <a:lnTo>
                    <a:pt x="2819" y="27"/>
                  </a:lnTo>
                  <a:lnTo>
                    <a:pt x="2771" y="39"/>
                  </a:lnTo>
                  <a:lnTo>
                    <a:pt x="2725" y="52"/>
                  </a:lnTo>
                  <a:lnTo>
                    <a:pt x="2680" y="68"/>
                  </a:lnTo>
                  <a:lnTo>
                    <a:pt x="2635" y="85"/>
                  </a:lnTo>
                  <a:lnTo>
                    <a:pt x="2592" y="104"/>
                  </a:lnTo>
                  <a:lnTo>
                    <a:pt x="2550" y="126"/>
                  </a:lnTo>
                  <a:lnTo>
                    <a:pt x="2509" y="148"/>
                  </a:lnTo>
                  <a:lnTo>
                    <a:pt x="2470" y="174"/>
                  </a:lnTo>
                  <a:lnTo>
                    <a:pt x="2431" y="200"/>
                  </a:lnTo>
                  <a:lnTo>
                    <a:pt x="2396" y="228"/>
                  </a:lnTo>
                  <a:lnTo>
                    <a:pt x="2360" y="258"/>
                  </a:lnTo>
                  <a:lnTo>
                    <a:pt x="2326" y="290"/>
                  </a:lnTo>
                  <a:lnTo>
                    <a:pt x="2294" y="323"/>
                  </a:lnTo>
                  <a:lnTo>
                    <a:pt x="2265" y="358"/>
                  </a:lnTo>
                  <a:lnTo>
                    <a:pt x="2236" y="394"/>
                  </a:lnTo>
                  <a:lnTo>
                    <a:pt x="2210" y="432"/>
                  </a:lnTo>
                  <a:lnTo>
                    <a:pt x="2185" y="471"/>
                  </a:lnTo>
                  <a:lnTo>
                    <a:pt x="2164" y="512"/>
                  </a:lnTo>
                  <a:lnTo>
                    <a:pt x="2143" y="554"/>
                  </a:lnTo>
                  <a:lnTo>
                    <a:pt x="2125" y="597"/>
                  </a:lnTo>
                  <a:lnTo>
                    <a:pt x="2108" y="642"/>
                  </a:lnTo>
                  <a:lnTo>
                    <a:pt x="2095" y="688"/>
                  </a:lnTo>
                  <a:lnTo>
                    <a:pt x="2083" y="736"/>
                  </a:lnTo>
                  <a:lnTo>
                    <a:pt x="2075" y="784"/>
                  </a:lnTo>
                  <a:lnTo>
                    <a:pt x="2067" y="834"/>
                  </a:lnTo>
                  <a:lnTo>
                    <a:pt x="2063" y="885"/>
                  </a:lnTo>
                  <a:lnTo>
                    <a:pt x="2062" y="937"/>
                  </a:lnTo>
                  <a:lnTo>
                    <a:pt x="2063" y="989"/>
                  </a:lnTo>
                  <a:lnTo>
                    <a:pt x="2067" y="1041"/>
                  </a:lnTo>
                  <a:lnTo>
                    <a:pt x="2075" y="1091"/>
                  </a:lnTo>
                  <a:lnTo>
                    <a:pt x="2083" y="1140"/>
                  </a:lnTo>
                  <a:lnTo>
                    <a:pt x="2095" y="1187"/>
                  </a:lnTo>
                  <a:lnTo>
                    <a:pt x="2108" y="1234"/>
                  </a:lnTo>
                  <a:lnTo>
                    <a:pt x="2125" y="1278"/>
                  </a:lnTo>
                  <a:lnTo>
                    <a:pt x="2143" y="1321"/>
                  </a:lnTo>
                  <a:lnTo>
                    <a:pt x="2164" y="1363"/>
                  </a:lnTo>
                  <a:lnTo>
                    <a:pt x="2185" y="1404"/>
                  </a:lnTo>
                  <a:lnTo>
                    <a:pt x="2210" y="1444"/>
                  </a:lnTo>
                  <a:lnTo>
                    <a:pt x="2236" y="1482"/>
                  </a:lnTo>
                  <a:lnTo>
                    <a:pt x="2265" y="1518"/>
                  </a:lnTo>
                  <a:lnTo>
                    <a:pt x="2294" y="1553"/>
                  </a:lnTo>
                  <a:lnTo>
                    <a:pt x="2326" y="1586"/>
                  </a:lnTo>
                  <a:lnTo>
                    <a:pt x="2360" y="1617"/>
                  </a:lnTo>
                  <a:lnTo>
                    <a:pt x="2396" y="1647"/>
                  </a:lnTo>
                  <a:lnTo>
                    <a:pt x="2431" y="1676"/>
                  </a:lnTo>
                  <a:lnTo>
                    <a:pt x="2470" y="1702"/>
                  </a:lnTo>
                  <a:lnTo>
                    <a:pt x="2509" y="1727"/>
                  </a:lnTo>
                  <a:lnTo>
                    <a:pt x="2550" y="1750"/>
                  </a:lnTo>
                  <a:lnTo>
                    <a:pt x="2592" y="1772"/>
                  </a:lnTo>
                  <a:lnTo>
                    <a:pt x="2635" y="1790"/>
                  </a:lnTo>
                  <a:lnTo>
                    <a:pt x="2680" y="1808"/>
                  </a:lnTo>
                  <a:lnTo>
                    <a:pt x="2725" y="1824"/>
                  </a:lnTo>
                  <a:lnTo>
                    <a:pt x="2771" y="1837"/>
                  </a:lnTo>
                  <a:lnTo>
                    <a:pt x="2819" y="1848"/>
                  </a:lnTo>
                  <a:lnTo>
                    <a:pt x="2867" y="1858"/>
                  </a:lnTo>
                  <a:lnTo>
                    <a:pt x="2915" y="1865"/>
                  </a:lnTo>
                  <a:lnTo>
                    <a:pt x="2965" y="1871"/>
                  </a:lnTo>
                  <a:lnTo>
                    <a:pt x="3015" y="1874"/>
                  </a:lnTo>
                  <a:lnTo>
                    <a:pt x="3065" y="1876"/>
                  </a:lnTo>
                  <a:lnTo>
                    <a:pt x="3116" y="1874"/>
                  </a:lnTo>
                  <a:lnTo>
                    <a:pt x="3167" y="1871"/>
                  </a:lnTo>
                  <a:lnTo>
                    <a:pt x="3217" y="1865"/>
                  </a:lnTo>
                  <a:lnTo>
                    <a:pt x="3265" y="1858"/>
                  </a:lnTo>
                  <a:lnTo>
                    <a:pt x="3313" y="1848"/>
                  </a:lnTo>
                  <a:lnTo>
                    <a:pt x="3360" y="1837"/>
                  </a:lnTo>
                  <a:lnTo>
                    <a:pt x="3407" y="1824"/>
                  </a:lnTo>
                  <a:lnTo>
                    <a:pt x="3452" y="1808"/>
                  </a:lnTo>
                  <a:lnTo>
                    <a:pt x="3496" y="1790"/>
                  </a:lnTo>
                  <a:lnTo>
                    <a:pt x="3540" y="1772"/>
                  </a:lnTo>
                  <a:lnTo>
                    <a:pt x="3582" y="1750"/>
                  </a:lnTo>
                  <a:lnTo>
                    <a:pt x="3623" y="1727"/>
                  </a:lnTo>
                  <a:lnTo>
                    <a:pt x="3661" y="1702"/>
                  </a:lnTo>
                  <a:lnTo>
                    <a:pt x="3699" y="1676"/>
                  </a:lnTo>
                  <a:lnTo>
                    <a:pt x="3736" y="1647"/>
                  </a:lnTo>
                  <a:lnTo>
                    <a:pt x="3772" y="1617"/>
                  </a:lnTo>
                  <a:lnTo>
                    <a:pt x="3805" y="1586"/>
                  </a:lnTo>
                  <a:lnTo>
                    <a:pt x="3836" y="1553"/>
                  </a:lnTo>
                  <a:lnTo>
                    <a:pt x="3867" y="1518"/>
                  </a:lnTo>
                  <a:lnTo>
                    <a:pt x="3896" y="1482"/>
                  </a:lnTo>
                  <a:lnTo>
                    <a:pt x="3921" y="1444"/>
                  </a:lnTo>
                  <a:lnTo>
                    <a:pt x="3946" y="1404"/>
                  </a:lnTo>
                  <a:lnTo>
                    <a:pt x="3968" y="1363"/>
                  </a:lnTo>
                  <a:lnTo>
                    <a:pt x="3989" y="1321"/>
                  </a:lnTo>
                  <a:lnTo>
                    <a:pt x="4007" y="1278"/>
                  </a:lnTo>
                  <a:lnTo>
                    <a:pt x="4023" y="1234"/>
                  </a:lnTo>
                  <a:lnTo>
                    <a:pt x="4037" y="1187"/>
                  </a:lnTo>
                  <a:lnTo>
                    <a:pt x="4048" y="1140"/>
                  </a:lnTo>
                  <a:lnTo>
                    <a:pt x="4057" y="1091"/>
                  </a:lnTo>
                  <a:lnTo>
                    <a:pt x="4064" y="1041"/>
                  </a:lnTo>
                  <a:lnTo>
                    <a:pt x="4068" y="989"/>
                  </a:lnTo>
                  <a:lnTo>
                    <a:pt x="4069" y="937"/>
                  </a:lnTo>
                  <a:close/>
                  <a:moveTo>
                    <a:pt x="4805" y="42"/>
                  </a:moveTo>
                  <a:lnTo>
                    <a:pt x="4564" y="1322"/>
                  </a:lnTo>
                  <a:lnTo>
                    <a:pt x="4560" y="1340"/>
                  </a:lnTo>
                  <a:lnTo>
                    <a:pt x="4555" y="1356"/>
                  </a:lnTo>
                  <a:lnTo>
                    <a:pt x="4549" y="1371"/>
                  </a:lnTo>
                  <a:lnTo>
                    <a:pt x="4542" y="1385"/>
                  </a:lnTo>
                  <a:lnTo>
                    <a:pt x="4535" y="1398"/>
                  </a:lnTo>
                  <a:lnTo>
                    <a:pt x="4525" y="1409"/>
                  </a:lnTo>
                  <a:lnTo>
                    <a:pt x="4515" y="1419"/>
                  </a:lnTo>
                  <a:lnTo>
                    <a:pt x="4505" y="1429"/>
                  </a:lnTo>
                  <a:lnTo>
                    <a:pt x="4494" y="1437"/>
                  </a:lnTo>
                  <a:lnTo>
                    <a:pt x="4481" y="1443"/>
                  </a:lnTo>
                  <a:lnTo>
                    <a:pt x="4468" y="1449"/>
                  </a:lnTo>
                  <a:lnTo>
                    <a:pt x="4454" y="1453"/>
                  </a:lnTo>
                  <a:lnTo>
                    <a:pt x="4440" y="1457"/>
                  </a:lnTo>
                  <a:lnTo>
                    <a:pt x="4423" y="1459"/>
                  </a:lnTo>
                  <a:lnTo>
                    <a:pt x="4407" y="1461"/>
                  </a:lnTo>
                  <a:lnTo>
                    <a:pt x="4389" y="1461"/>
                  </a:lnTo>
                  <a:lnTo>
                    <a:pt x="4195" y="1461"/>
                  </a:lnTo>
                  <a:lnTo>
                    <a:pt x="4195" y="1830"/>
                  </a:lnTo>
                  <a:lnTo>
                    <a:pt x="4409" y="1830"/>
                  </a:lnTo>
                  <a:lnTo>
                    <a:pt x="4436" y="1830"/>
                  </a:lnTo>
                  <a:lnTo>
                    <a:pt x="4463" y="1829"/>
                  </a:lnTo>
                  <a:lnTo>
                    <a:pt x="4490" y="1827"/>
                  </a:lnTo>
                  <a:lnTo>
                    <a:pt x="4515" y="1824"/>
                  </a:lnTo>
                  <a:lnTo>
                    <a:pt x="4540" y="1820"/>
                  </a:lnTo>
                  <a:lnTo>
                    <a:pt x="4564" y="1815"/>
                  </a:lnTo>
                  <a:lnTo>
                    <a:pt x="4588" y="1809"/>
                  </a:lnTo>
                  <a:lnTo>
                    <a:pt x="4611" y="1803"/>
                  </a:lnTo>
                  <a:lnTo>
                    <a:pt x="4634" y="1796"/>
                  </a:lnTo>
                  <a:lnTo>
                    <a:pt x="4655" y="1788"/>
                  </a:lnTo>
                  <a:lnTo>
                    <a:pt x="4677" y="1779"/>
                  </a:lnTo>
                  <a:lnTo>
                    <a:pt x="4697" y="1770"/>
                  </a:lnTo>
                  <a:lnTo>
                    <a:pt x="4718" y="1758"/>
                  </a:lnTo>
                  <a:lnTo>
                    <a:pt x="4736" y="1747"/>
                  </a:lnTo>
                  <a:lnTo>
                    <a:pt x="4755" y="1735"/>
                  </a:lnTo>
                  <a:lnTo>
                    <a:pt x="4773" y="1721"/>
                  </a:lnTo>
                  <a:lnTo>
                    <a:pt x="4790" y="1706"/>
                  </a:lnTo>
                  <a:lnTo>
                    <a:pt x="4807" y="1691"/>
                  </a:lnTo>
                  <a:lnTo>
                    <a:pt x="4822" y="1675"/>
                  </a:lnTo>
                  <a:lnTo>
                    <a:pt x="4837" y="1657"/>
                  </a:lnTo>
                  <a:lnTo>
                    <a:pt x="4852" y="1640"/>
                  </a:lnTo>
                  <a:lnTo>
                    <a:pt x="4865" y="1620"/>
                  </a:lnTo>
                  <a:lnTo>
                    <a:pt x="4878" y="1600"/>
                  </a:lnTo>
                  <a:lnTo>
                    <a:pt x="4890" y="1579"/>
                  </a:lnTo>
                  <a:lnTo>
                    <a:pt x="4902" y="1557"/>
                  </a:lnTo>
                  <a:lnTo>
                    <a:pt x="4912" y="1534"/>
                  </a:lnTo>
                  <a:lnTo>
                    <a:pt x="4922" y="1510"/>
                  </a:lnTo>
                  <a:lnTo>
                    <a:pt x="4931" y="1485"/>
                  </a:lnTo>
                  <a:lnTo>
                    <a:pt x="4939" y="1458"/>
                  </a:lnTo>
                  <a:lnTo>
                    <a:pt x="4947" y="1432"/>
                  </a:lnTo>
                  <a:lnTo>
                    <a:pt x="4954" y="1403"/>
                  </a:lnTo>
                  <a:lnTo>
                    <a:pt x="4959" y="1374"/>
                  </a:lnTo>
                  <a:lnTo>
                    <a:pt x="5141" y="404"/>
                  </a:lnTo>
                  <a:lnTo>
                    <a:pt x="5827" y="404"/>
                  </a:lnTo>
                  <a:lnTo>
                    <a:pt x="5827" y="1830"/>
                  </a:lnTo>
                  <a:lnTo>
                    <a:pt x="6232" y="1830"/>
                  </a:lnTo>
                  <a:lnTo>
                    <a:pt x="6232" y="42"/>
                  </a:lnTo>
                  <a:lnTo>
                    <a:pt x="4805" y="42"/>
                  </a:lnTo>
                  <a:close/>
                  <a:moveTo>
                    <a:pt x="6620" y="42"/>
                  </a:moveTo>
                  <a:lnTo>
                    <a:pt x="6620" y="1830"/>
                  </a:lnTo>
                  <a:lnTo>
                    <a:pt x="7018" y="1830"/>
                  </a:lnTo>
                  <a:lnTo>
                    <a:pt x="7018" y="1073"/>
                  </a:lnTo>
                  <a:lnTo>
                    <a:pt x="7290" y="1073"/>
                  </a:lnTo>
                  <a:lnTo>
                    <a:pt x="7297" y="1121"/>
                  </a:lnTo>
                  <a:lnTo>
                    <a:pt x="7305" y="1167"/>
                  </a:lnTo>
                  <a:lnTo>
                    <a:pt x="7317" y="1212"/>
                  </a:lnTo>
                  <a:lnTo>
                    <a:pt x="7329" y="1256"/>
                  </a:lnTo>
                  <a:lnTo>
                    <a:pt x="7343" y="1298"/>
                  </a:lnTo>
                  <a:lnTo>
                    <a:pt x="7360" y="1339"/>
                  </a:lnTo>
                  <a:lnTo>
                    <a:pt x="7378" y="1377"/>
                  </a:lnTo>
                  <a:lnTo>
                    <a:pt x="7397" y="1415"/>
                  </a:lnTo>
                  <a:lnTo>
                    <a:pt x="7419" y="1452"/>
                  </a:lnTo>
                  <a:lnTo>
                    <a:pt x="7442" y="1488"/>
                  </a:lnTo>
                  <a:lnTo>
                    <a:pt x="7467" y="1520"/>
                  </a:lnTo>
                  <a:lnTo>
                    <a:pt x="7493" y="1553"/>
                  </a:lnTo>
                  <a:lnTo>
                    <a:pt x="7520" y="1584"/>
                  </a:lnTo>
                  <a:lnTo>
                    <a:pt x="7550" y="1613"/>
                  </a:lnTo>
                  <a:lnTo>
                    <a:pt x="7580" y="1641"/>
                  </a:lnTo>
                  <a:lnTo>
                    <a:pt x="7612" y="1667"/>
                  </a:lnTo>
                  <a:lnTo>
                    <a:pt x="7645" y="1692"/>
                  </a:lnTo>
                  <a:lnTo>
                    <a:pt x="7679" y="1715"/>
                  </a:lnTo>
                  <a:lnTo>
                    <a:pt x="7714" y="1737"/>
                  </a:lnTo>
                  <a:lnTo>
                    <a:pt x="7751" y="1757"/>
                  </a:lnTo>
                  <a:lnTo>
                    <a:pt x="7789" y="1776"/>
                  </a:lnTo>
                  <a:lnTo>
                    <a:pt x="7828" y="1793"/>
                  </a:lnTo>
                  <a:lnTo>
                    <a:pt x="7867" y="1808"/>
                  </a:lnTo>
                  <a:lnTo>
                    <a:pt x="7908" y="1823"/>
                  </a:lnTo>
                  <a:lnTo>
                    <a:pt x="7950" y="1835"/>
                  </a:lnTo>
                  <a:lnTo>
                    <a:pt x="7991" y="1845"/>
                  </a:lnTo>
                  <a:lnTo>
                    <a:pt x="8034" y="1854"/>
                  </a:lnTo>
                  <a:lnTo>
                    <a:pt x="8078" y="1861"/>
                  </a:lnTo>
                  <a:lnTo>
                    <a:pt x="8123" y="1868"/>
                  </a:lnTo>
                  <a:lnTo>
                    <a:pt x="8168" y="1872"/>
                  </a:lnTo>
                  <a:lnTo>
                    <a:pt x="8214" y="1875"/>
                  </a:lnTo>
                  <a:lnTo>
                    <a:pt x="8261" y="1876"/>
                  </a:lnTo>
                  <a:lnTo>
                    <a:pt x="8311" y="1875"/>
                  </a:lnTo>
                  <a:lnTo>
                    <a:pt x="8362" y="1872"/>
                  </a:lnTo>
                  <a:lnTo>
                    <a:pt x="8410" y="1867"/>
                  </a:lnTo>
                  <a:lnTo>
                    <a:pt x="8459" y="1859"/>
                  </a:lnTo>
                  <a:lnTo>
                    <a:pt x="8506" y="1850"/>
                  </a:lnTo>
                  <a:lnTo>
                    <a:pt x="8552" y="1840"/>
                  </a:lnTo>
                  <a:lnTo>
                    <a:pt x="8598" y="1828"/>
                  </a:lnTo>
                  <a:lnTo>
                    <a:pt x="8642" y="1812"/>
                  </a:lnTo>
                  <a:lnTo>
                    <a:pt x="8686" y="1796"/>
                  </a:lnTo>
                  <a:lnTo>
                    <a:pt x="8728" y="1779"/>
                  </a:lnTo>
                  <a:lnTo>
                    <a:pt x="8769" y="1758"/>
                  </a:lnTo>
                  <a:lnTo>
                    <a:pt x="8808" y="1736"/>
                  </a:lnTo>
                  <a:lnTo>
                    <a:pt x="8846" y="1712"/>
                  </a:lnTo>
                  <a:lnTo>
                    <a:pt x="8883" y="1687"/>
                  </a:lnTo>
                  <a:lnTo>
                    <a:pt x="8919" y="1660"/>
                  </a:lnTo>
                  <a:lnTo>
                    <a:pt x="8953" y="1631"/>
                  </a:lnTo>
                  <a:lnTo>
                    <a:pt x="8985" y="1600"/>
                  </a:lnTo>
                  <a:lnTo>
                    <a:pt x="9016" y="1567"/>
                  </a:lnTo>
                  <a:lnTo>
                    <a:pt x="9045" y="1533"/>
                  </a:lnTo>
                  <a:lnTo>
                    <a:pt x="9072" y="1497"/>
                  </a:lnTo>
                  <a:lnTo>
                    <a:pt x="9098" y="1459"/>
                  </a:lnTo>
                  <a:lnTo>
                    <a:pt x="9121" y="1420"/>
                  </a:lnTo>
                  <a:lnTo>
                    <a:pt x="9143" y="1380"/>
                  </a:lnTo>
                  <a:lnTo>
                    <a:pt x="9162" y="1337"/>
                  </a:lnTo>
                  <a:lnTo>
                    <a:pt x="9180" y="1293"/>
                  </a:lnTo>
                  <a:lnTo>
                    <a:pt x="9195" y="1247"/>
                  </a:lnTo>
                  <a:lnTo>
                    <a:pt x="9208" y="1199"/>
                  </a:lnTo>
                  <a:lnTo>
                    <a:pt x="9218" y="1150"/>
                  </a:lnTo>
                  <a:lnTo>
                    <a:pt x="9228" y="1099"/>
                  </a:lnTo>
                  <a:lnTo>
                    <a:pt x="9234" y="1047"/>
                  </a:lnTo>
                  <a:lnTo>
                    <a:pt x="9238" y="993"/>
                  </a:lnTo>
                  <a:lnTo>
                    <a:pt x="9239" y="937"/>
                  </a:lnTo>
                  <a:lnTo>
                    <a:pt x="9238" y="882"/>
                  </a:lnTo>
                  <a:lnTo>
                    <a:pt x="9234" y="828"/>
                  </a:lnTo>
                  <a:lnTo>
                    <a:pt x="9228" y="776"/>
                  </a:lnTo>
                  <a:lnTo>
                    <a:pt x="9218" y="726"/>
                  </a:lnTo>
                  <a:lnTo>
                    <a:pt x="9208" y="677"/>
                  </a:lnTo>
                  <a:lnTo>
                    <a:pt x="9195" y="629"/>
                  </a:lnTo>
                  <a:lnTo>
                    <a:pt x="9180" y="583"/>
                  </a:lnTo>
                  <a:lnTo>
                    <a:pt x="9162" y="539"/>
                  </a:lnTo>
                  <a:lnTo>
                    <a:pt x="9143" y="496"/>
                  </a:lnTo>
                  <a:lnTo>
                    <a:pt x="9121" y="456"/>
                  </a:lnTo>
                  <a:lnTo>
                    <a:pt x="9098" y="416"/>
                  </a:lnTo>
                  <a:lnTo>
                    <a:pt x="9072" y="378"/>
                  </a:lnTo>
                  <a:lnTo>
                    <a:pt x="9045" y="342"/>
                  </a:lnTo>
                  <a:lnTo>
                    <a:pt x="9016" y="309"/>
                  </a:lnTo>
                  <a:lnTo>
                    <a:pt x="8985" y="276"/>
                  </a:lnTo>
                  <a:lnTo>
                    <a:pt x="8953" y="245"/>
                  </a:lnTo>
                  <a:lnTo>
                    <a:pt x="8919" y="216"/>
                  </a:lnTo>
                  <a:lnTo>
                    <a:pt x="8883" y="188"/>
                  </a:lnTo>
                  <a:lnTo>
                    <a:pt x="8846" y="163"/>
                  </a:lnTo>
                  <a:lnTo>
                    <a:pt x="8808" y="139"/>
                  </a:lnTo>
                  <a:lnTo>
                    <a:pt x="8769" y="118"/>
                  </a:lnTo>
                  <a:lnTo>
                    <a:pt x="8728" y="97"/>
                  </a:lnTo>
                  <a:lnTo>
                    <a:pt x="8686" y="79"/>
                  </a:lnTo>
                  <a:lnTo>
                    <a:pt x="8642" y="62"/>
                  </a:lnTo>
                  <a:lnTo>
                    <a:pt x="8598" y="48"/>
                  </a:lnTo>
                  <a:lnTo>
                    <a:pt x="8552" y="36"/>
                  </a:lnTo>
                  <a:lnTo>
                    <a:pt x="8506" y="25"/>
                  </a:lnTo>
                  <a:lnTo>
                    <a:pt x="8459" y="17"/>
                  </a:lnTo>
                  <a:lnTo>
                    <a:pt x="8410" y="9"/>
                  </a:lnTo>
                  <a:lnTo>
                    <a:pt x="8362" y="4"/>
                  </a:lnTo>
                  <a:lnTo>
                    <a:pt x="8311" y="1"/>
                  </a:lnTo>
                  <a:lnTo>
                    <a:pt x="8261" y="0"/>
                  </a:lnTo>
                  <a:lnTo>
                    <a:pt x="8217" y="1"/>
                  </a:lnTo>
                  <a:lnTo>
                    <a:pt x="8174" y="3"/>
                  </a:lnTo>
                  <a:lnTo>
                    <a:pt x="8132" y="7"/>
                  </a:lnTo>
                  <a:lnTo>
                    <a:pt x="8090" y="12"/>
                  </a:lnTo>
                  <a:lnTo>
                    <a:pt x="8048" y="19"/>
                  </a:lnTo>
                  <a:lnTo>
                    <a:pt x="8007" y="27"/>
                  </a:lnTo>
                  <a:lnTo>
                    <a:pt x="7967" y="36"/>
                  </a:lnTo>
                  <a:lnTo>
                    <a:pt x="7927" y="47"/>
                  </a:lnTo>
                  <a:lnTo>
                    <a:pt x="7888" y="59"/>
                  </a:lnTo>
                  <a:lnTo>
                    <a:pt x="7850" y="74"/>
                  </a:lnTo>
                  <a:lnTo>
                    <a:pt x="7814" y="89"/>
                  </a:lnTo>
                  <a:lnTo>
                    <a:pt x="7778" y="105"/>
                  </a:lnTo>
                  <a:lnTo>
                    <a:pt x="7742" y="123"/>
                  </a:lnTo>
                  <a:lnTo>
                    <a:pt x="7708" y="142"/>
                  </a:lnTo>
                  <a:lnTo>
                    <a:pt x="7675" y="163"/>
                  </a:lnTo>
                  <a:lnTo>
                    <a:pt x="7643" y="185"/>
                  </a:lnTo>
                  <a:lnTo>
                    <a:pt x="7612" y="208"/>
                  </a:lnTo>
                  <a:lnTo>
                    <a:pt x="7582" y="233"/>
                  </a:lnTo>
                  <a:lnTo>
                    <a:pt x="7553" y="258"/>
                  </a:lnTo>
                  <a:lnTo>
                    <a:pt x="7526" y="286"/>
                  </a:lnTo>
                  <a:lnTo>
                    <a:pt x="7500" y="315"/>
                  </a:lnTo>
                  <a:lnTo>
                    <a:pt x="7475" y="344"/>
                  </a:lnTo>
                  <a:lnTo>
                    <a:pt x="7452" y="376"/>
                  </a:lnTo>
                  <a:lnTo>
                    <a:pt x="7429" y="408"/>
                  </a:lnTo>
                  <a:lnTo>
                    <a:pt x="7409" y="441"/>
                  </a:lnTo>
                  <a:lnTo>
                    <a:pt x="7389" y="477"/>
                  </a:lnTo>
                  <a:lnTo>
                    <a:pt x="7371" y="513"/>
                  </a:lnTo>
                  <a:lnTo>
                    <a:pt x="7354" y="550"/>
                  </a:lnTo>
                  <a:lnTo>
                    <a:pt x="7340" y="588"/>
                  </a:lnTo>
                  <a:lnTo>
                    <a:pt x="7327" y="628"/>
                  </a:lnTo>
                  <a:lnTo>
                    <a:pt x="7316" y="669"/>
                  </a:lnTo>
                  <a:lnTo>
                    <a:pt x="7306" y="712"/>
                  </a:lnTo>
                  <a:lnTo>
                    <a:pt x="7018" y="712"/>
                  </a:lnTo>
                  <a:lnTo>
                    <a:pt x="7018" y="42"/>
                  </a:lnTo>
                  <a:lnTo>
                    <a:pt x="6620" y="42"/>
                  </a:lnTo>
                  <a:close/>
                  <a:moveTo>
                    <a:pt x="7685" y="937"/>
                  </a:moveTo>
                  <a:lnTo>
                    <a:pt x="7686" y="904"/>
                  </a:lnTo>
                  <a:lnTo>
                    <a:pt x="7687" y="870"/>
                  </a:lnTo>
                  <a:lnTo>
                    <a:pt x="7690" y="838"/>
                  </a:lnTo>
                  <a:lnTo>
                    <a:pt x="7694" y="807"/>
                  </a:lnTo>
                  <a:lnTo>
                    <a:pt x="7699" y="776"/>
                  </a:lnTo>
                  <a:lnTo>
                    <a:pt x="7705" y="747"/>
                  </a:lnTo>
                  <a:lnTo>
                    <a:pt x="7713" y="718"/>
                  </a:lnTo>
                  <a:lnTo>
                    <a:pt x="7722" y="689"/>
                  </a:lnTo>
                  <a:lnTo>
                    <a:pt x="7732" y="663"/>
                  </a:lnTo>
                  <a:lnTo>
                    <a:pt x="7742" y="637"/>
                  </a:lnTo>
                  <a:lnTo>
                    <a:pt x="7754" y="613"/>
                  </a:lnTo>
                  <a:lnTo>
                    <a:pt x="7768" y="588"/>
                  </a:lnTo>
                  <a:lnTo>
                    <a:pt x="7782" y="566"/>
                  </a:lnTo>
                  <a:lnTo>
                    <a:pt x="7797" y="544"/>
                  </a:lnTo>
                  <a:lnTo>
                    <a:pt x="7814" y="523"/>
                  </a:lnTo>
                  <a:lnTo>
                    <a:pt x="7831" y="504"/>
                  </a:lnTo>
                  <a:lnTo>
                    <a:pt x="7849" y="485"/>
                  </a:lnTo>
                  <a:lnTo>
                    <a:pt x="7870" y="468"/>
                  </a:lnTo>
                  <a:lnTo>
                    <a:pt x="7890" y="451"/>
                  </a:lnTo>
                  <a:lnTo>
                    <a:pt x="7913" y="436"/>
                  </a:lnTo>
                  <a:lnTo>
                    <a:pt x="7935" y="422"/>
                  </a:lnTo>
                  <a:lnTo>
                    <a:pt x="7960" y="410"/>
                  </a:lnTo>
                  <a:lnTo>
                    <a:pt x="7985" y="397"/>
                  </a:lnTo>
                  <a:lnTo>
                    <a:pt x="8011" y="387"/>
                  </a:lnTo>
                  <a:lnTo>
                    <a:pt x="8038" y="377"/>
                  </a:lnTo>
                  <a:lnTo>
                    <a:pt x="8067" y="369"/>
                  </a:lnTo>
                  <a:lnTo>
                    <a:pt x="8097" y="363"/>
                  </a:lnTo>
                  <a:lnTo>
                    <a:pt x="8127" y="356"/>
                  </a:lnTo>
                  <a:lnTo>
                    <a:pt x="8159" y="352"/>
                  </a:lnTo>
                  <a:lnTo>
                    <a:pt x="8192" y="348"/>
                  </a:lnTo>
                  <a:lnTo>
                    <a:pt x="8227" y="346"/>
                  </a:lnTo>
                  <a:lnTo>
                    <a:pt x="8261" y="346"/>
                  </a:lnTo>
                  <a:lnTo>
                    <a:pt x="8296" y="346"/>
                  </a:lnTo>
                  <a:lnTo>
                    <a:pt x="8330" y="348"/>
                  </a:lnTo>
                  <a:lnTo>
                    <a:pt x="8363" y="352"/>
                  </a:lnTo>
                  <a:lnTo>
                    <a:pt x="8394" y="356"/>
                  </a:lnTo>
                  <a:lnTo>
                    <a:pt x="8425" y="363"/>
                  </a:lnTo>
                  <a:lnTo>
                    <a:pt x="8455" y="369"/>
                  </a:lnTo>
                  <a:lnTo>
                    <a:pt x="8483" y="377"/>
                  </a:lnTo>
                  <a:lnTo>
                    <a:pt x="8511" y="387"/>
                  </a:lnTo>
                  <a:lnTo>
                    <a:pt x="8537" y="397"/>
                  </a:lnTo>
                  <a:lnTo>
                    <a:pt x="8563" y="410"/>
                  </a:lnTo>
                  <a:lnTo>
                    <a:pt x="8587" y="422"/>
                  </a:lnTo>
                  <a:lnTo>
                    <a:pt x="8610" y="436"/>
                  </a:lnTo>
                  <a:lnTo>
                    <a:pt x="8632" y="451"/>
                  </a:lnTo>
                  <a:lnTo>
                    <a:pt x="8653" y="468"/>
                  </a:lnTo>
                  <a:lnTo>
                    <a:pt x="8672" y="485"/>
                  </a:lnTo>
                  <a:lnTo>
                    <a:pt x="8691" y="504"/>
                  </a:lnTo>
                  <a:lnTo>
                    <a:pt x="8709" y="523"/>
                  </a:lnTo>
                  <a:lnTo>
                    <a:pt x="8726" y="544"/>
                  </a:lnTo>
                  <a:lnTo>
                    <a:pt x="8741" y="566"/>
                  </a:lnTo>
                  <a:lnTo>
                    <a:pt x="8755" y="588"/>
                  </a:lnTo>
                  <a:lnTo>
                    <a:pt x="8767" y="613"/>
                  </a:lnTo>
                  <a:lnTo>
                    <a:pt x="8780" y="637"/>
                  </a:lnTo>
                  <a:lnTo>
                    <a:pt x="8791" y="663"/>
                  </a:lnTo>
                  <a:lnTo>
                    <a:pt x="8800" y="689"/>
                  </a:lnTo>
                  <a:lnTo>
                    <a:pt x="8809" y="718"/>
                  </a:lnTo>
                  <a:lnTo>
                    <a:pt x="8817" y="747"/>
                  </a:lnTo>
                  <a:lnTo>
                    <a:pt x="8823" y="776"/>
                  </a:lnTo>
                  <a:lnTo>
                    <a:pt x="8828" y="807"/>
                  </a:lnTo>
                  <a:lnTo>
                    <a:pt x="8832" y="838"/>
                  </a:lnTo>
                  <a:lnTo>
                    <a:pt x="8835" y="870"/>
                  </a:lnTo>
                  <a:lnTo>
                    <a:pt x="8837" y="904"/>
                  </a:lnTo>
                  <a:lnTo>
                    <a:pt x="8837" y="937"/>
                  </a:lnTo>
                  <a:lnTo>
                    <a:pt x="8837" y="972"/>
                  </a:lnTo>
                  <a:lnTo>
                    <a:pt x="8835" y="1005"/>
                  </a:lnTo>
                  <a:lnTo>
                    <a:pt x="8832" y="1037"/>
                  </a:lnTo>
                  <a:lnTo>
                    <a:pt x="8828" y="1069"/>
                  </a:lnTo>
                  <a:lnTo>
                    <a:pt x="8823" y="1100"/>
                  </a:lnTo>
                  <a:lnTo>
                    <a:pt x="8817" y="1129"/>
                  </a:lnTo>
                  <a:lnTo>
                    <a:pt x="8809" y="1158"/>
                  </a:lnTo>
                  <a:lnTo>
                    <a:pt x="8800" y="1186"/>
                  </a:lnTo>
                  <a:lnTo>
                    <a:pt x="8791" y="1212"/>
                  </a:lnTo>
                  <a:lnTo>
                    <a:pt x="8780" y="1239"/>
                  </a:lnTo>
                  <a:lnTo>
                    <a:pt x="8767" y="1263"/>
                  </a:lnTo>
                  <a:lnTo>
                    <a:pt x="8755" y="1287"/>
                  </a:lnTo>
                  <a:lnTo>
                    <a:pt x="8741" y="1310"/>
                  </a:lnTo>
                  <a:lnTo>
                    <a:pt x="8726" y="1332"/>
                  </a:lnTo>
                  <a:lnTo>
                    <a:pt x="8709" y="1352"/>
                  </a:lnTo>
                  <a:lnTo>
                    <a:pt x="8691" y="1371"/>
                  </a:lnTo>
                  <a:lnTo>
                    <a:pt x="8672" y="1391"/>
                  </a:lnTo>
                  <a:lnTo>
                    <a:pt x="8653" y="1408"/>
                  </a:lnTo>
                  <a:lnTo>
                    <a:pt x="8632" y="1424"/>
                  </a:lnTo>
                  <a:lnTo>
                    <a:pt x="8610" y="1440"/>
                  </a:lnTo>
                  <a:lnTo>
                    <a:pt x="8587" y="1453"/>
                  </a:lnTo>
                  <a:lnTo>
                    <a:pt x="8563" y="1466"/>
                  </a:lnTo>
                  <a:lnTo>
                    <a:pt x="8537" y="1479"/>
                  </a:lnTo>
                  <a:lnTo>
                    <a:pt x="8511" y="1489"/>
                  </a:lnTo>
                  <a:lnTo>
                    <a:pt x="8483" y="1498"/>
                  </a:lnTo>
                  <a:lnTo>
                    <a:pt x="8455" y="1506"/>
                  </a:lnTo>
                  <a:lnTo>
                    <a:pt x="8425" y="1513"/>
                  </a:lnTo>
                  <a:lnTo>
                    <a:pt x="8394" y="1519"/>
                  </a:lnTo>
                  <a:lnTo>
                    <a:pt x="8363" y="1523"/>
                  </a:lnTo>
                  <a:lnTo>
                    <a:pt x="8330" y="1527"/>
                  </a:lnTo>
                  <a:lnTo>
                    <a:pt x="8296" y="1529"/>
                  </a:lnTo>
                  <a:lnTo>
                    <a:pt x="8261" y="1530"/>
                  </a:lnTo>
                  <a:lnTo>
                    <a:pt x="8227" y="1529"/>
                  </a:lnTo>
                  <a:lnTo>
                    <a:pt x="8192" y="1527"/>
                  </a:lnTo>
                  <a:lnTo>
                    <a:pt x="8159" y="1523"/>
                  </a:lnTo>
                  <a:lnTo>
                    <a:pt x="8127" y="1519"/>
                  </a:lnTo>
                  <a:lnTo>
                    <a:pt x="8097" y="1513"/>
                  </a:lnTo>
                  <a:lnTo>
                    <a:pt x="8067" y="1506"/>
                  </a:lnTo>
                  <a:lnTo>
                    <a:pt x="8038" y="1498"/>
                  </a:lnTo>
                  <a:lnTo>
                    <a:pt x="8011" y="1489"/>
                  </a:lnTo>
                  <a:lnTo>
                    <a:pt x="7985" y="1479"/>
                  </a:lnTo>
                  <a:lnTo>
                    <a:pt x="7960" y="1466"/>
                  </a:lnTo>
                  <a:lnTo>
                    <a:pt x="7935" y="1453"/>
                  </a:lnTo>
                  <a:lnTo>
                    <a:pt x="7913" y="1440"/>
                  </a:lnTo>
                  <a:lnTo>
                    <a:pt x="7890" y="1424"/>
                  </a:lnTo>
                  <a:lnTo>
                    <a:pt x="7870" y="1408"/>
                  </a:lnTo>
                  <a:lnTo>
                    <a:pt x="7849" y="1391"/>
                  </a:lnTo>
                  <a:lnTo>
                    <a:pt x="7831" y="1371"/>
                  </a:lnTo>
                  <a:lnTo>
                    <a:pt x="7814" y="1352"/>
                  </a:lnTo>
                  <a:lnTo>
                    <a:pt x="7797" y="1332"/>
                  </a:lnTo>
                  <a:lnTo>
                    <a:pt x="7782" y="1310"/>
                  </a:lnTo>
                  <a:lnTo>
                    <a:pt x="7768" y="1287"/>
                  </a:lnTo>
                  <a:lnTo>
                    <a:pt x="7754" y="1263"/>
                  </a:lnTo>
                  <a:lnTo>
                    <a:pt x="7742" y="1239"/>
                  </a:lnTo>
                  <a:lnTo>
                    <a:pt x="7732" y="1212"/>
                  </a:lnTo>
                  <a:lnTo>
                    <a:pt x="7722" y="1186"/>
                  </a:lnTo>
                  <a:lnTo>
                    <a:pt x="7713" y="1158"/>
                  </a:lnTo>
                  <a:lnTo>
                    <a:pt x="7705" y="1129"/>
                  </a:lnTo>
                  <a:lnTo>
                    <a:pt x="7699" y="1100"/>
                  </a:lnTo>
                  <a:lnTo>
                    <a:pt x="7694" y="1069"/>
                  </a:lnTo>
                  <a:lnTo>
                    <a:pt x="7690" y="1037"/>
                  </a:lnTo>
                  <a:lnTo>
                    <a:pt x="7687" y="1005"/>
                  </a:lnTo>
                  <a:lnTo>
                    <a:pt x="7686" y="972"/>
                  </a:lnTo>
                  <a:lnTo>
                    <a:pt x="7685" y="937"/>
                  </a:lnTo>
                  <a:close/>
                  <a:moveTo>
                    <a:pt x="11388" y="479"/>
                  </a:moveTo>
                  <a:lnTo>
                    <a:pt x="11371" y="449"/>
                  </a:lnTo>
                  <a:lnTo>
                    <a:pt x="11352" y="422"/>
                  </a:lnTo>
                  <a:lnTo>
                    <a:pt x="11333" y="394"/>
                  </a:lnTo>
                  <a:lnTo>
                    <a:pt x="11313" y="368"/>
                  </a:lnTo>
                  <a:lnTo>
                    <a:pt x="11293" y="342"/>
                  </a:lnTo>
                  <a:lnTo>
                    <a:pt x="11271" y="318"/>
                  </a:lnTo>
                  <a:lnTo>
                    <a:pt x="11250" y="294"/>
                  </a:lnTo>
                  <a:lnTo>
                    <a:pt x="11227" y="272"/>
                  </a:lnTo>
                  <a:lnTo>
                    <a:pt x="11204" y="249"/>
                  </a:lnTo>
                  <a:lnTo>
                    <a:pt x="11180" y="229"/>
                  </a:lnTo>
                  <a:lnTo>
                    <a:pt x="11156" y="208"/>
                  </a:lnTo>
                  <a:lnTo>
                    <a:pt x="11130" y="189"/>
                  </a:lnTo>
                  <a:lnTo>
                    <a:pt x="11105" y="172"/>
                  </a:lnTo>
                  <a:lnTo>
                    <a:pt x="11077" y="154"/>
                  </a:lnTo>
                  <a:lnTo>
                    <a:pt x="11051" y="137"/>
                  </a:lnTo>
                  <a:lnTo>
                    <a:pt x="11022" y="122"/>
                  </a:lnTo>
                  <a:lnTo>
                    <a:pt x="10993" y="107"/>
                  </a:lnTo>
                  <a:lnTo>
                    <a:pt x="10964" y="93"/>
                  </a:lnTo>
                  <a:lnTo>
                    <a:pt x="10934" y="81"/>
                  </a:lnTo>
                  <a:lnTo>
                    <a:pt x="10903" y="69"/>
                  </a:lnTo>
                  <a:lnTo>
                    <a:pt x="10872" y="58"/>
                  </a:lnTo>
                  <a:lnTo>
                    <a:pt x="10840" y="48"/>
                  </a:lnTo>
                  <a:lnTo>
                    <a:pt x="10807" y="39"/>
                  </a:lnTo>
                  <a:lnTo>
                    <a:pt x="10774" y="31"/>
                  </a:lnTo>
                  <a:lnTo>
                    <a:pt x="10740" y="24"/>
                  </a:lnTo>
                  <a:lnTo>
                    <a:pt x="10705" y="18"/>
                  </a:lnTo>
                  <a:lnTo>
                    <a:pt x="10669" y="12"/>
                  </a:lnTo>
                  <a:lnTo>
                    <a:pt x="10633" y="8"/>
                  </a:lnTo>
                  <a:lnTo>
                    <a:pt x="10597" y="4"/>
                  </a:lnTo>
                  <a:lnTo>
                    <a:pt x="10559" y="2"/>
                  </a:lnTo>
                  <a:lnTo>
                    <a:pt x="10521" y="1"/>
                  </a:lnTo>
                  <a:lnTo>
                    <a:pt x="10482" y="0"/>
                  </a:lnTo>
                  <a:lnTo>
                    <a:pt x="10429" y="1"/>
                  </a:lnTo>
                  <a:lnTo>
                    <a:pt x="10378" y="4"/>
                  </a:lnTo>
                  <a:lnTo>
                    <a:pt x="10327" y="9"/>
                  </a:lnTo>
                  <a:lnTo>
                    <a:pt x="10277" y="17"/>
                  </a:lnTo>
                  <a:lnTo>
                    <a:pt x="10229" y="26"/>
                  </a:lnTo>
                  <a:lnTo>
                    <a:pt x="10181" y="37"/>
                  </a:lnTo>
                  <a:lnTo>
                    <a:pt x="10133" y="50"/>
                  </a:lnTo>
                  <a:lnTo>
                    <a:pt x="10087" y="66"/>
                  </a:lnTo>
                  <a:lnTo>
                    <a:pt x="10043" y="82"/>
                  </a:lnTo>
                  <a:lnTo>
                    <a:pt x="10001" y="101"/>
                  </a:lnTo>
                  <a:lnTo>
                    <a:pt x="9959" y="122"/>
                  </a:lnTo>
                  <a:lnTo>
                    <a:pt x="9918" y="144"/>
                  </a:lnTo>
                  <a:lnTo>
                    <a:pt x="9879" y="169"/>
                  </a:lnTo>
                  <a:lnTo>
                    <a:pt x="9841" y="195"/>
                  </a:lnTo>
                  <a:lnTo>
                    <a:pt x="9805" y="223"/>
                  </a:lnTo>
                  <a:lnTo>
                    <a:pt x="9771" y="252"/>
                  </a:lnTo>
                  <a:lnTo>
                    <a:pt x="9738" y="283"/>
                  </a:lnTo>
                  <a:lnTo>
                    <a:pt x="9706" y="316"/>
                  </a:lnTo>
                  <a:lnTo>
                    <a:pt x="9677" y="350"/>
                  </a:lnTo>
                  <a:lnTo>
                    <a:pt x="9650" y="387"/>
                  </a:lnTo>
                  <a:lnTo>
                    <a:pt x="9623" y="425"/>
                  </a:lnTo>
                  <a:lnTo>
                    <a:pt x="9600" y="464"/>
                  </a:lnTo>
                  <a:lnTo>
                    <a:pt x="9578" y="505"/>
                  </a:lnTo>
                  <a:lnTo>
                    <a:pt x="9559" y="547"/>
                  </a:lnTo>
                  <a:lnTo>
                    <a:pt x="9540" y="591"/>
                  </a:lnTo>
                  <a:lnTo>
                    <a:pt x="9525" y="636"/>
                  </a:lnTo>
                  <a:lnTo>
                    <a:pt x="9512" y="683"/>
                  </a:lnTo>
                  <a:lnTo>
                    <a:pt x="9502" y="731"/>
                  </a:lnTo>
                  <a:lnTo>
                    <a:pt x="9492" y="781"/>
                  </a:lnTo>
                  <a:lnTo>
                    <a:pt x="9486" y="832"/>
                  </a:lnTo>
                  <a:lnTo>
                    <a:pt x="9483" y="884"/>
                  </a:lnTo>
                  <a:lnTo>
                    <a:pt x="9481" y="937"/>
                  </a:lnTo>
                  <a:lnTo>
                    <a:pt x="9482" y="992"/>
                  </a:lnTo>
                  <a:lnTo>
                    <a:pt x="9486" y="1044"/>
                  </a:lnTo>
                  <a:lnTo>
                    <a:pt x="9492" y="1095"/>
                  </a:lnTo>
                  <a:lnTo>
                    <a:pt x="9501" y="1144"/>
                  </a:lnTo>
                  <a:lnTo>
                    <a:pt x="9512" y="1193"/>
                  </a:lnTo>
                  <a:lnTo>
                    <a:pt x="9525" y="1240"/>
                  </a:lnTo>
                  <a:lnTo>
                    <a:pt x="9539" y="1285"/>
                  </a:lnTo>
                  <a:lnTo>
                    <a:pt x="9557" y="1328"/>
                  </a:lnTo>
                  <a:lnTo>
                    <a:pt x="9576" y="1370"/>
                  </a:lnTo>
                  <a:lnTo>
                    <a:pt x="9598" y="1411"/>
                  </a:lnTo>
                  <a:lnTo>
                    <a:pt x="9621" y="1451"/>
                  </a:lnTo>
                  <a:lnTo>
                    <a:pt x="9647" y="1489"/>
                  </a:lnTo>
                  <a:lnTo>
                    <a:pt x="9674" y="1524"/>
                  </a:lnTo>
                  <a:lnTo>
                    <a:pt x="9703" y="1559"/>
                  </a:lnTo>
                  <a:lnTo>
                    <a:pt x="9734" y="1592"/>
                  </a:lnTo>
                  <a:lnTo>
                    <a:pt x="9766" y="1624"/>
                  </a:lnTo>
                  <a:lnTo>
                    <a:pt x="9801" y="1653"/>
                  </a:lnTo>
                  <a:lnTo>
                    <a:pt x="9837" y="1681"/>
                  </a:lnTo>
                  <a:lnTo>
                    <a:pt x="9875" y="1707"/>
                  </a:lnTo>
                  <a:lnTo>
                    <a:pt x="9914" y="1731"/>
                  </a:lnTo>
                  <a:lnTo>
                    <a:pt x="9954" y="1753"/>
                  </a:lnTo>
                  <a:lnTo>
                    <a:pt x="9995" y="1775"/>
                  </a:lnTo>
                  <a:lnTo>
                    <a:pt x="10039" y="1793"/>
                  </a:lnTo>
                  <a:lnTo>
                    <a:pt x="10083" y="1810"/>
                  </a:lnTo>
                  <a:lnTo>
                    <a:pt x="10129" y="1826"/>
                  </a:lnTo>
                  <a:lnTo>
                    <a:pt x="10176" y="1838"/>
                  </a:lnTo>
                  <a:lnTo>
                    <a:pt x="10224" y="1849"/>
                  </a:lnTo>
                  <a:lnTo>
                    <a:pt x="10275" y="1858"/>
                  </a:lnTo>
                  <a:lnTo>
                    <a:pt x="10325" y="1865"/>
                  </a:lnTo>
                  <a:lnTo>
                    <a:pt x="10376" y="1871"/>
                  </a:lnTo>
                  <a:lnTo>
                    <a:pt x="10428" y="1875"/>
                  </a:lnTo>
                  <a:lnTo>
                    <a:pt x="10482" y="1876"/>
                  </a:lnTo>
                  <a:lnTo>
                    <a:pt x="10521" y="1875"/>
                  </a:lnTo>
                  <a:lnTo>
                    <a:pt x="10559" y="1874"/>
                  </a:lnTo>
                  <a:lnTo>
                    <a:pt x="10597" y="1871"/>
                  </a:lnTo>
                  <a:lnTo>
                    <a:pt x="10633" y="1868"/>
                  </a:lnTo>
                  <a:lnTo>
                    <a:pt x="10669" y="1863"/>
                  </a:lnTo>
                  <a:lnTo>
                    <a:pt x="10705" y="1858"/>
                  </a:lnTo>
                  <a:lnTo>
                    <a:pt x="10740" y="1852"/>
                  </a:lnTo>
                  <a:lnTo>
                    <a:pt x="10774" y="1845"/>
                  </a:lnTo>
                  <a:lnTo>
                    <a:pt x="10807" y="1837"/>
                  </a:lnTo>
                  <a:lnTo>
                    <a:pt x="10840" y="1828"/>
                  </a:lnTo>
                  <a:lnTo>
                    <a:pt x="10872" y="1817"/>
                  </a:lnTo>
                  <a:lnTo>
                    <a:pt x="10903" y="1806"/>
                  </a:lnTo>
                  <a:lnTo>
                    <a:pt x="10934" y="1795"/>
                  </a:lnTo>
                  <a:lnTo>
                    <a:pt x="10964" y="1782"/>
                  </a:lnTo>
                  <a:lnTo>
                    <a:pt x="10993" y="1768"/>
                  </a:lnTo>
                  <a:lnTo>
                    <a:pt x="11022" y="1753"/>
                  </a:lnTo>
                  <a:lnTo>
                    <a:pt x="11051" y="1738"/>
                  </a:lnTo>
                  <a:lnTo>
                    <a:pt x="11077" y="1722"/>
                  </a:lnTo>
                  <a:lnTo>
                    <a:pt x="11105" y="1704"/>
                  </a:lnTo>
                  <a:lnTo>
                    <a:pt x="11130" y="1686"/>
                  </a:lnTo>
                  <a:lnTo>
                    <a:pt x="11156" y="1666"/>
                  </a:lnTo>
                  <a:lnTo>
                    <a:pt x="11180" y="1647"/>
                  </a:lnTo>
                  <a:lnTo>
                    <a:pt x="11204" y="1626"/>
                  </a:lnTo>
                  <a:lnTo>
                    <a:pt x="11227" y="1604"/>
                  </a:lnTo>
                  <a:lnTo>
                    <a:pt x="11250" y="1581"/>
                  </a:lnTo>
                  <a:lnTo>
                    <a:pt x="11271" y="1557"/>
                  </a:lnTo>
                  <a:lnTo>
                    <a:pt x="11293" y="1533"/>
                  </a:lnTo>
                  <a:lnTo>
                    <a:pt x="11313" y="1507"/>
                  </a:lnTo>
                  <a:lnTo>
                    <a:pt x="11333" y="1481"/>
                  </a:lnTo>
                  <a:lnTo>
                    <a:pt x="11352" y="1454"/>
                  </a:lnTo>
                  <a:lnTo>
                    <a:pt x="11371" y="1425"/>
                  </a:lnTo>
                  <a:lnTo>
                    <a:pt x="11388" y="1397"/>
                  </a:lnTo>
                  <a:lnTo>
                    <a:pt x="11074" y="1216"/>
                  </a:lnTo>
                  <a:lnTo>
                    <a:pt x="11061" y="1234"/>
                  </a:lnTo>
                  <a:lnTo>
                    <a:pt x="11048" y="1251"/>
                  </a:lnTo>
                  <a:lnTo>
                    <a:pt x="11034" y="1268"/>
                  </a:lnTo>
                  <a:lnTo>
                    <a:pt x="11021" y="1285"/>
                  </a:lnTo>
                  <a:lnTo>
                    <a:pt x="11007" y="1300"/>
                  </a:lnTo>
                  <a:lnTo>
                    <a:pt x="10992" y="1315"/>
                  </a:lnTo>
                  <a:lnTo>
                    <a:pt x="10978" y="1330"/>
                  </a:lnTo>
                  <a:lnTo>
                    <a:pt x="10963" y="1345"/>
                  </a:lnTo>
                  <a:lnTo>
                    <a:pt x="10948" y="1358"/>
                  </a:lnTo>
                  <a:lnTo>
                    <a:pt x="10932" y="1371"/>
                  </a:lnTo>
                  <a:lnTo>
                    <a:pt x="10917" y="1384"/>
                  </a:lnTo>
                  <a:lnTo>
                    <a:pt x="10900" y="1396"/>
                  </a:lnTo>
                  <a:lnTo>
                    <a:pt x="10883" y="1408"/>
                  </a:lnTo>
                  <a:lnTo>
                    <a:pt x="10866" y="1418"/>
                  </a:lnTo>
                  <a:lnTo>
                    <a:pt x="10848" y="1429"/>
                  </a:lnTo>
                  <a:lnTo>
                    <a:pt x="10831" y="1439"/>
                  </a:lnTo>
                  <a:lnTo>
                    <a:pt x="10812" y="1448"/>
                  </a:lnTo>
                  <a:lnTo>
                    <a:pt x="10793" y="1457"/>
                  </a:lnTo>
                  <a:lnTo>
                    <a:pt x="10774" y="1465"/>
                  </a:lnTo>
                  <a:lnTo>
                    <a:pt x="10754" y="1472"/>
                  </a:lnTo>
                  <a:lnTo>
                    <a:pt x="10734" y="1480"/>
                  </a:lnTo>
                  <a:lnTo>
                    <a:pt x="10713" y="1486"/>
                  </a:lnTo>
                  <a:lnTo>
                    <a:pt x="10692" y="1492"/>
                  </a:lnTo>
                  <a:lnTo>
                    <a:pt x="10670" y="1497"/>
                  </a:lnTo>
                  <a:lnTo>
                    <a:pt x="10648" y="1501"/>
                  </a:lnTo>
                  <a:lnTo>
                    <a:pt x="10624" y="1505"/>
                  </a:lnTo>
                  <a:lnTo>
                    <a:pt x="10601" y="1508"/>
                  </a:lnTo>
                  <a:lnTo>
                    <a:pt x="10577" y="1511"/>
                  </a:lnTo>
                  <a:lnTo>
                    <a:pt x="10553" y="1513"/>
                  </a:lnTo>
                  <a:lnTo>
                    <a:pt x="10527" y="1515"/>
                  </a:lnTo>
                  <a:lnTo>
                    <a:pt x="10502" y="1516"/>
                  </a:lnTo>
                  <a:lnTo>
                    <a:pt x="10475" y="1516"/>
                  </a:lnTo>
                  <a:lnTo>
                    <a:pt x="10442" y="1515"/>
                  </a:lnTo>
                  <a:lnTo>
                    <a:pt x="10411" y="1513"/>
                  </a:lnTo>
                  <a:lnTo>
                    <a:pt x="10380" y="1510"/>
                  </a:lnTo>
                  <a:lnTo>
                    <a:pt x="10349" y="1506"/>
                  </a:lnTo>
                  <a:lnTo>
                    <a:pt x="10320" y="1500"/>
                  </a:lnTo>
                  <a:lnTo>
                    <a:pt x="10291" y="1493"/>
                  </a:lnTo>
                  <a:lnTo>
                    <a:pt x="10262" y="1485"/>
                  </a:lnTo>
                  <a:lnTo>
                    <a:pt x="10235" y="1474"/>
                  </a:lnTo>
                  <a:lnTo>
                    <a:pt x="10208" y="1464"/>
                  </a:lnTo>
                  <a:lnTo>
                    <a:pt x="10183" y="1452"/>
                  </a:lnTo>
                  <a:lnTo>
                    <a:pt x="10158" y="1439"/>
                  </a:lnTo>
                  <a:lnTo>
                    <a:pt x="10134" y="1424"/>
                  </a:lnTo>
                  <a:lnTo>
                    <a:pt x="10111" y="1409"/>
                  </a:lnTo>
                  <a:lnTo>
                    <a:pt x="10090" y="1393"/>
                  </a:lnTo>
                  <a:lnTo>
                    <a:pt x="10068" y="1375"/>
                  </a:lnTo>
                  <a:lnTo>
                    <a:pt x="10048" y="1357"/>
                  </a:lnTo>
                  <a:lnTo>
                    <a:pt x="10029" y="1338"/>
                  </a:lnTo>
                  <a:lnTo>
                    <a:pt x="10011" y="1317"/>
                  </a:lnTo>
                  <a:lnTo>
                    <a:pt x="9994" y="1295"/>
                  </a:lnTo>
                  <a:lnTo>
                    <a:pt x="9978" y="1273"/>
                  </a:lnTo>
                  <a:lnTo>
                    <a:pt x="9964" y="1250"/>
                  </a:lnTo>
                  <a:lnTo>
                    <a:pt x="9949" y="1225"/>
                  </a:lnTo>
                  <a:lnTo>
                    <a:pt x="9937" y="1200"/>
                  </a:lnTo>
                  <a:lnTo>
                    <a:pt x="9926" y="1174"/>
                  </a:lnTo>
                  <a:lnTo>
                    <a:pt x="9917" y="1148"/>
                  </a:lnTo>
                  <a:lnTo>
                    <a:pt x="9908" y="1119"/>
                  </a:lnTo>
                  <a:lnTo>
                    <a:pt x="9900" y="1092"/>
                  </a:lnTo>
                  <a:lnTo>
                    <a:pt x="9894" y="1062"/>
                  </a:lnTo>
                  <a:lnTo>
                    <a:pt x="9889" y="1032"/>
                  </a:lnTo>
                  <a:lnTo>
                    <a:pt x="9886" y="1002"/>
                  </a:lnTo>
                  <a:lnTo>
                    <a:pt x="9884" y="970"/>
                  </a:lnTo>
                  <a:lnTo>
                    <a:pt x="9883" y="937"/>
                  </a:lnTo>
                  <a:lnTo>
                    <a:pt x="9884" y="905"/>
                  </a:lnTo>
                  <a:lnTo>
                    <a:pt x="9886" y="873"/>
                  </a:lnTo>
                  <a:lnTo>
                    <a:pt x="9889" y="842"/>
                  </a:lnTo>
                  <a:lnTo>
                    <a:pt x="9893" y="812"/>
                  </a:lnTo>
                  <a:lnTo>
                    <a:pt x="9899" y="782"/>
                  </a:lnTo>
                  <a:lnTo>
                    <a:pt x="9906" y="754"/>
                  </a:lnTo>
                  <a:lnTo>
                    <a:pt x="9916" y="726"/>
                  </a:lnTo>
                  <a:lnTo>
                    <a:pt x="9925" y="699"/>
                  </a:lnTo>
                  <a:lnTo>
                    <a:pt x="9936" y="673"/>
                  </a:lnTo>
                  <a:lnTo>
                    <a:pt x="9947" y="647"/>
                  </a:lnTo>
                  <a:lnTo>
                    <a:pt x="9961" y="623"/>
                  </a:lnTo>
                  <a:lnTo>
                    <a:pt x="9976" y="599"/>
                  </a:lnTo>
                  <a:lnTo>
                    <a:pt x="9991" y="577"/>
                  </a:lnTo>
                  <a:lnTo>
                    <a:pt x="10008" y="556"/>
                  </a:lnTo>
                  <a:lnTo>
                    <a:pt x="10025" y="535"/>
                  </a:lnTo>
                  <a:lnTo>
                    <a:pt x="10045" y="516"/>
                  </a:lnTo>
                  <a:lnTo>
                    <a:pt x="10064" y="498"/>
                  </a:lnTo>
                  <a:lnTo>
                    <a:pt x="10085" y="481"/>
                  </a:lnTo>
                  <a:lnTo>
                    <a:pt x="10107" y="465"/>
                  </a:lnTo>
                  <a:lnTo>
                    <a:pt x="10129" y="449"/>
                  </a:lnTo>
                  <a:lnTo>
                    <a:pt x="10154" y="435"/>
                  </a:lnTo>
                  <a:lnTo>
                    <a:pt x="10178" y="422"/>
                  </a:lnTo>
                  <a:lnTo>
                    <a:pt x="10204" y="411"/>
                  </a:lnTo>
                  <a:lnTo>
                    <a:pt x="10231" y="400"/>
                  </a:lnTo>
                  <a:lnTo>
                    <a:pt x="10258" y="390"/>
                  </a:lnTo>
                  <a:lnTo>
                    <a:pt x="10287" y="382"/>
                  </a:lnTo>
                  <a:lnTo>
                    <a:pt x="10316" y="375"/>
                  </a:lnTo>
                  <a:lnTo>
                    <a:pt x="10346" y="370"/>
                  </a:lnTo>
                  <a:lnTo>
                    <a:pt x="10378" y="365"/>
                  </a:lnTo>
                  <a:lnTo>
                    <a:pt x="10410" y="362"/>
                  </a:lnTo>
                  <a:lnTo>
                    <a:pt x="10442" y="360"/>
                  </a:lnTo>
                  <a:lnTo>
                    <a:pt x="10475" y="360"/>
                  </a:lnTo>
                  <a:lnTo>
                    <a:pt x="10502" y="360"/>
                  </a:lnTo>
                  <a:lnTo>
                    <a:pt x="10527" y="361"/>
                  </a:lnTo>
                  <a:lnTo>
                    <a:pt x="10553" y="362"/>
                  </a:lnTo>
                  <a:lnTo>
                    <a:pt x="10577" y="364"/>
                  </a:lnTo>
                  <a:lnTo>
                    <a:pt x="10601" y="367"/>
                  </a:lnTo>
                  <a:lnTo>
                    <a:pt x="10624" y="370"/>
                  </a:lnTo>
                  <a:lnTo>
                    <a:pt x="10648" y="374"/>
                  </a:lnTo>
                  <a:lnTo>
                    <a:pt x="10670" y="379"/>
                  </a:lnTo>
                  <a:lnTo>
                    <a:pt x="10692" y="384"/>
                  </a:lnTo>
                  <a:lnTo>
                    <a:pt x="10713" y="390"/>
                  </a:lnTo>
                  <a:lnTo>
                    <a:pt x="10734" y="396"/>
                  </a:lnTo>
                  <a:lnTo>
                    <a:pt x="10754" y="403"/>
                  </a:lnTo>
                  <a:lnTo>
                    <a:pt x="10774" y="411"/>
                  </a:lnTo>
                  <a:lnTo>
                    <a:pt x="10793" y="419"/>
                  </a:lnTo>
                  <a:lnTo>
                    <a:pt x="10812" y="427"/>
                  </a:lnTo>
                  <a:lnTo>
                    <a:pt x="10831" y="437"/>
                  </a:lnTo>
                  <a:lnTo>
                    <a:pt x="10848" y="446"/>
                  </a:lnTo>
                  <a:lnTo>
                    <a:pt x="10866" y="457"/>
                  </a:lnTo>
                  <a:lnTo>
                    <a:pt x="10883" y="468"/>
                  </a:lnTo>
                  <a:lnTo>
                    <a:pt x="10900" y="479"/>
                  </a:lnTo>
                  <a:lnTo>
                    <a:pt x="10917" y="491"/>
                  </a:lnTo>
                  <a:lnTo>
                    <a:pt x="10932" y="505"/>
                  </a:lnTo>
                  <a:lnTo>
                    <a:pt x="10948" y="517"/>
                  </a:lnTo>
                  <a:lnTo>
                    <a:pt x="10963" y="531"/>
                  </a:lnTo>
                  <a:lnTo>
                    <a:pt x="10978" y="545"/>
                  </a:lnTo>
                  <a:lnTo>
                    <a:pt x="10992" y="560"/>
                  </a:lnTo>
                  <a:lnTo>
                    <a:pt x="11007" y="575"/>
                  </a:lnTo>
                  <a:lnTo>
                    <a:pt x="11021" y="591"/>
                  </a:lnTo>
                  <a:lnTo>
                    <a:pt x="11034" y="608"/>
                  </a:lnTo>
                  <a:lnTo>
                    <a:pt x="11048" y="624"/>
                  </a:lnTo>
                  <a:lnTo>
                    <a:pt x="11061" y="641"/>
                  </a:lnTo>
                  <a:lnTo>
                    <a:pt x="11074" y="660"/>
                  </a:lnTo>
                  <a:lnTo>
                    <a:pt x="11388" y="479"/>
                  </a:lnTo>
                  <a:close/>
                </a:path>
              </a:pathLst>
            </a:custGeom>
            <a:solidFill>
              <a:srgbClr val="59595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3" name="Freeform 6"/>
            <p:cNvSpPr>
              <a:spLocks noEditPoints="1"/>
            </p:cNvSpPr>
            <p:nvPr userDrawn="1"/>
          </p:nvSpPr>
          <p:spPr bwMode="auto">
            <a:xfrm>
              <a:off x="450850" y="6383338"/>
              <a:ext cx="296863" cy="288925"/>
            </a:xfrm>
            <a:custGeom>
              <a:avLst/>
              <a:gdLst>
                <a:gd name="T0" fmla="*/ 1863 w 3551"/>
                <a:gd name="T1" fmla="*/ 1342 h 3458"/>
                <a:gd name="T2" fmla="*/ 1837 w 3551"/>
                <a:gd name="T3" fmla="*/ 1357 h 3458"/>
                <a:gd name="T4" fmla="*/ 1805 w 3551"/>
                <a:gd name="T5" fmla="*/ 1355 h 3458"/>
                <a:gd name="T6" fmla="*/ 1110 w 3551"/>
                <a:gd name="T7" fmla="*/ 1073 h 3458"/>
                <a:gd name="T8" fmla="*/ 1077 w 3551"/>
                <a:gd name="T9" fmla="*/ 1014 h 3458"/>
                <a:gd name="T10" fmla="*/ 1211 w 3551"/>
                <a:gd name="T11" fmla="*/ 142 h 3458"/>
                <a:gd name="T12" fmla="*/ 1237 w 3551"/>
                <a:gd name="T13" fmla="*/ 78 h 3458"/>
                <a:gd name="T14" fmla="*/ 1293 w 3551"/>
                <a:gd name="T15" fmla="*/ 37 h 3458"/>
                <a:gd name="T16" fmla="*/ 2037 w 3551"/>
                <a:gd name="T17" fmla="*/ 0 h 3458"/>
                <a:gd name="T18" fmla="*/ 2066 w 3551"/>
                <a:gd name="T19" fmla="*/ 11 h 3458"/>
                <a:gd name="T20" fmla="*/ 2083 w 3551"/>
                <a:gd name="T21" fmla="*/ 37 h 3458"/>
                <a:gd name="T22" fmla="*/ 1407 w 3551"/>
                <a:gd name="T23" fmla="*/ 1560 h 3458"/>
                <a:gd name="T24" fmla="*/ 1424 w 3551"/>
                <a:gd name="T25" fmla="*/ 1585 h 3458"/>
                <a:gd name="T26" fmla="*/ 1421 w 3551"/>
                <a:gd name="T27" fmla="*/ 1616 h 3458"/>
                <a:gd name="T28" fmla="*/ 963 w 3551"/>
                <a:gd name="T29" fmla="*/ 2181 h 3458"/>
                <a:gd name="T30" fmla="*/ 898 w 3551"/>
                <a:gd name="T31" fmla="*/ 2217 h 3458"/>
                <a:gd name="T32" fmla="*/ 830 w 3551"/>
                <a:gd name="T33" fmla="*/ 2210 h 3458"/>
                <a:gd name="T34" fmla="*/ 45 w 3551"/>
                <a:gd name="T35" fmla="*/ 1803 h 3458"/>
                <a:gd name="T36" fmla="*/ 6 w 3551"/>
                <a:gd name="T37" fmla="*/ 1748 h 3458"/>
                <a:gd name="T38" fmla="*/ 4 w 3551"/>
                <a:gd name="T39" fmla="*/ 1670 h 3458"/>
                <a:gd name="T40" fmla="*/ 201 w 3551"/>
                <a:gd name="T41" fmla="*/ 980 h 3458"/>
                <a:gd name="T42" fmla="*/ 227 w 3551"/>
                <a:gd name="T43" fmla="*/ 963 h 3458"/>
                <a:gd name="T44" fmla="*/ 257 w 3551"/>
                <a:gd name="T45" fmla="*/ 967 h 3458"/>
                <a:gd name="T46" fmla="*/ 1499 w 3551"/>
                <a:gd name="T47" fmla="*/ 2063 h 3458"/>
                <a:gd name="T48" fmla="*/ 1530 w 3551"/>
                <a:gd name="T49" fmla="*/ 2065 h 3458"/>
                <a:gd name="T50" fmla="*/ 1554 w 3551"/>
                <a:gd name="T51" fmla="*/ 2086 h 3458"/>
                <a:gd name="T52" fmla="*/ 1951 w 3551"/>
                <a:gd name="T53" fmla="*/ 2722 h 3458"/>
                <a:gd name="T54" fmla="*/ 1944 w 3551"/>
                <a:gd name="T55" fmla="*/ 2790 h 3458"/>
                <a:gd name="T56" fmla="*/ 1322 w 3551"/>
                <a:gd name="T57" fmla="*/ 3416 h 3458"/>
                <a:gd name="T58" fmla="*/ 1263 w 3551"/>
                <a:gd name="T59" fmla="*/ 3453 h 3458"/>
                <a:gd name="T60" fmla="*/ 1193 w 3551"/>
                <a:gd name="T61" fmla="*/ 3453 h 3458"/>
                <a:gd name="T62" fmla="*/ 571 w 3551"/>
                <a:gd name="T63" fmla="*/ 3048 h 3458"/>
                <a:gd name="T64" fmla="*/ 552 w 3551"/>
                <a:gd name="T65" fmla="*/ 3021 h 3458"/>
                <a:gd name="T66" fmla="*/ 554 w 3551"/>
                <a:gd name="T67" fmla="*/ 2990 h 3458"/>
                <a:gd name="T68" fmla="*/ 1998 w 3551"/>
                <a:gd name="T69" fmla="*/ 2153 h 3458"/>
                <a:gd name="T70" fmla="*/ 1999 w 3551"/>
                <a:gd name="T71" fmla="*/ 2123 h 3458"/>
                <a:gd name="T72" fmla="*/ 2019 w 3551"/>
                <a:gd name="T73" fmla="*/ 2099 h 3458"/>
                <a:gd name="T74" fmla="*/ 2722 w 3551"/>
                <a:gd name="T75" fmla="*/ 1907 h 3458"/>
                <a:gd name="T76" fmla="*/ 2795 w 3551"/>
                <a:gd name="T77" fmla="*/ 1917 h 3458"/>
                <a:gd name="T78" fmla="*/ 2847 w 3551"/>
                <a:gd name="T79" fmla="*/ 1961 h 3458"/>
                <a:gd name="T80" fmla="*/ 3246 w 3551"/>
                <a:gd name="T81" fmla="*/ 2750 h 3458"/>
                <a:gd name="T82" fmla="*/ 3244 w 3551"/>
                <a:gd name="T83" fmla="*/ 2818 h 3458"/>
                <a:gd name="T84" fmla="*/ 3201 w 3551"/>
                <a:gd name="T85" fmla="*/ 2882 h 3458"/>
                <a:gd name="T86" fmla="*/ 2638 w 3551"/>
                <a:gd name="T87" fmla="*/ 3327 h 3458"/>
                <a:gd name="T88" fmla="*/ 2607 w 3551"/>
                <a:gd name="T89" fmla="*/ 3326 h 3458"/>
                <a:gd name="T90" fmla="*/ 2584 w 3551"/>
                <a:gd name="T91" fmla="*/ 3306 h 3458"/>
                <a:gd name="T92" fmla="*/ 2218 w 3551"/>
                <a:gd name="T93" fmla="*/ 1693 h 3458"/>
                <a:gd name="T94" fmla="*/ 2195 w 3551"/>
                <a:gd name="T95" fmla="*/ 1673 h 3458"/>
                <a:gd name="T96" fmla="*/ 2188 w 3551"/>
                <a:gd name="T97" fmla="*/ 1642 h 3458"/>
                <a:gd name="T98" fmla="*/ 2241 w 3551"/>
                <a:gd name="T99" fmla="*/ 895 h 3458"/>
                <a:gd name="T100" fmla="*/ 2287 w 3551"/>
                <a:gd name="T101" fmla="*/ 844 h 3458"/>
                <a:gd name="T102" fmla="*/ 3158 w 3551"/>
                <a:gd name="T103" fmla="*/ 702 h 3458"/>
                <a:gd name="T104" fmla="*/ 3228 w 3551"/>
                <a:gd name="T105" fmla="*/ 709 h 3458"/>
                <a:gd name="T106" fmla="*/ 3285 w 3551"/>
                <a:gd name="T107" fmla="*/ 749 h 3458"/>
                <a:gd name="T108" fmla="*/ 3549 w 3551"/>
                <a:gd name="T109" fmla="*/ 1444 h 3458"/>
                <a:gd name="T110" fmla="*/ 3548 w 3551"/>
                <a:gd name="T111" fmla="*/ 1475 h 3458"/>
                <a:gd name="T112" fmla="*/ 3528 w 3551"/>
                <a:gd name="T113" fmla="*/ 1499 h 3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51" h="3458">
                  <a:moveTo>
                    <a:pt x="2083" y="52"/>
                  </a:moveTo>
                  <a:lnTo>
                    <a:pt x="1871" y="1322"/>
                  </a:lnTo>
                  <a:lnTo>
                    <a:pt x="1870" y="1327"/>
                  </a:lnTo>
                  <a:lnTo>
                    <a:pt x="1868" y="1332"/>
                  </a:lnTo>
                  <a:lnTo>
                    <a:pt x="1866" y="1337"/>
                  </a:lnTo>
                  <a:lnTo>
                    <a:pt x="1863" y="1342"/>
                  </a:lnTo>
                  <a:lnTo>
                    <a:pt x="1859" y="1346"/>
                  </a:lnTo>
                  <a:lnTo>
                    <a:pt x="1856" y="1349"/>
                  </a:lnTo>
                  <a:lnTo>
                    <a:pt x="1852" y="1352"/>
                  </a:lnTo>
                  <a:lnTo>
                    <a:pt x="1847" y="1354"/>
                  </a:lnTo>
                  <a:lnTo>
                    <a:pt x="1842" y="1356"/>
                  </a:lnTo>
                  <a:lnTo>
                    <a:pt x="1837" y="1357"/>
                  </a:lnTo>
                  <a:lnTo>
                    <a:pt x="1832" y="1358"/>
                  </a:lnTo>
                  <a:lnTo>
                    <a:pt x="1827" y="1359"/>
                  </a:lnTo>
                  <a:lnTo>
                    <a:pt x="1821" y="1358"/>
                  </a:lnTo>
                  <a:lnTo>
                    <a:pt x="1816" y="1358"/>
                  </a:lnTo>
                  <a:lnTo>
                    <a:pt x="1811" y="1357"/>
                  </a:lnTo>
                  <a:lnTo>
                    <a:pt x="1805" y="1355"/>
                  </a:lnTo>
                  <a:lnTo>
                    <a:pt x="1170" y="1110"/>
                  </a:lnTo>
                  <a:lnTo>
                    <a:pt x="1155" y="1104"/>
                  </a:lnTo>
                  <a:lnTo>
                    <a:pt x="1142" y="1097"/>
                  </a:lnTo>
                  <a:lnTo>
                    <a:pt x="1131" y="1089"/>
                  </a:lnTo>
                  <a:lnTo>
                    <a:pt x="1120" y="1081"/>
                  </a:lnTo>
                  <a:lnTo>
                    <a:pt x="1110" y="1073"/>
                  </a:lnTo>
                  <a:lnTo>
                    <a:pt x="1102" y="1064"/>
                  </a:lnTo>
                  <a:lnTo>
                    <a:pt x="1095" y="1055"/>
                  </a:lnTo>
                  <a:lnTo>
                    <a:pt x="1089" y="1045"/>
                  </a:lnTo>
                  <a:lnTo>
                    <a:pt x="1084" y="1035"/>
                  </a:lnTo>
                  <a:lnTo>
                    <a:pt x="1080" y="1024"/>
                  </a:lnTo>
                  <a:lnTo>
                    <a:pt x="1077" y="1014"/>
                  </a:lnTo>
                  <a:lnTo>
                    <a:pt x="1074" y="1003"/>
                  </a:lnTo>
                  <a:lnTo>
                    <a:pt x="1073" y="990"/>
                  </a:lnTo>
                  <a:lnTo>
                    <a:pt x="1073" y="979"/>
                  </a:lnTo>
                  <a:lnTo>
                    <a:pt x="1074" y="967"/>
                  </a:lnTo>
                  <a:lnTo>
                    <a:pt x="1075" y="955"/>
                  </a:lnTo>
                  <a:lnTo>
                    <a:pt x="1211" y="142"/>
                  </a:lnTo>
                  <a:lnTo>
                    <a:pt x="1213" y="131"/>
                  </a:lnTo>
                  <a:lnTo>
                    <a:pt x="1216" y="118"/>
                  </a:lnTo>
                  <a:lnTo>
                    <a:pt x="1220" y="107"/>
                  </a:lnTo>
                  <a:lnTo>
                    <a:pt x="1225" y="97"/>
                  </a:lnTo>
                  <a:lnTo>
                    <a:pt x="1231" y="87"/>
                  </a:lnTo>
                  <a:lnTo>
                    <a:pt x="1237" y="78"/>
                  </a:lnTo>
                  <a:lnTo>
                    <a:pt x="1244" y="69"/>
                  </a:lnTo>
                  <a:lnTo>
                    <a:pt x="1252" y="61"/>
                  </a:lnTo>
                  <a:lnTo>
                    <a:pt x="1262" y="54"/>
                  </a:lnTo>
                  <a:lnTo>
                    <a:pt x="1272" y="47"/>
                  </a:lnTo>
                  <a:lnTo>
                    <a:pt x="1282" y="42"/>
                  </a:lnTo>
                  <a:lnTo>
                    <a:pt x="1293" y="37"/>
                  </a:lnTo>
                  <a:lnTo>
                    <a:pt x="1307" y="33"/>
                  </a:lnTo>
                  <a:lnTo>
                    <a:pt x="1320" y="30"/>
                  </a:lnTo>
                  <a:lnTo>
                    <a:pt x="1334" y="28"/>
                  </a:lnTo>
                  <a:lnTo>
                    <a:pt x="1350" y="27"/>
                  </a:lnTo>
                  <a:lnTo>
                    <a:pt x="2031" y="0"/>
                  </a:lnTo>
                  <a:lnTo>
                    <a:pt x="2037" y="0"/>
                  </a:lnTo>
                  <a:lnTo>
                    <a:pt x="2042" y="1"/>
                  </a:lnTo>
                  <a:lnTo>
                    <a:pt x="2047" y="2"/>
                  </a:lnTo>
                  <a:lnTo>
                    <a:pt x="2053" y="3"/>
                  </a:lnTo>
                  <a:lnTo>
                    <a:pt x="2057" y="5"/>
                  </a:lnTo>
                  <a:lnTo>
                    <a:pt x="2062" y="8"/>
                  </a:lnTo>
                  <a:lnTo>
                    <a:pt x="2066" y="11"/>
                  </a:lnTo>
                  <a:lnTo>
                    <a:pt x="2070" y="14"/>
                  </a:lnTo>
                  <a:lnTo>
                    <a:pt x="2074" y="18"/>
                  </a:lnTo>
                  <a:lnTo>
                    <a:pt x="2077" y="22"/>
                  </a:lnTo>
                  <a:lnTo>
                    <a:pt x="2079" y="27"/>
                  </a:lnTo>
                  <a:lnTo>
                    <a:pt x="2081" y="32"/>
                  </a:lnTo>
                  <a:lnTo>
                    <a:pt x="2083" y="37"/>
                  </a:lnTo>
                  <a:lnTo>
                    <a:pt x="2083" y="42"/>
                  </a:lnTo>
                  <a:lnTo>
                    <a:pt x="2084" y="47"/>
                  </a:lnTo>
                  <a:lnTo>
                    <a:pt x="2083" y="52"/>
                  </a:lnTo>
                  <a:close/>
                  <a:moveTo>
                    <a:pt x="257" y="967"/>
                  </a:moveTo>
                  <a:lnTo>
                    <a:pt x="1402" y="1557"/>
                  </a:lnTo>
                  <a:lnTo>
                    <a:pt x="1407" y="1560"/>
                  </a:lnTo>
                  <a:lnTo>
                    <a:pt x="1411" y="1563"/>
                  </a:lnTo>
                  <a:lnTo>
                    <a:pt x="1415" y="1567"/>
                  </a:lnTo>
                  <a:lnTo>
                    <a:pt x="1418" y="1571"/>
                  </a:lnTo>
                  <a:lnTo>
                    <a:pt x="1420" y="1575"/>
                  </a:lnTo>
                  <a:lnTo>
                    <a:pt x="1422" y="1580"/>
                  </a:lnTo>
                  <a:lnTo>
                    <a:pt x="1424" y="1585"/>
                  </a:lnTo>
                  <a:lnTo>
                    <a:pt x="1425" y="1590"/>
                  </a:lnTo>
                  <a:lnTo>
                    <a:pt x="1425" y="1595"/>
                  </a:lnTo>
                  <a:lnTo>
                    <a:pt x="1425" y="1600"/>
                  </a:lnTo>
                  <a:lnTo>
                    <a:pt x="1424" y="1606"/>
                  </a:lnTo>
                  <a:lnTo>
                    <a:pt x="1423" y="1611"/>
                  </a:lnTo>
                  <a:lnTo>
                    <a:pt x="1421" y="1616"/>
                  </a:lnTo>
                  <a:lnTo>
                    <a:pt x="1419" y="1620"/>
                  </a:lnTo>
                  <a:lnTo>
                    <a:pt x="1416" y="1625"/>
                  </a:lnTo>
                  <a:lnTo>
                    <a:pt x="1413" y="1630"/>
                  </a:lnTo>
                  <a:lnTo>
                    <a:pt x="984" y="2159"/>
                  </a:lnTo>
                  <a:lnTo>
                    <a:pt x="974" y="2171"/>
                  </a:lnTo>
                  <a:lnTo>
                    <a:pt x="963" y="2181"/>
                  </a:lnTo>
                  <a:lnTo>
                    <a:pt x="953" y="2190"/>
                  </a:lnTo>
                  <a:lnTo>
                    <a:pt x="943" y="2197"/>
                  </a:lnTo>
                  <a:lnTo>
                    <a:pt x="931" y="2204"/>
                  </a:lnTo>
                  <a:lnTo>
                    <a:pt x="920" y="2209"/>
                  </a:lnTo>
                  <a:lnTo>
                    <a:pt x="909" y="2213"/>
                  </a:lnTo>
                  <a:lnTo>
                    <a:pt x="898" y="2217"/>
                  </a:lnTo>
                  <a:lnTo>
                    <a:pt x="886" y="2218"/>
                  </a:lnTo>
                  <a:lnTo>
                    <a:pt x="875" y="2219"/>
                  </a:lnTo>
                  <a:lnTo>
                    <a:pt x="864" y="2218"/>
                  </a:lnTo>
                  <a:lnTo>
                    <a:pt x="853" y="2217"/>
                  </a:lnTo>
                  <a:lnTo>
                    <a:pt x="841" y="2214"/>
                  </a:lnTo>
                  <a:lnTo>
                    <a:pt x="830" y="2210"/>
                  </a:lnTo>
                  <a:lnTo>
                    <a:pt x="819" y="2206"/>
                  </a:lnTo>
                  <a:lnTo>
                    <a:pt x="808" y="2201"/>
                  </a:lnTo>
                  <a:lnTo>
                    <a:pt x="75" y="1823"/>
                  </a:lnTo>
                  <a:lnTo>
                    <a:pt x="64" y="1817"/>
                  </a:lnTo>
                  <a:lnTo>
                    <a:pt x="54" y="1810"/>
                  </a:lnTo>
                  <a:lnTo>
                    <a:pt x="45" y="1803"/>
                  </a:lnTo>
                  <a:lnTo>
                    <a:pt x="37" y="1796"/>
                  </a:lnTo>
                  <a:lnTo>
                    <a:pt x="29" y="1787"/>
                  </a:lnTo>
                  <a:lnTo>
                    <a:pt x="21" y="1779"/>
                  </a:lnTo>
                  <a:lnTo>
                    <a:pt x="15" y="1768"/>
                  </a:lnTo>
                  <a:lnTo>
                    <a:pt x="10" y="1758"/>
                  </a:lnTo>
                  <a:lnTo>
                    <a:pt x="6" y="1748"/>
                  </a:lnTo>
                  <a:lnTo>
                    <a:pt x="3" y="1736"/>
                  </a:lnTo>
                  <a:lnTo>
                    <a:pt x="1" y="1724"/>
                  </a:lnTo>
                  <a:lnTo>
                    <a:pt x="0" y="1711"/>
                  </a:lnTo>
                  <a:lnTo>
                    <a:pt x="0" y="1698"/>
                  </a:lnTo>
                  <a:lnTo>
                    <a:pt x="1" y="1685"/>
                  </a:lnTo>
                  <a:lnTo>
                    <a:pt x="4" y="1670"/>
                  </a:lnTo>
                  <a:lnTo>
                    <a:pt x="7" y="1655"/>
                  </a:lnTo>
                  <a:lnTo>
                    <a:pt x="191" y="1000"/>
                  </a:lnTo>
                  <a:lnTo>
                    <a:pt x="193" y="994"/>
                  </a:lnTo>
                  <a:lnTo>
                    <a:pt x="195" y="989"/>
                  </a:lnTo>
                  <a:lnTo>
                    <a:pt x="198" y="984"/>
                  </a:lnTo>
                  <a:lnTo>
                    <a:pt x="201" y="980"/>
                  </a:lnTo>
                  <a:lnTo>
                    <a:pt x="204" y="976"/>
                  </a:lnTo>
                  <a:lnTo>
                    <a:pt x="209" y="973"/>
                  </a:lnTo>
                  <a:lnTo>
                    <a:pt x="213" y="969"/>
                  </a:lnTo>
                  <a:lnTo>
                    <a:pt x="217" y="967"/>
                  </a:lnTo>
                  <a:lnTo>
                    <a:pt x="222" y="965"/>
                  </a:lnTo>
                  <a:lnTo>
                    <a:pt x="227" y="963"/>
                  </a:lnTo>
                  <a:lnTo>
                    <a:pt x="231" y="962"/>
                  </a:lnTo>
                  <a:lnTo>
                    <a:pt x="236" y="962"/>
                  </a:lnTo>
                  <a:lnTo>
                    <a:pt x="241" y="962"/>
                  </a:lnTo>
                  <a:lnTo>
                    <a:pt x="246" y="963"/>
                  </a:lnTo>
                  <a:lnTo>
                    <a:pt x="252" y="964"/>
                  </a:lnTo>
                  <a:lnTo>
                    <a:pt x="257" y="967"/>
                  </a:lnTo>
                  <a:close/>
                  <a:moveTo>
                    <a:pt x="563" y="2978"/>
                  </a:moveTo>
                  <a:lnTo>
                    <a:pt x="1482" y="2075"/>
                  </a:lnTo>
                  <a:lnTo>
                    <a:pt x="1486" y="2071"/>
                  </a:lnTo>
                  <a:lnTo>
                    <a:pt x="1490" y="2067"/>
                  </a:lnTo>
                  <a:lnTo>
                    <a:pt x="1495" y="2065"/>
                  </a:lnTo>
                  <a:lnTo>
                    <a:pt x="1499" y="2063"/>
                  </a:lnTo>
                  <a:lnTo>
                    <a:pt x="1504" y="2062"/>
                  </a:lnTo>
                  <a:lnTo>
                    <a:pt x="1509" y="2061"/>
                  </a:lnTo>
                  <a:lnTo>
                    <a:pt x="1514" y="2062"/>
                  </a:lnTo>
                  <a:lnTo>
                    <a:pt x="1519" y="2062"/>
                  </a:lnTo>
                  <a:lnTo>
                    <a:pt x="1524" y="2063"/>
                  </a:lnTo>
                  <a:lnTo>
                    <a:pt x="1530" y="2065"/>
                  </a:lnTo>
                  <a:lnTo>
                    <a:pt x="1534" y="2067"/>
                  </a:lnTo>
                  <a:lnTo>
                    <a:pt x="1539" y="2071"/>
                  </a:lnTo>
                  <a:lnTo>
                    <a:pt x="1543" y="2074"/>
                  </a:lnTo>
                  <a:lnTo>
                    <a:pt x="1547" y="2078"/>
                  </a:lnTo>
                  <a:lnTo>
                    <a:pt x="1551" y="2082"/>
                  </a:lnTo>
                  <a:lnTo>
                    <a:pt x="1554" y="2086"/>
                  </a:lnTo>
                  <a:lnTo>
                    <a:pt x="1924" y="2658"/>
                  </a:lnTo>
                  <a:lnTo>
                    <a:pt x="1932" y="2671"/>
                  </a:lnTo>
                  <a:lnTo>
                    <a:pt x="1939" y="2684"/>
                  </a:lnTo>
                  <a:lnTo>
                    <a:pt x="1944" y="2696"/>
                  </a:lnTo>
                  <a:lnTo>
                    <a:pt x="1948" y="2710"/>
                  </a:lnTo>
                  <a:lnTo>
                    <a:pt x="1951" y="2722"/>
                  </a:lnTo>
                  <a:lnTo>
                    <a:pt x="1952" y="2734"/>
                  </a:lnTo>
                  <a:lnTo>
                    <a:pt x="1953" y="2745"/>
                  </a:lnTo>
                  <a:lnTo>
                    <a:pt x="1952" y="2757"/>
                  </a:lnTo>
                  <a:lnTo>
                    <a:pt x="1950" y="2769"/>
                  </a:lnTo>
                  <a:lnTo>
                    <a:pt x="1947" y="2779"/>
                  </a:lnTo>
                  <a:lnTo>
                    <a:pt x="1944" y="2790"/>
                  </a:lnTo>
                  <a:lnTo>
                    <a:pt x="1939" y="2801"/>
                  </a:lnTo>
                  <a:lnTo>
                    <a:pt x="1932" y="2811"/>
                  </a:lnTo>
                  <a:lnTo>
                    <a:pt x="1925" y="2820"/>
                  </a:lnTo>
                  <a:lnTo>
                    <a:pt x="1918" y="2829"/>
                  </a:lnTo>
                  <a:lnTo>
                    <a:pt x="1910" y="2838"/>
                  </a:lnTo>
                  <a:lnTo>
                    <a:pt x="1322" y="3416"/>
                  </a:lnTo>
                  <a:lnTo>
                    <a:pt x="1314" y="3424"/>
                  </a:lnTo>
                  <a:lnTo>
                    <a:pt x="1304" y="3432"/>
                  </a:lnTo>
                  <a:lnTo>
                    <a:pt x="1294" y="3439"/>
                  </a:lnTo>
                  <a:lnTo>
                    <a:pt x="1284" y="3445"/>
                  </a:lnTo>
                  <a:lnTo>
                    <a:pt x="1274" y="3449"/>
                  </a:lnTo>
                  <a:lnTo>
                    <a:pt x="1263" y="3453"/>
                  </a:lnTo>
                  <a:lnTo>
                    <a:pt x="1251" y="3456"/>
                  </a:lnTo>
                  <a:lnTo>
                    <a:pt x="1240" y="3457"/>
                  </a:lnTo>
                  <a:lnTo>
                    <a:pt x="1229" y="3458"/>
                  </a:lnTo>
                  <a:lnTo>
                    <a:pt x="1218" y="3457"/>
                  </a:lnTo>
                  <a:lnTo>
                    <a:pt x="1205" y="3456"/>
                  </a:lnTo>
                  <a:lnTo>
                    <a:pt x="1193" y="3453"/>
                  </a:lnTo>
                  <a:lnTo>
                    <a:pt x="1180" y="3449"/>
                  </a:lnTo>
                  <a:lnTo>
                    <a:pt x="1168" y="3444"/>
                  </a:lnTo>
                  <a:lnTo>
                    <a:pt x="1154" y="3437"/>
                  </a:lnTo>
                  <a:lnTo>
                    <a:pt x="1142" y="3428"/>
                  </a:lnTo>
                  <a:lnTo>
                    <a:pt x="575" y="3051"/>
                  </a:lnTo>
                  <a:lnTo>
                    <a:pt x="571" y="3048"/>
                  </a:lnTo>
                  <a:lnTo>
                    <a:pt x="566" y="3043"/>
                  </a:lnTo>
                  <a:lnTo>
                    <a:pt x="562" y="3039"/>
                  </a:lnTo>
                  <a:lnTo>
                    <a:pt x="559" y="3035"/>
                  </a:lnTo>
                  <a:lnTo>
                    <a:pt x="556" y="3030"/>
                  </a:lnTo>
                  <a:lnTo>
                    <a:pt x="554" y="3026"/>
                  </a:lnTo>
                  <a:lnTo>
                    <a:pt x="552" y="3021"/>
                  </a:lnTo>
                  <a:lnTo>
                    <a:pt x="551" y="3016"/>
                  </a:lnTo>
                  <a:lnTo>
                    <a:pt x="551" y="3011"/>
                  </a:lnTo>
                  <a:lnTo>
                    <a:pt x="551" y="3006"/>
                  </a:lnTo>
                  <a:lnTo>
                    <a:pt x="551" y="3001"/>
                  </a:lnTo>
                  <a:lnTo>
                    <a:pt x="552" y="2996"/>
                  </a:lnTo>
                  <a:lnTo>
                    <a:pt x="554" y="2990"/>
                  </a:lnTo>
                  <a:lnTo>
                    <a:pt x="556" y="2986"/>
                  </a:lnTo>
                  <a:lnTo>
                    <a:pt x="559" y="2982"/>
                  </a:lnTo>
                  <a:lnTo>
                    <a:pt x="563" y="2978"/>
                  </a:lnTo>
                  <a:close/>
                  <a:moveTo>
                    <a:pt x="2584" y="3306"/>
                  </a:moveTo>
                  <a:lnTo>
                    <a:pt x="2001" y="2158"/>
                  </a:lnTo>
                  <a:lnTo>
                    <a:pt x="1998" y="2153"/>
                  </a:lnTo>
                  <a:lnTo>
                    <a:pt x="1997" y="2148"/>
                  </a:lnTo>
                  <a:lnTo>
                    <a:pt x="1996" y="2143"/>
                  </a:lnTo>
                  <a:lnTo>
                    <a:pt x="1996" y="2137"/>
                  </a:lnTo>
                  <a:lnTo>
                    <a:pt x="1997" y="2133"/>
                  </a:lnTo>
                  <a:lnTo>
                    <a:pt x="1998" y="2128"/>
                  </a:lnTo>
                  <a:lnTo>
                    <a:pt x="1999" y="2123"/>
                  </a:lnTo>
                  <a:lnTo>
                    <a:pt x="2001" y="2118"/>
                  </a:lnTo>
                  <a:lnTo>
                    <a:pt x="2004" y="2113"/>
                  </a:lnTo>
                  <a:lnTo>
                    <a:pt x="2007" y="2109"/>
                  </a:lnTo>
                  <a:lnTo>
                    <a:pt x="2011" y="2106"/>
                  </a:lnTo>
                  <a:lnTo>
                    <a:pt x="2014" y="2102"/>
                  </a:lnTo>
                  <a:lnTo>
                    <a:pt x="2019" y="2099"/>
                  </a:lnTo>
                  <a:lnTo>
                    <a:pt x="2023" y="2096"/>
                  </a:lnTo>
                  <a:lnTo>
                    <a:pt x="2029" y="2094"/>
                  </a:lnTo>
                  <a:lnTo>
                    <a:pt x="2035" y="2093"/>
                  </a:lnTo>
                  <a:lnTo>
                    <a:pt x="2692" y="1913"/>
                  </a:lnTo>
                  <a:lnTo>
                    <a:pt x="2707" y="1910"/>
                  </a:lnTo>
                  <a:lnTo>
                    <a:pt x="2722" y="1907"/>
                  </a:lnTo>
                  <a:lnTo>
                    <a:pt x="2735" y="1906"/>
                  </a:lnTo>
                  <a:lnTo>
                    <a:pt x="2748" y="1906"/>
                  </a:lnTo>
                  <a:lnTo>
                    <a:pt x="2761" y="1908"/>
                  </a:lnTo>
                  <a:lnTo>
                    <a:pt x="2773" y="1910"/>
                  </a:lnTo>
                  <a:lnTo>
                    <a:pt x="2784" y="1913"/>
                  </a:lnTo>
                  <a:lnTo>
                    <a:pt x="2795" y="1917"/>
                  </a:lnTo>
                  <a:lnTo>
                    <a:pt x="2806" y="1922"/>
                  </a:lnTo>
                  <a:lnTo>
                    <a:pt x="2815" y="1929"/>
                  </a:lnTo>
                  <a:lnTo>
                    <a:pt x="2824" y="1936"/>
                  </a:lnTo>
                  <a:lnTo>
                    <a:pt x="2832" y="1944"/>
                  </a:lnTo>
                  <a:lnTo>
                    <a:pt x="2840" y="1952"/>
                  </a:lnTo>
                  <a:lnTo>
                    <a:pt x="2847" y="1961"/>
                  </a:lnTo>
                  <a:lnTo>
                    <a:pt x="2854" y="1971"/>
                  </a:lnTo>
                  <a:lnTo>
                    <a:pt x="2860" y="1982"/>
                  </a:lnTo>
                  <a:lnTo>
                    <a:pt x="3233" y="2717"/>
                  </a:lnTo>
                  <a:lnTo>
                    <a:pt x="3238" y="2728"/>
                  </a:lnTo>
                  <a:lnTo>
                    <a:pt x="3242" y="2738"/>
                  </a:lnTo>
                  <a:lnTo>
                    <a:pt x="3246" y="2750"/>
                  </a:lnTo>
                  <a:lnTo>
                    <a:pt x="3248" y="2762"/>
                  </a:lnTo>
                  <a:lnTo>
                    <a:pt x="3249" y="2773"/>
                  </a:lnTo>
                  <a:lnTo>
                    <a:pt x="3250" y="2784"/>
                  </a:lnTo>
                  <a:lnTo>
                    <a:pt x="3249" y="2795"/>
                  </a:lnTo>
                  <a:lnTo>
                    <a:pt x="3247" y="2807"/>
                  </a:lnTo>
                  <a:lnTo>
                    <a:pt x="3244" y="2818"/>
                  </a:lnTo>
                  <a:lnTo>
                    <a:pt x="3240" y="2829"/>
                  </a:lnTo>
                  <a:lnTo>
                    <a:pt x="3235" y="2840"/>
                  </a:lnTo>
                  <a:lnTo>
                    <a:pt x="3229" y="2851"/>
                  </a:lnTo>
                  <a:lnTo>
                    <a:pt x="3221" y="2862"/>
                  </a:lnTo>
                  <a:lnTo>
                    <a:pt x="3211" y="2872"/>
                  </a:lnTo>
                  <a:lnTo>
                    <a:pt x="3201" y="2882"/>
                  </a:lnTo>
                  <a:lnTo>
                    <a:pt x="3190" y="2892"/>
                  </a:lnTo>
                  <a:lnTo>
                    <a:pt x="2657" y="3317"/>
                  </a:lnTo>
                  <a:lnTo>
                    <a:pt x="2652" y="3320"/>
                  </a:lnTo>
                  <a:lnTo>
                    <a:pt x="2647" y="3323"/>
                  </a:lnTo>
                  <a:lnTo>
                    <a:pt x="2643" y="3325"/>
                  </a:lnTo>
                  <a:lnTo>
                    <a:pt x="2638" y="3327"/>
                  </a:lnTo>
                  <a:lnTo>
                    <a:pt x="2633" y="3328"/>
                  </a:lnTo>
                  <a:lnTo>
                    <a:pt x="2627" y="3329"/>
                  </a:lnTo>
                  <a:lnTo>
                    <a:pt x="2622" y="3329"/>
                  </a:lnTo>
                  <a:lnTo>
                    <a:pt x="2616" y="3328"/>
                  </a:lnTo>
                  <a:lnTo>
                    <a:pt x="2612" y="3327"/>
                  </a:lnTo>
                  <a:lnTo>
                    <a:pt x="2607" y="3326"/>
                  </a:lnTo>
                  <a:lnTo>
                    <a:pt x="2602" y="3324"/>
                  </a:lnTo>
                  <a:lnTo>
                    <a:pt x="2598" y="3321"/>
                  </a:lnTo>
                  <a:lnTo>
                    <a:pt x="2594" y="3318"/>
                  </a:lnTo>
                  <a:lnTo>
                    <a:pt x="2590" y="3315"/>
                  </a:lnTo>
                  <a:lnTo>
                    <a:pt x="2587" y="3310"/>
                  </a:lnTo>
                  <a:lnTo>
                    <a:pt x="2584" y="3306"/>
                  </a:lnTo>
                  <a:close/>
                  <a:moveTo>
                    <a:pt x="3513" y="1504"/>
                  </a:moveTo>
                  <a:lnTo>
                    <a:pt x="2239" y="1695"/>
                  </a:lnTo>
                  <a:lnTo>
                    <a:pt x="2234" y="1695"/>
                  </a:lnTo>
                  <a:lnTo>
                    <a:pt x="2228" y="1695"/>
                  </a:lnTo>
                  <a:lnTo>
                    <a:pt x="2223" y="1694"/>
                  </a:lnTo>
                  <a:lnTo>
                    <a:pt x="2218" y="1693"/>
                  </a:lnTo>
                  <a:lnTo>
                    <a:pt x="2214" y="1691"/>
                  </a:lnTo>
                  <a:lnTo>
                    <a:pt x="2209" y="1688"/>
                  </a:lnTo>
                  <a:lnTo>
                    <a:pt x="2205" y="1685"/>
                  </a:lnTo>
                  <a:lnTo>
                    <a:pt x="2201" y="1682"/>
                  </a:lnTo>
                  <a:lnTo>
                    <a:pt x="2198" y="1677"/>
                  </a:lnTo>
                  <a:lnTo>
                    <a:pt x="2195" y="1673"/>
                  </a:lnTo>
                  <a:lnTo>
                    <a:pt x="2193" y="1668"/>
                  </a:lnTo>
                  <a:lnTo>
                    <a:pt x="2191" y="1664"/>
                  </a:lnTo>
                  <a:lnTo>
                    <a:pt x="2189" y="1659"/>
                  </a:lnTo>
                  <a:lnTo>
                    <a:pt x="2188" y="1653"/>
                  </a:lnTo>
                  <a:lnTo>
                    <a:pt x="2188" y="1648"/>
                  </a:lnTo>
                  <a:lnTo>
                    <a:pt x="2188" y="1642"/>
                  </a:lnTo>
                  <a:lnTo>
                    <a:pt x="2225" y="963"/>
                  </a:lnTo>
                  <a:lnTo>
                    <a:pt x="2226" y="947"/>
                  </a:lnTo>
                  <a:lnTo>
                    <a:pt x="2229" y="933"/>
                  </a:lnTo>
                  <a:lnTo>
                    <a:pt x="2232" y="919"/>
                  </a:lnTo>
                  <a:lnTo>
                    <a:pt x="2236" y="907"/>
                  </a:lnTo>
                  <a:lnTo>
                    <a:pt x="2241" y="895"/>
                  </a:lnTo>
                  <a:lnTo>
                    <a:pt x="2247" y="884"/>
                  </a:lnTo>
                  <a:lnTo>
                    <a:pt x="2253" y="875"/>
                  </a:lnTo>
                  <a:lnTo>
                    <a:pt x="2262" y="866"/>
                  </a:lnTo>
                  <a:lnTo>
                    <a:pt x="2269" y="858"/>
                  </a:lnTo>
                  <a:lnTo>
                    <a:pt x="2278" y="850"/>
                  </a:lnTo>
                  <a:lnTo>
                    <a:pt x="2287" y="844"/>
                  </a:lnTo>
                  <a:lnTo>
                    <a:pt x="2297" y="839"/>
                  </a:lnTo>
                  <a:lnTo>
                    <a:pt x="2309" y="834"/>
                  </a:lnTo>
                  <a:lnTo>
                    <a:pt x="2319" y="830"/>
                  </a:lnTo>
                  <a:lnTo>
                    <a:pt x="2331" y="827"/>
                  </a:lnTo>
                  <a:lnTo>
                    <a:pt x="2343" y="825"/>
                  </a:lnTo>
                  <a:lnTo>
                    <a:pt x="3158" y="702"/>
                  </a:lnTo>
                  <a:lnTo>
                    <a:pt x="3171" y="701"/>
                  </a:lnTo>
                  <a:lnTo>
                    <a:pt x="3183" y="701"/>
                  </a:lnTo>
                  <a:lnTo>
                    <a:pt x="3194" y="701"/>
                  </a:lnTo>
                  <a:lnTo>
                    <a:pt x="3206" y="702"/>
                  </a:lnTo>
                  <a:lnTo>
                    <a:pt x="3218" y="704"/>
                  </a:lnTo>
                  <a:lnTo>
                    <a:pt x="3228" y="709"/>
                  </a:lnTo>
                  <a:lnTo>
                    <a:pt x="3239" y="713"/>
                  </a:lnTo>
                  <a:lnTo>
                    <a:pt x="3249" y="718"/>
                  </a:lnTo>
                  <a:lnTo>
                    <a:pt x="3259" y="724"/>
                  </a:lnTo>
                  <a:lnTo>
                    <a:pt x="3268" y="731"/>
                  </a:lnTo>
                  <a:lnTo>
                    <a:pt x="3277" y="740"/>
                  </a:lnTo>
                  <a:lnTo>
                    <a:pt x="3285" y="749"/>
                  </a:lnTo>
                  <a:lnTo>
                    <a:pt x="3292" y="761"/>
                  </a:lnTo>
                  <a:lnTo>
                    <a:pt x="3299" y="772"/>
                  </a:lnTo>
                  <a:lnTo>
                    <a:pt x="3307" y="785"/>
                  </a:lnTo>
                  <a:lnTo>
                    <a:pt x="3312" y="799"/>
                  </a:lnTo>
                  <a:lnTo>
                    <a:pt x="3548" y="1439"/>
                  </a:lnTo>
                  <a:lnTo>
                    <a:pt x="3549" y="1444"/>
                  </a:lnTo>
                  <a:lnTo>
                    <a:pt x="3550" y="1449"/>
                  </a:lnTo>
                  <a:lnTo>
                    <a:pt x="3551" y="1455"/>
                  </a:lnTo>
                  <a:lnTo>
                    <a:pt x="3551" y="1460"/>
                  </a:lnTo>
                  <a:lnTo>
                    <a:pt x="3550" y="1465"/>
                  </a:lnTo>
                  <a:lnTo>
                    <a:pt x="3549" y="1470"/>
                  </a:lnTo>
                  <a:lnTo>
                    <a:pt x="3548" y="1475"/>
                  </a:lnTo>
                  <a:lnTo>
                    <a:pt x="3546" y="1480"/>
                  </a:lnTo>
                  <a:lnTo>
                    <a:pt x="3544" y="1484"/>
                  </a:lnTo>
                  <a:lnTo>
                    <a:pt x="3541" y="1489"/>
                  </a:lnTo>
                  <a:lnTo>
                    <a:pt x="3537" y="1493"/>
                  </a:lnTo>
                  <a:lnTo>
                    <a:pt x="3534" y="1496"/>
                  </a:lnTo>
                  <a:lnTo>
                    <a:pt x="3528" y="1499"/>
                  </a:lnTo>
                  <a:lnTo>
                    <a:pt x="3524" y="1501"/>
                  </a:lnTo>
                  <a:lnTo>
                    <a:pt x="3519" y="1503"/>
                  </a:lnTo>
                  <a:lnTo>
                    <a:pt x="3513" y="1504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3894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5" r:id="rId15"/>
    <p:sldLayoutId id="2147483726" r:id="rId16"/>
    <p:sldLayoutId id="2147483727" r:id="rId17"/>
    <p:sldLayoutId id="2147483728" r:id="rId18"/>
    <p:sldLayoutId id="2147483729" r:id="rId19"/>
    <p:sldLayoutId id="2147483730" r:id="rId20"/>
    <p:sldLayoutId id="2147483731" r:id="rId21"/>
    <p:sldLayoutId id="2147483732" r:id="rId22"/>
    <p:sldLayoutId id="2147483733" r:id="rId23"/>
    <p:sldLayoutId id="2147483734" r:id="rId24"/>
    <p:sldLayoutId id="2147483735" r:id="rId25"/>
    <p:sldLayoutId id="2147483736" r:id="rId26"/>
    <p:sldLayoutId id="2147483737" r:id="rId27"/>
    <p:sldLayoutId id="2147483738" r:id="rId28"/>
    <p:sldLayoutId id="2147483739" r:id="rId2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310" y="6381917"/>
            <a:ext cx="1482372" cy="289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074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3349179002"/>
              </p:ext>
            </p:extLst>
          </p:nvPr>
        </p:nvGraphicFramePr>
        <p:xfrm>
          <a:off x="1606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6" name="think-cell Slide" r:id="rId35" imgW="216" imgH="216" progId="TCLayout.ActiveDocument.1">
                  <p:embed/>
                </p:oleObj>
              </mc:Choice>
              <mc:Fallback>
                <p:oleObj name="think-cell Slide" r:id="rId3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606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AutoShape 3"/>
          <p:cNvSpPr>
            <a:spLocks noChangeAspect="1" noChangeArrowheads="1" noTextEdit="1"/>
          </p:cNvSpPr>
          <p:nvPr/>
        </p:nvSpPr>
        <p:spPr bwMode="auto">
          <a:xfrm>
            <a:off x="493604" y="6381919"/>
            <a:ext cx="148246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AutoShape 3"/>
          <p:cNvSpPr>
            <a:spLocks noChangeAspect="1" noChangeArrowheads="1" noTextEdit="1"/>
          </p:cNvSpPr>
          <p:nvPr/>
        </p:nvSpPr>
        <p:spPr bwMode="auto">
          <a:xfrm>
            <a:off x="488422" y="6383507"/>
            <a:ext cx="1480741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0" name="Группа 9"/>
          <p:cNvGrpSpPr/>
          <p:nvPr/>
        </p:nvGrpSpPr>
        <p:grpSpPr>
          <a:xfrm>
            <a:off x="488422" y="6383507"/>
            <a:ext cx="1480741" cy="288925"/>
            <a:chOff x="450850" y="6383338"/>
            <a:chExt cx="1366838" cy="288925"/>
          </a:xfrm>
        </p:grpSpPr>
        <p:sp>
          <p:nvSpPr>
            <p:cNvPr id="6" name="Freeform 5"/>
            <p:cNvSpPr>
              <a:spLocks noEditPoints="1"/>
            </p:cNvSpPr>
            <p:nvPr/>
          </p:nvSpPr>
          <p:spPr bwMode="auto">
            <a:xfrm>
              <a:off x="866775" y="6448426"/>
              <a:ext cx="950913" cy="157163"/>
            </a:xfrm>
            <a:custGeom>
              <a:avLst/>
              <a:gdLst>
                <a:gd name="T0" fmla="*/ 2478 w 11388"/>
                <a:gd name="T1" fmla="*/ 807 h 1876"/>
                <a:gd name="T2" fmla="*/ 2682 w 11388"/>
                <a:gd name="T3" fmla="*/ 468 h 1876"/>
                <a:gd name="T4" fmla="*/ 3065 w 11388"/>
                <a:gd name="T5" fmla="*/ 346 h 1876"/>
                <a:gd name="T6" fmla="*/ 3449 w 11388"/>
                <a:gd name="T7" fmla="*/ 468 h 1876"/>
                <a:gd name="T8" fmla="*/ 3652 w 11388"/>
                <a:gd name="T9" fmla="*/ 807 h 1876"/>
                <a:gd name="T10" fmla="*/ 3594 w 11388"/>
                <a:gd name="T11" fmla="*/ 1239 h 1876"/>
                <a:gd name="T12" fmla="*/ 3302 w 11388"/>
                <a:gd name="T13" fmla="*/ 1489 h 1876"/>
                <a:gd name="T14" fmla="*/ 2885 w 11388"/>
                <a:gd name="T15" fmla="*/ 1506 h 1876"/>
                <a:gd name="T16" fmla="*/ 2567 w 11388"/>
                <a:gd name="T17" fmla="*/ 1287 h 1876"/>
                <a:gd name="T18" fmla="*/ 4068 w 11388"/>
                <a:gd name="T19" fmla="*/ 885 h 1876"/>
                <a:gd name="T20" fmla="*/ 3805 w 11388"/>
                <a:gd name="T21" fmla="*/ 290 h 1876"/>
                <a:gd name="T22" fmla="*/ 3217 w 11388"/>
                <a:gd name="T23" fmla="*/ 10 h 1876"/>
                <a:gd name="T24" fmla="*/ 2550 w 11388"/>
                <a:gd name="T25" fmla="*/ 126 h 1876"/>
                <a:gd name="T26" fmla="*/ 2125 w 11388"/>
                <a:gd name="T27" fmla="*/ 597 h 1876"/>
                <a:gd name="T28" fmla="*/ 2125 w 11388"/>
                <a:gd name="T29" fmla="*/ 1278 h 1876"/>
                <a:gd name="T30" fmla="*/ 2550 w 11388"/>
                <a:gd name="T31" fmla="*/ 1750 h 1876"/>
                <a:gd name="T32" fmla="*/ 3217 w 11388"/>
                <a:gd name="T33" fmla="*/ 1865 h 1876"/>
                <a:gd name="T34" fmla="*/ 3805 w 11388"/>
                <a:gd name="T35" fmla="*/ 1586 h 1876"/>
                <a:gd name="T36" fmla="*/ 4068 w 11388"/>
                <a:gd name="T37" fmla="*/ 989 h 1876"/>
                <a:gd name="T38" fmla="*/ 4468 w 11388"/>
                <a:gd name="T39" fmla="*/ 1449 h 1876"/>
                <a:gd name="T40" fmla="*/ 4564 w 11388"/>
                <a:gd name="T41" fmla="*/ 1815 h 1876"/>
                <a:gd name="T42" fmla="*/ 4837 w 11388"/>
                <a:gd name="T43" fmla="*/ 1657 h 1876"/>
                <a:gd name="T44" fmla="*/ 5827 w 11388"/>
                <a:gd name="T45" fmla="*/ 404 h 1876"/>
                <a:gd name="T46" fmla="*/ 7343 w 11388"/>
                <a:gd name="T47" fmla="*/ 1298 h 1876"/>
                <a:gd name="T48" fmla="*/ 7714 w 11388"/>
                <a:gd name="T49" fmla="*/ 1737 h 1876"/>
                <a:gd name="T50" fmla="*/ 8311 w 11388"/>
                <a:gd name="T51" fmla="*/ 1875 h 1876"/>
                <a:gd name="T52" fmla="*/ 8919 w 11388"/>
                <a:gd name="T53" fmla="*/ 1660 h 1876"/>
                <a:gd name="T54" fmla="*/ 9228 w 11388"/>
                <a:gd name="T55" fmla="*/ 1099 h 1876"/>
                <a:gd name="T56" fmla="*/ 9098 w 11388"/>
                <a:gd name="T57" fmla="*/ 416 h 1876"/>
                <a:gd name="T58" fmla="*/ 8598 w 11388"/>
                <a:gd name="T59" fmla="*/ 48 h 1876"/>
                <a:gd name="T60" fmla="*/ 7967 w 11388"/>
                <a:gd name="T61" fmla="*/ 36 h 1876"/>
                <a:gd name="T62" fmla="*/ 7500 w 11388"/>
                <a:gd name="T63" fmla="*/ 315 h 1876"/>
                <a:gd name="T64" fmla="*/ 6620 w 11388"/>
                <a:gd name="T65" fmla="*/ 42 h 1876"/>
                <a:gd name="T66" fmla="*/ 7782 w 11388"/>
                <a:gd name="T67" fmla="*/ 566 h 1876"/>
                <a:gd name="T68" fmla="*/ 8097 w 11388"/>
                <a:gd name="T69" fmla="*/ 363 h 1876"/>
                <a:gd name="T70" fmla="*/ 8537 w 11388"/>
                <a:gd name="T71" fmla="*/ 397 h 1876"/>
                <a:gd name="T72" fmla="*/ 8791 w 11388"/>
                <a:gd name="T73" fmla="*/ 663 h 1876"/>
                <a:gd name="T74" fmla="*/ 8823 w 11388"/>
                <a:gd name="T75" fmla="*/ 1100 h 1876"/>
                <a:gd name="T76" fmla="*/ 8632 w 11388"/>
                <a:gd name="T77" fmla="*/ 1424 h 1876"/>
                <a:gd name="T78" fmla="*/ 8227 w 11388"/>
                <a:gd name="T79" fmla="*/ 1529 h 1876"/>
                <a:gd name="T80" fmla="*/ 7849 w 11388"/>
                <a:gd name="T81" fmla="*/ 1391 h 1876"/>
                <a:gd name="T82" fmla="*/ 7690 w 11388"/>
                <a:gd name="T83" fmla="*/ 1037 h 1876"/>
                <a:gd name="T84" fmla="*/ 11180 w 11388"/>
                <a:gd name="T85" fmla="*/ 229 h 1876"/>
                <a:gd name="T86" fmla="*/ 10774 w 11388"/>
                <a:gd name="T87" fmla="*/ 31 h 1876"/>
                <a:gd name="T88" fmla="*/ 10181 w 11388"/>
                <a:gd name="T89" fmla="*/ 37 h 1876"/>
                <a:gd name="T90" fmla="*/ 9650 w 11388"/>
                <a:gd name="T91" fmla="*/ 387 h 1876"/>
                <a:gd name="T92" fmla="*/ 9486 w 11388"/>
                <a:gd name="T93" fmla="*/ 1044 h 1876"/>
                <a:gd name="T94" fmla="*/ 9766 w 11388"/>
                <a:gd name="T95" fmla="*/ 1624 h 1876"/>
                <a:gd name="T96" fmla="*/ 10376 w 11388"/>
                <a:gd name="T97" fmla="*/ 1871 h 1876"/>
                <a:gd name="T98" fmla="*/ 10903 w 11388"/>
                <a:gd name="T99" fmla="*/ 1806 h 1876"/>
                <a:gd name="T100" fmla="*/ 11271 w 11388"/>
                <a:gd name="T101" fmla="*/ 1557 h 1876"/>
                <a:gd name="T102" fmla="*/ 10978 w 11388"/>
                <a:gd name="T103" fmla="*/ 1330 h 1876"/>
                <a:gd name="T104" fmla="*/ 10734 w 11388"/>
                <a:gd name="T105" fmla="*/ 1480 h 1876"/>
                <a:gd name="T106" fmla="*/ 10380 w 11388"/>
                <a:gd name="T107" fmla="*/ 1510 h 1876"/>
                <a:gd name="T108" fmla="*/ 10029 w 11388"/>
                <a:gd name="T109" fmla="*/ 1338 h 1876"/>
                <a:gd name="T110" fmla="*/ 9884 w 11388"/>
                <a:gd name="T111" fmla="*/ 970 h 1876"/>
                <a:gd name="T112" fmla="*/ 9991 w 11388"/>
                <a:gd name="T113" fmla="*/ 577 h 1876"/>
                <a:gd name="T114" fmla="*/ 10316 w 11388"/>
                <a:gd name="T115" fmla="*/ 375 h 1876"/>
                <a:gd name="T116" fmla="*/ 10692 w 11388"/>
                <a:gd name="T117" fmla="*/ 384 h 1876"/>
                <a:gd name="T118" fmla="*/ 10948 w 11388"/>
                <a:gd name="T119" fmla="*/ 517 h 18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88" h="1876">
                  <a:moveTo>
                    <a:pt x="0" y="42"/>
                  </a:moveTo>
                  <a:lnTo>
                    <a:pt x="0" y="1830"/>
                  </a:lnTo>
                  <a:lnTo>
                    <a:pt x="402" y="1830"/>
                  </a:lnTo>
                  <a:lnTo>
                    <a:pt x="402" y="401"/>
                  </a:lnTo>
                  <a:lnTo>
                    <a:pt x="1360" y="401"/>
                  </a:lnTo>
                  <a:lnTo>
                    <a:pt x="1360" y="1830"/>
                  </a:lnTo>
                  <a:lnTo>
                    <a:pt x="1765" y="1830"/>
                  </a:lnTo>
                  <a:lnTo>
                    <a:pt x="1765" y="42"/>
                  </a:lnTo>
                  <a:lnTo>
                    <a:pt x="0" y="42"/>
                  </a:lnTo>
                  <a:close/>
                  <a:moveTo>
                    <a:pt x="2467" y="937"/>
                  </a:moveTo>
                  <a:lnTo>
                    <a:pt x="2467" y="904"/>
                  </a:lnTo>
                  <a:lnTo>
                    <a:pt x="2470" y="870"/>
                  </a:lnTo>
                  <a:lnTo>
                    <a:pt x="2473" y="838"/>
                  </a:lnTo>
                  <a:lnTo>
                    <a:pt x="2478" y="807"/>
                  </a:lnTo>
                  <a:lnTo>
                    <a:pt x="2486" y="776"/>
                  </a:lnTo>
                  <a:lnTo>
                    <a:pt x="2494" y="747"/>
                  </a:lnTo>
                  <a:lnTo>
                    <a:pt x="2503" y="718"/>
                  </a:lnTo>
                  <a:lnTo>
                    <a:pt x="2513" y="689"/>
                  </a:lnTo>
                  <a:lnTo>
                    <a:pt x="2524" y="663"/>
                  </a:lnTo>
                  <a:lnTo>
                    <a:pt x="2538" y="637"/>
                  </a:lnTo>
                  <a:lnTo>
                    <a:pt x="2552" y="613"/>
                  </a:lnTo>
                  <a:lnTo>
                    <a:pt x="2567" y="588"/>
                  </a:lnTo>
                  <a:lnTo>
                    <a:pt x="2584" y="566"/>
                  </a:lnTo>
                  <a:lnTo>
                    <a:pt x="2602" y="544"/>
                  </a:lnTo>
                  <a:lnTo>
                    <a:pt x="2621" y="523"/>
                  </a:lnTo>
                  <a:lnTo>
                    <a:pt x="2640" y="504"/>
                  </a:lnTo>
                  <a:lnTo>
                    <a:pt x="2660" y="485"/>
                  </a:lnTo>
                  <a:lnTo>
                    <a:pt x="2682" y="468"/>
                  </a:lnTo>
                  <a:lnTo>
                    <a:pt x="2705" y="451"/>
                  </a:lnTo>
                  <a:lnTo>
                    <a:pt x="2728" y="436"/>
                  </a:lnTo>
                  <a:lnTo>
                    <a:pt x="2752" y="422"/>
                  </a:lnTo>
                  <a:lnTo>
                    <a:pt x="2778" y="410"/>
                  </a:lnTo>
                  <a:lnTo>
                    <a:pt x="2804" y="397"/>
                  </a:lnTo>
                  <a:lnTo>
                    <a:pt x="2830" y="387"/>
                  </a:lnTo>
                  <a:lnTo>
                    <a:pt x="2858" y="377"/>
                  </a:lnTo>
                  <a:lnTo>
                    <a:pt x="2885" y="369"/>
                  </a:lnTo>
                  <a:lnTo>
                    <a:pt x="2914" y="363"/>
                  </a:lnTo>
                  <a:lnTo>
                    <a:pt x="2944" y="356"/>
                  </a:lnTo>
                  <a:lnTo>
                    <a:pt x="2973" y="352"/>
                  </a:lnTo>
                  <a:lnTo>
                    <a:pt x="3004" y="348"/>
                  </a:lnTo>
                  <a:lnTo>
                    <a:pt x="3035" y="346"/>
                  </a:lnTo>
                  <a:lnTo>
                    <a:pt x="3065" y="346"/>
                  </a:lnTo>
                  <a:lnTo>
                    <a:pt x="3097" y="346"/>
                  </a:lnTo>
                  <a:lnTo>
                    <a:pt x="3128" y="348"/>
                  </a:lnTo>
                  <a:lnTo>
                    <a:pt x="3158" y="352"/>
                  </a:lnTo>
                  <a:lnTo>
                    <a:pt x="3188" y="356"/>
                  </a:lnTo>
                  <a:lnTo>
                    <a:pt x="3218" y="363"/>
                  </a:lnTo>
                  <a:lnTo>
                    <a:pt x="3246" y="369"/>
                  </a:lnTo>
                  <a:lnTo>
                    <a:pt x="3274" y="377"/>
                  </a:lnTo>
                  <a:lnTo>
                    <a:pt x="3302" y="387"/>
                  </a:lnTo>
                  <a:lnTo>
                    <a:pt x="3328" y="397"/>
                  </a:lnTo>
                  <a:lnTo>
                    <a:pt x="3354" y="410"/>
                  </a:lnTo>
                  <a:lnTo>
                    <a:pt x="3379" y="422"/>
                  </a:lnTo>
                  <a:lnTo>
                    <a:pt x="3403" y="436"/>
                  </a:lnTo>
                  <a:lnTo>
                    <a:pt x="3426" y="451"/>
                  </a:lnTo>
                  <a:lnTo>
                    <a:pt x="3449" y="468"/>
                  </a:lnTo>
                  <a:lnTo>
                    <a:pt x="3471" y="485"/>
                  </a:lnTo>
                  <a:lnTo>
                    <a:pt x="3492" y="504"/>
                  </a:lnTo>
                  <a:lnTo>
                    <a:pt x="3511" y="523"/>
                  </a:lnTo>
                  <a:lnTo>
                    <a:pt x="3530" y="544"/>
                  </a:lnTo>
                  <a:lnTo>
                    <a:pt x="3547" y="566"/>
                  </a:lnTo>
                  <a:lnTo>
                    <a:pt x="3564" y="588"/>
                  </a:lnTo>
                  <a:lnTo>
                    <a:pt x="3580" y="613"/>
                  </a:lnTo>
                  <a:lnTo>
                    <a:pt x="3594" y="637"/>
                  </a:lnTo>
                  <a:lnTo>
                    <a:pt x="3606" y="663"/>
                  </a:lnTo>
                  <a:lnTo>
                    <a:pt x="3618" y="689"/>
                  </a:lnTo>
                  <a:lnTo>
                    <a:pt x="3629" y="718"/>
                  </a:lnTo>
                  <a:lnTo>
                    <a:pt x="3638" y="747"/>
                  </a:lnTo>
                  <a:lnTo>
                    <a:pt x="3646" y="776"/>
                  </a:lnTo>
                  <a:lnTo>
                    <a:pt x="3652" y="807"/>
                  </a:lnTo>
                  <a:lnTo>
                    <a:pt x="3657" y="838"/>
                  </a:lnTo>
                  <a:lnTo>
                    <a:pt x="3661" y="870"/>
                  </a:lnTo>
                  <a:lnTo>
                    <a:pt x="3663" y="904"/>
                  </a:lnTo>
                  <a:lnTo>
                    <a:pt x="3665" y="937"/>
                  </a:lnTo>
                  <a:lnTo>
                    <a:pt x="3663" y="972"/>
                  </a:lnTo>
                  <a:lnTo>
                    <a:pt x="3661" y="1005"/>
                  </a:lnTo>
                  <a:lnTo>
                    <a:pt x="3657" y="1037"/>
                  </a:lnTo>
                  <a:lnTo>
                    <a:pt x="3652" y="1069"/>
                  </a:lnTo>
                  <a:lnTo>
                    <a:pt x="3646" y="1100"/>
                  </a:lnTo>
                  <a:lnTo>
                    <a:pt x="3638" y="1129"/>
                  </a:lnTo>
                  <a:lnTo>
                    <a:pt x="3629" y="1158"/>
                  </a:lnTo>
                  <a:lnTo>
                    <a:pt x="3618" y="1186"/>
                  </a:lnTo>
                  <a:lnTo>
                    <a:pt x="3606" y="1212"/>
                  </a:lnTo>
                  <a:lnTo>
                    <a:pt x="3594" y="1239"/>
                  </a:lnTo>
                  <a:lnTo>
                    <a:pt x="3580" y="1263"/>
                  </a:lnTo>
                  <a:lnTo>
                    <a:pt x="3564" y="1287"/>
                  </a:lnTo>
                  <a:lnTo>
                    <a:pt x="3547" y="1310"/>
                  </a:lnTo>
                  <a:lnTo>
                    <a:pt x="3530" y="1332"/>
                  </a:lnTo>
                  <a:lnTo>
                    <a:pt x="3511" y="1352"/>
                  </a:lnTo>
                  <a:lnTo>
                    <a:pt x="3492" y="1371"/>
                  </a:lnTo>
                  <a:lnTo>
                    <a:pt x="3471" y="1391"/>
                  </a:lnTo>
                  <a:lnTo>
                    <a:pt x="3449" y="1408"/>
                  </a:lnTo>
                  <a:lnTo>
                    <a:pt x="3426" y="1424"/>
                  </a:lnTo>
                  <a:lnTo>
                    <a:pt x="3403" y="1440"/>
                  </a:lnTo>
                  <a:lnTo>
                    <a:pt x="3379" y="1453"/>
                  </a:lnTo>
                  <a:lnTo>
                    <a:pt x="3354" y="1466"/>
                  </a:lnTo>
                  <a:lnTo>
                    <a:pt x="3328" y="1479"/>
                  </a:lnTo>
                  <a:lnTo>
                    <a:pt x="3302" y="1489"/>
                  </a:lnTo>
                  <a:lnTo>
                    <a:pt x="3274" y="1498"/>
                  </a:lnTo>
                  <a:lnTo>
                    <a:pt x="3246" y="1506"/>
                  </a:lnTo>
                  <a:lnTo>
                    <a:pt x="3218" y="1513"/>
                  </a:lnTo>
                  <a:lnTo>
                    <a:pt x="3188" y="1519"/>
                  </a:lnTo>
                  <a:lnTo>
                    <a:pt x="3158" y="1523"/>
                  </a:lnTo>
                  <a:lnTo>
                    <a:pt x="3128" y="1527"/>
                  </a:lnTo>
                  <a:lnTo>
                    <a:pt x="3097" y="1529"/>
                  </a:lnTo>
                  <a:lnTo>
                    <a:pt x="3065" y="1530"/>
                  </a:lnTo>
                  <a:lnTo>
                    <a:pt x="3035" y="1529"/>
                  </a:lnTo>
                  <a:lnTo>
                    <a:pt x="3004" y="1527"/>
                  </a:lnTo>
                  <a:lnTo>
                    <a:pt x="2973" y="1523"/>
                  </a:lnTo>
                  <a:lnTo>
                    <a:pt x="2944" y="1519"/>
                  </a:lnTo>
                  <a:lnTo>
                    <a:pt x="2914" y="1513"/>
                  </a:lnTo>
                  <a:lnTo>
                    <a:pt x="2885" y="1506"/>
                  </a:lnTo>
                  <a:lnTo>
                    <a:pt x="2858" y="1498"/>
                  </a:lnTo>
                  <a:lnTo>
                    <a:pt x="2830" y="1489"/>
                  </a:lnTo>
                  <a:lnTo>
                    <a:pt x="2804" y="1479"/>
                  </a:lnTo>
                  <a:lnTo>
                    <a:pt x="2778" y="1466"/>
                  </a:lnTo>
                  <a:lnTo>
                    <a:pt x="2752" y="1453"/>
                  </a:lnTo>
                  <a:lnTo>
                    <a:pt x="2728" y="1440"/>
                  </a:lnTo>
                  <a:lnTo>
                    <a:pt x="2705" y="1424"/>
                  </a:lnTo>
                  <a:lnTo>
                    <a:pt x="2682" y="1408"/>
                  </a:lnTo>
                  <a:lnTo>
                    <a:pt x="2660" y="1391"/>
                  </a:lnTo>
                  <a:lnTo>
                    <a:pt x="2640" y="1371"/>
                  </a:lnTo>
                  <a:lnTo>
                    <a:pt x="2621" y="1352"/>
                  </a:lnTo>
                  <a:lnTo>
                    <a:pt x="2602" y="1332"/>
                  </a:lnTo>
                  <a:lnTo>
                    <a:pt x="2584" y="1310"/>
                  </a:lnTo>
                  <a:lnTo>
                    <a:pt x="2567" y="1287"/>
                  </a:lnTo>
                  <a:lnTo>
                    <a:pt x="2552" y="1263"/>
                  </a:lnTo>
                  <a:lnTo>
                    <a:pt x="2538" y="1239"/>
                  </a:lnTo>
                  <a:lnTo>
                    <a:pt x="2524" y="1212"/>
                  </a:lnTo>
                  <a:lnTo>
                    <a:pt x="2513" y="1186"/>
                  </a:lnTo>
                  <a:lnTo>
                    <a:pt x="2503" y="1158"/>
                  </a:lnTo>
                  <a:lnTo>
                    <a:pt x="2494" y="1129"/>
                  </a:lnTo>
                  <a:lnTo>
                    <a:pt x="2486" y="1100"/>
                  </a:lnTo>
                  <a:lnTo>
                    <a:pt x="2478" y="1069"/>
                  </a:lnTo>
                  <a:lnTo>
                    <a:pt x="2473" y="1037"/>
                  </a:lnTo>
                  <a:lnTo>
                    <a:pt x="2470" y="1005"/>
                  </a:lnTo>
                  <a:lnTo>
                    <a:pt x="2467" y="972"/>
                  </a:lnTo>
                  <a:lnTo>
                    <a:pt x="2467" y="937"/>
                  </a:lnTo>
                  <a:close/>
                  <a:moveTo>
                    <a:pt x="4069" y="937"/>
                  </a:moveTo>
                  <a:lnTo>
                    <a:pt x="4068" y="885"/>
                  </a:lnTo>
                  <a:lnTo>
                    <a:pt x="4064" y="834"/>
                  </a:lnTo>
                  <a:lnTo>
                    <a:pt x="4057" y="784"/>
                  </a:lnTo>
                  <a:lnTo>
                    <a:pt x="4048" y="736"/>
                  </a:lnTo>
                  <a:lnTo>
                    <a:pt x="4037" y="688"/>
                  </a:lnTo>
                  <a:lnTo>
                    <a:pt x="4023" y="642"/>
                  </a:lnTo>
                  <a:lnTo>
                    <a:pt x="4007" y="597"/>
                  </a:lnTo>
                  <a:lnTo>
                    <a:pt x="3989" y="554"/>
                  </a:lnTo>
                  <a:lnTo>
                    <a:pt x="3968" y="512"/>
                  </a:lnTo>
                  <a:lnTo>
                    <a:pt x="3946" y="471"/>
                  </a:lnTo>
                  <a:lnTo>
                    <a:pt x="3921" y="432"/>
                  </a:lnTo>
                  <a:lnTo>
                    <a:pt x="3896" y="394"/>
                  </a:lnTo>
                  <a:lnTo>
                    <a:pt x="3867" y="358"/>
                  </a:lnTo>
                  <a:lnTo>
                    <a:pt x="3836" y="323"/>
                  </a:lnTo>
                  <a:lnTo>
                    <a:pt x="3805" y="290"/>
                  </a:lnTo>
                  <a:lnTo>
                    <a:pt x="3772" y="258"/>
                  </a:lnTo>
                  <a:lnTo>
                    <a:pt x="3736" y="228"/>
                  </a:lnTo>
                  <a:lnTo>
                    <a:pt x="3699" y="200"/>
                  </a:lnTo>
                  <a:lnTo>
                    <a:pt x="3661" y="174"/>
                  </a:lnTo>
                  <a:lnTo>
                    <a:pt x="3623" y="148"/>
                  </a:lnTo>
                  <a:lnTo>
                    <a:pt x="3582" y="126"/>
                  </a:lnTo>
                  <a:lnTo>
                    <a:pt x="3540" y="104"/>
                  </a:lnTo>
                  <a:lnTo>
                    <a:pt x="3496" y="85"/>
                  </a:lnTo>
                  <a:lnTo>
                    <a:pt x="3452" y="68"/>
                  </a:lnTo>
                  <a:lnTo>
                    <a:pt x="3407" y="52"/>
                  </a:lnTo>
                  <a:lnTo>
                    <a:pt x="3360" y="39"/>
                  </a:lnTo>
                  <a:lnTo>
                    <a:pt x="3313" y="27"/>
                  </a:lnTo>
                  <a:lnTo>
                    <a:pt x="3265" y="18"/>
                  </a:lnTo>
                  <a:lnTo>
                    <a:pt x="3217" y="10"/>
                  </a:lnTo>
                  <a:lnTo>
                    <a:pt x="3167" y="4"/>
                  </a:lnTo>
                  <a:lnTo>
                    <a:pt x="3116" y="1"/>
                  </a:lnTo>
                  <a:lnTo>
                    <a:pt x="3065" y="0"/>
                  </a:lnTo>
                  <a:lnTo>
                    <a:pt x="3015" y="1"/>
                  </a:lnTo>
                  <a:lnTo>
                    <a:pt x="2965" y="4"/>
                  </a:lnTo>
                  <a:lnTo>
                    <a:pt x="2915" y="10"/>
                  </a:lnTo>
                  <a:lnTo>
                    <a:pt x="2867" y="18"/>
                  </a:lnTo>
                  <a:lnTo>
                    <a:pt x="2819" y="27"/>
                  </a:lnTo>
                  <a:lnTo>
                    <a:pt x="2771" y="39"/>
                  </a:lnTo>
                  <a:lnTo>
                    <a:pt x="2725" y="52"/>
                  </a:lnTo>
                  <a:lnTo>
                    <a:pt x="2680" y="68"/>
                  </a:lnTo>
                  <a:lnTo>
                    <a:pt x="2635" y="85"/>
                  </a:lnTo>
                  <a:lnTo>
                    <a:pt x="2592" y="104"/>
                  </a:lnTo>
                  <a:lnTo>
                    <a:pt x="2550" y="126"/>
                  </a:lnTo>
                  <a:lnTo>
                    <a:pt x="2509" y="148"/>
                  </a:lnTo>
                  <a:lnTo>
                    <a:pt x="2470" y="174"/>
                  </a:lnTo>
                  <a:lnTo>
                    <a:pt x="2431" y="200"/>
                  </a:lnTo>
                  <a:lnTo>
                    <a:pt x="2396" y="228"/>
                  </a:lnTo>
                  <a:lnTo>
                    <a:pt x="2360" y="258"/>
                  </a:lnTo>
                  <a:lnTo>
                    <a:pt x="2326" y="290"/>
                  </a:lnTo>
                  <a:lnTo>
                    <a:pt x="2294" y="323"/>
                  </a:lnTo>
                  <a:lnTo>
                    <a:pt x="2265" y="358"/>
                  </a:lnTo>
                  <a:lnTo>
                    <a:pt x="2236" y="394"/>
                  </a:lnTo>
                  <a:lnTo>
                    <a:pt x="2210" y="432"/>
                  </a:lnTo>
                  <a:lnTo>
                    <a:pt x="2185" y="471"/>
                  </a:lnTo>
                  <a:lnTo>
                    <a:pt x="2164" y="512"/>
                  </a:lnTo>
                  <a:lnTo>
                    <a:pt x="2143" y="554"/>
                  </a:lnTo>
                  <a:lnTo>
                    <a:pt x="2125" y="597"/>
                  </a:lnTo>
                  <a:lnTo>
                    <a:pt x="2108" y="642"/>
                  </a:lnTo>
                  <a:lnTo>
                    <a:pt x="2095" y="688"/>
                  </a:lnTo>
                  <a:lnTo>
                    <a:pt x="2083" y="736"/>
                  </a:lnTo>
                  <a:lnTo>
                    <a:pt x="2075" y="784"/>
                  </a:lnTo>
                  <a:lnTo>
                    <a:pt x="2067" y="834"/>
                  </a:lnTo>
                  <a:lnTo>
                    <a:pt x="2063" y="885"/>
                  </a:lnTo>
                  <a:lnTo>
                    <a:pt x="2062" y="937"/>
                  </a:lnTo>
                  <a:lnTo>
                    <a:pt x="2063" y="989"/>
                  </a:lnTo>
                  <a:lnTo>
                    <a:pt x="2067" y="1041"/>
                  </a:lnTo>
                  <a:lnTo>
                    <a:pt x="2075" y="1091"/>
                  </a:lnTo>
                  <a:lnTo>
                    <a:pt x="2083" y="1140"/>
                  </a:lnTo>
                  <a:lnTo>
                    <a:pt x="2095" y="1187"/>
                  </a:lnTo>
                  <a:lnTo>
                    <a:pt x="2108" y="1234"/>
                  </a:lnTo>
                  <a:lnTo>
                    <a:pt x="2125" y="1278"/>
                  </a:lnTo>
                  <a:lnTo>
                    <a:pt x="2143" y="1321"/>
                  </a:lnTo>
                  <a:lnTo>
                    <a:pt x="2164" y="1363"/>
                  </a:lnTo>
                  <a:lnTo>
                    <a:pt x="2185" y="1404"/>
                  </a:lnTo>
                  <a:lnTo>
                    <a:pt x="2210" y="1444"/>
                  </a:lnTo>
                  <a:lnTo>
                    <a:pt x="2236" y="1482"/>
                  </a:lnTo>
                  <a:lnTo>
                    <a:pt x="2265" y="1518"/>
                  </a:lnTo>
                  <a:lnTo>
                    <a:pt x="2294" y="1553"/>
                  </a:lnTo>
                  <a:lnTo>
                    <a:pt x="2326" y="1586"/>
                  </a:lnTo>
                  <a:lnTo>
                    <a:pt x="2360" y="1617"/>
                  </a:lnTo>
                  <a:lnTo>
                    <a:pt x="2396" y="1647"/>
                  </a:lnTo>
                  <a:lnTo>
                    <a:pt x="2431" y="1676"/>
                  </a:lnTo>
                  <a:lnTo>
                    <a:pt x="2470" y="1702"/>
                  </a:lnTo>
                  <a:lnTo>
                    <a:pt x="2509" y="1727"/>
                  </a:lnTo>
                  <a:lnTo>
                    <a:pt x="2550" y="1750"/>
                  </a:lnTo>
                  <a:lnTo>
                    <a:pt x="2592" y="1772"/>
                  </a:lnTo>
                  <a:lnTo>
                    <a:pt x="2635" y="1790"/>
                  </a:lnTo>
                  <a:lnTo>
                    <a:pt x="2680" y="1808"/>
                  </a:lnTo>
                  <a:lnTo>
                    <a:pt x="2725" y="1824"/>
                  </a:lnTo>
                  <a:lnTo>
                    <a:pt x="2771" y="1837"/>
                  </a:lnTo>
                  <a:lnTo>
                    <a:pt x="2819" y="1848"/>
                  </a:lnTo>
                  <a:lnTo>
                    <a:pt x="2867" y="1858"/>
                  </a:lnTo>
                  <a:lnTo>
                    <a:pt x="2915" y="1865"/>
                  </a:lnTo>
                  <a:lnTo>
                    <a:pt x="2965" y="1871"/>
                  </a:lnTo>
                  <a:lnTo>
                    <a:pt x="3015" y="1874"/>
                  </a:lnTo>
                  <a:lnTo>
                    <a:pt x="3065" y="1876"/>
                  </a:lnTo>
                  <a:lnTo>
                    <a:pt x="3116" y="1874"/>
                  </a:lnTo>
                  <a:lnTo>
                    <a:pt x="3167" y="1871"/>
                  </a:lnTo>
                  <a:lnTo>
                    <a:pt x="3217" y="1865"/>
                  </a:lnTo>
                  <a:lnTo>
                    <a:pt x="3265" y="1858"/>
                  </a:lnTo>
                  <a:lnTo>
                    <a:pt x="3313" y="1848"/>
                  </a:lnTo>
                  <a:lnTo>
                    <a:pt x="3360" y="1837"/>
                  </a:lnTo>
                  <a:lnTo>
                    <a:pt x="3407" y="1824"/>
                  </a:lnTo>
                  <a:lnTo>
                    <a:pt x="3452" y="1808"/>
                  </a:lnTo>
                  <a:lnTo>
                    <a:pt x="3496" y="1790"/>
                  </a:lnTo>
                  <a:lnTo>
                    <a:pt x="3540" y="1772"/>
                  </a:lnTo>
                  <a:lnTo>
                    <a:pt x="3582" y="1750"/>
                  </a:lnTo>
                  <a:lnTo>
                    <a:pt x="3623" y="1727"/>
                  </a:lnTo>
                  <a:lnTo>
                    <a:pt x="3661" y="1702"/>
                  </a:lnTo>
                  <a:lnTo>
                    <a:pt x="3699" y="1676"/>
                  </a:lnTo>
                  <a:lnTo>
                    <a:pt x="3736" y="1647"/>
                  </a:lnTo>
                  <a:lnTo>
                    <a:pt x="3772" y="1617"/>
                  </a:lnTo>
                  <a:lnTo>
                    <a:pt x="3805" y="1586"/>
                  </a:lnTo>
                  <a:lnTo>
                    <a:pt x="3836" y="1553"/>
                  </a:lnTo>
                  <a:lnTo>
                    <a:pt x="3867" y="1518"/>
                  </a:lnTo>
                  <a:lnTo>
                    <a:pt x="3896" y="1482"/>
                  </a:lnTo>
                  <a:lnTo>
                    <a:pt x="3921" y="1444"/>
                  </a:lnTo>
                  <a:lnTo>
                    <a:pt x="3946" y="1404"/>
                  </a:lnTo>
                  <a:lnTo>
                    <a:pt x="3968" y="1363"/>
                  </a:lnTo>
                  <a:lnTo>
                    <a:pt x="3989" y="1321"/>
                  </a:lnTo>
                  <a:lnTo>
                    <a:pt x="4007" y="1278"/>
                  </a:lnTo>
                  <a:lnTo>
                    <a:pt x="4023" y="1234"/>
                  </a:lnTo>
                  <a:lnTo>
                    <a:pt x="4037" y="1187"/>
                  </a:lnTo>
                  <a:lnTo>
                    <a:pt x="4048" y="1140"/>
                  </a:lnTo>
                  <a:lnTo>
                    <a:pt x="4057" y="1091"/>
                  </a:lnTo>
                  <a:lnTo>
                    <a:pt x="4064" y="1041"/>
                  </a:lnTo>
                  <a:lnTo>
                    <a:pt x="4068" y="989"/>
                  </a:lnTo>
                  <a:lnTo>
                    <a:pt x="4069" y="937"/>
                  </a:lnTo>
                  <a:close/>
                  <a:moveTo>
                    <a:pt x="4805" y="42"/>
                  </a:moveTo>
                  <a:lnTo>
                    <a:pt x="4564" y="1322"/>
                  </a:lnTo>
                  <a:lnTo>
                    <a:pt x="4560" y="1340"/>
                  </a:lnTo>
                  <a:lnTo>
                    <a:pt x="4555" y="1356"/>
                  </a:lnTo>
                  <a:lnTo>
                    <a:pt x="4549" y="1371"/>
                  </a:lnTo>
                  <a:lnTo>
                    <a:pt x="4542" y="1385"/>
                  </a:lnTo>
                  <a:lnTo>
                    <a:pt x="4535" y="1398"/>
                  </a:lnTo>
                  <a:lnTo>
                    <a:pt x="4525" y="1409"/>
                  </a:lnTo>
                  <a:lnTo>
                    <a:pt x="4515" y="1419"/>
                  </a:lnTo>
                  <a:lnTo>
                    <a:pt x="4505" y="1429"/>
                  </a:lnTo>
                  <a:lnTo>
                    <a:pt x="4494" y="1437"/>
                  </a:lnTo>
                  <a:lnTo>
                    <a:pt x="4481" y="1443"/>
                  </a:lnTo>
                  <a:lnTo>
                    <a:pt x="4468" y="1449"/>
                  </a:lnTo>
                  <a:lnTo>
                    <a:pt x="4454" y="1453"/>
                  </a:lnTo>
                  <a:lnTo>
                    <a:pt x="4440" y="1457"/>
                  </a:lnTo>
                  <a:lnTo>
                    <a:pt x="4423" y="1459"/>
                  </a:lnTo>
                  <a:lnTo>
                    <a:pt x="4407" y="1461"/>
                  </a:lnTo>
                  <a:lnTo>
                    <a:pt x="4389" y="1461"/>
                  </a:lnTo>
                  <a:lnTo>
                    <a:pt x="4195" y="1461"/>
                  </a:lnTo>
                  <a:lnTo>
                    <a:pt x="4195" y="1830"/>
                  </a:lnTo>
                  <a:lnTo>
                    <a:pt x="4409" y="1830"/>
                  </a:lnTo>
                  <a:lnTo>
                    <a:pt x="4436" y="1830"/>
                  </a:lnTo>
                  <a:lnTo>
                    <a:pt x="4463" y="1829"/>
                  </a:lnTo>
                  <a:lnTo>
                    <a:pt x="4490" y="1827"/>
                  </a:lnTo>
                  <a:lnTo>
                    <a:pt x="4515" y="1824"/>
                  </a:lnTo>
                  <a:lnTo>
                    <a:pt x="4540" y="1820"/>
                  </a:lnTo>
                  <a:lnTo>
                    <a:pt x="4564" y="1815"/>
                  </a:lnTo>
                  <a:lnTo>
                    <a:pt x="4588" y="1809"/>
                  </a:lnTo>
                  <a:lnTo>
                    <a:pt x="4611" y="1803"/>
                  </a:lnTo>
                  <a:lnTo>
                    <a:pt x="4634" y="1796"/>
                  </a:lnTo>
                  <a:lnTo>
                    <a:pt x="4655" y="1788"/>
                  </a:lnTo>
                  <a:lnTo>
                    <a:pt x="4677" y="1779"/>
                  </a:lnTo>
                  <a:lnTo>
                    <a:pt x="4697" y="1770"/>
                  </a:lnTo>
                  <a:lnTo>
                    <a:pt x="4718" y="1758"/>
                  </a:lnTo>
                  <a:lnTo>
                    <a:pt x="4736" y="1747"/>
                  </a:lnTo>
                  <a:lnTo>
                    <a:pt x="4755" y="1735"/>
                  </a:lnTo>
                  <a:lnTo>
                    <a:pt x="4773" y="1721"/>
                  </a:lnTo>
                  <a:lnTo>
                    <a:pt x="4790" y="1706"/>
                  </a:lnTo>
                  <a:lnTo>
                    <a:pt x="4807" y="1691"/>
                  </a:lnTo>
                  <a:lnTo>
                    <a:pt x="4822" y="1675"/>
                  </a:lnTo>
                  <a:lnTo>
                    <a:pt x="4837" y="1657"/>
                  </a:lnTo>
                  <a:lnTo>
                    <a:pt x="4852" y="1640"/>
                  </a:lnTo>
                  <a:lnTo>
                    <a:pt x="4865" y="1620"/>
                  </a:lnTo>
                  <a:lnTo>
                    <a:pt x="4878" y="1600"/>
                  </a:lnTo>
                  <a:lnTo>
                    <a:pt x="4890" y="1579"/>
                  </a:lnTo>
                  <a:lnTo>
                    <a:pt x="4902" y="1557"/>
                  </a:lnTo>
                  <a:lnTo>
                    <a:pt x="4912" y="1534"/>
                  </a:lnTo>
                  <a:lnTo>
                    <a:pt x="4922" y="1510"/>
                  </a:lnTo>
                  <a:lnTo>
                    <a:pt x="4931" y="1485"/>
                  </a:lnTo>
                  <a:lnTo>
                    <a:pt x="4939" y="1458"/>
                  </a:lnTo>
                  <a:lnTo>
                    <a:pt x="4947" y="1432"/>
                  </a:lnTo>
                  <a:lnTo>
                    <a:pt x="4954" y="1403"/>
                  </a:lnTo>
                  <a:lnTo>
                    <a:pt x="4959" y="1374"/>
                  </a:lnTo>
                  <a:lnTo>
                    <a:pt x="5141" y="404"/>
                  </a:lnTo>
                  <a:lnTo>
                    <a:pt x="5827" y="404"/>
                  </a:lnTo>
                  <a:lnTo>
                    <a:pt x="5827" y="1830"/>
                  </a:lnTo>
                  <a:lnTo>
                    <a:pt x="6232" y="1830"/>
                  </a:lnTo>
                  <a:lnTo>
                    <a:pt x="6232" y="42"/>
                  </a:lnTo>
                  <a:lnTo>
                    <a:pt x="4805" y="42"/>
                  </a:lnTo>
                  <a:close/>
                  <a:moveTo>
                    <a:pt x="6620" y="42"/>
                  </a:moveTo>
                  <a:lnTo>
                    <a:pt x="6620" y="1830"/>
                  </a:lnTo>
                  <a:lnTo>
                    <a:pt x="7018" y="1830"/>
                  </a:lnTo>
                  <a:lnTo>
                    <a:pt x="7018" y="1073"/>
                  </a:lnTo>
                  <a:lnTo>
                    <a:pt x="7290" y="1073"/>
                  </a:lnTo>
                  <a:lnTo>
                    <a:pt x="7297" y="1121"/>
                  </a:lnTo>
                  <a:lnTo>
                    <a:pt x="7305" y="1167"/>
                  </a:lnTo>
                  <a:lnTo>
                    <a:pt x="7317" y="1212"/>
                  </a:lnTo>
                  <a:lnTo>
                    <a:pt x="7329" y="1256"/>
                  </a:lnTo>
                  <a:lnTo>
                    <a:pt x="7343" y="1298"/>
                  </a:lnTo>
                  <a:lnTo>
                    <a:pt x="7360" y="1339"/>
                  </a:lnTo>
                  <a:lnTo>
                    <a:pt x="7378" y="1377"/>
                  </a:lnTo>
                  <a:lnTo>
                    <a:pt x="7397" y="1415"/>
                  </a:lnTo>
                  <a:lnTo>
                    <a:pt x="7419" y="1452"/>
                  </a:lnTo>
                  <a:lnTo>
                    <a:pt x="7442" y="1488"/>
                  </a:lnTo>
                  <a:lnTo>
                    <a:pt x="7467" y="1520"/>
                  </a:lnTo>
                  <a:lnTo>
                    <a:pt x="7493" y="1553"/>
                  </a:lnTo>
                  <a:lnTo>
                    <a:pt x="7520" y="1584"/>
                  </a:lnTo>
                  <a:lnTo>
                    <a:pt x="7550" y="1613"/>
                  </a:lnTo>
                  <a:lnTo>
                    <a:pt x="7580" y="1641"/>
                  </a:lnTo>
                  <a:lnTo>
                    <a:pt x="7612" y="1667"/>
                  </a:lnTo>
                  <a:lnTo>
                    <a:pt x="7645" y="1692"/>
                  </a:lnTo>
                  <a:lnTo>
                    <a:pt x="7679" y="1715"/>
                  </a:lnTo>
                  <a:lnTo>
                    <a:pt x="7714" y="1737"/>
                  </a:lnTo>
                  <a:lnTo>
                    <a:pt x="7751" y="1757"/>
                  </a:lnTo>
                  <a:lnTo>
                    <a:pt x="7789" y="1776"/>
                  </a:lnTo>
                  <a:lnTo>
                    <a:pt x="7828" y="1793"/>
                  </a:lnTo>
                  <a:lnTo>
                    <a:pt x="7867" y="1808"/>
                  </a:lnTo>
                  <a:lnTo>
                    <a:pt x="7908" y="1823"/>
                  </a:lnTo>
                  <a:lnTo>
                    <a:pt x="7950" y="1835"/>
                  </a:lnTo>
                  <a:lnTo>
                    <a:pt x="7991" y="1845"/>
                  </a:lnTo>
                  <a:lnTo>
                    <a:pt x="8034" y="1854"/>
                  </a:lnTo>
                  <a:lnTo>
                    <a:pt x="8078" y="1861"/>
                  </a:lnTo>
                  <a:lnTo>
                    <a:pt x="8123" y="1868"/>
                  </a:lnTo>
                  <a:lnTo>
                    <a:pt x="8168" y="1872"/>
                  </a:lnTo>
                  <a:lnTo>
                    <a:pt x="8214" y="1875"/>
                  </a:lnTo>
                  <a:lnTo>
                    <a:pt x="8261" y="1876"/>
                  </a:lnTo>
                  <a:lnTo>
                    <a:pt x="8311" y="1875"/>
                  </a:lnTo>
                  <a:lnTo>
                    <a:pt x="8362" y="1872"/>
                  </a:lnTo>
                  <a:lnTo>
                    <a:pt x="8410" y="1867"/>
                  </a:lnTo>
                  <a:lnTo>
                    <a:pt x="8459" y="1859"/>
                  </a:lnTo>
                  <a:lnTo>
                    <a:pt x="8506" y="1850"/>
                  </a:lnTo>
                  <a:lnTo>
                    <a:pt x="8552" y="1840"/>
                  </a:lnTo>
                  <a:lnTo>
                    <a:pt x="8598" y="1828"/>
                  </a:lnTo>
                  <a:lnTo>
                    <a:pt x="8642" y="1812"/>
                  </a:lnTo>
                  <a:lnTo>
                    <a:pt x="8686" y="1796"/>
                  </a:lnTo>
                  <a:lnTo>
                    <a:pt x="8728" y="1779"/>
                  </a:lnTo>
                  <a:lnTo>
                    <a:pt x="8769" y="1758"/>
                  </a:lnTo>
                  <a:lnTo>
                    <a:pt x="8808" y="1736"/>
                  </a:lnTo>
                  <a:lnTo>
                    <a:pt x="8846" y="1712"/>
                  </a:lnTo>
                  <a:lnTo>
                    <a:pt x="8883" y="1687"/>
                  </a:lnTo>
                  <a:lnTo>
                    <a:pt x="8919" y="1660"/>
                  </a:lnTo>
                  <a:lnTo>
                    <a:pt x="8953" y="1631"/>
                  </a:lnTo>
                  <a:lnTo>
                    <a:pt x="8985" y="1600"/>
                  </a:lnTo>
                  <a:lnTo>
                    <a:pt x="9016" y="1567"/>
                  </a:lnTo>
                  <a:lnTo>
                    <a:pt x="9045" y="1533"/>
                  </a:lnTo>
                  <a:lnTo>
                    <a:pt x="9072" y="1497"/>
                  </a:lnTo>
                  <a:lnTo>
                    <a:pt x="9098" y="1459"/>
                  </a:lnTo>
                  <a:lnTo>
                    <a:pt x="9121" y="1420"/>
                  </a:lnTo>
                  <a:lnTo>
                    <a:pt x="9143" y="1380"/>
                  </a:lnTo>
                  <a:lnTo>
                    <a:pt x="9162" y="1337"/>
                  </a:lnTo>
                  <a:lnTo>
                    <a:pt x="9180" y="1293"/>
                  </a:lnTo>
                  <a:lnTo>
                    <a:pt x="9195" y="1247"/>
                  </a:lnTo>
                  <a:lnTo>
                    <a:pt x="9208" y="1199"/>
                  </a:lnTo>
                  <a:lnTo>
                    <a:pt x="9218" y="1150"/>
                  </a:lnTo>
                  <a:lnTo>
                    <a:pt x="9228" y="1099"/>
                  </a:lnTo>
                  <a:lnTo>
                    <a:pt x="9234" y="1047"/>
                  </a:lnTo>
                  <a:lnTo>
                    <a:pt x="9238" y="993"/>
                  </a:lnTo>
                  <a:lnTo>
                    <a:pt x="9239" y="937"/>
                  </a:lnTo>
                  <a:lnTo>
                    <a:pt x="9238" y="882"/>
                  </a:lnTo>
                  <a:lnTo>
                    <a:pt x="9234" y="828"/>
                  </a:lnTo>
                  <a:lnTo>
                    <a:pt x="9228" y="776"/>
                  </a:lnTo>
                  <a:lnTo>
                    <a:pt x="9218" y="726"/>
                  </a:lnTo>
                  <a:lnTo>
                    <a:pt x="9208" y="677"/>
                  </a:lnTo>
                  <a:lnTo>
                    <a:pt x="9195" y="629"/>
                  </a:lnTo>
                  <a:lnTo>
                    <a:pt x="9180" y="583"/>
                  </a:lnTo>
                  <a:lnTo>
                    <a:pt x="9162" y="539"/>
                  </a:lnTo>
                  <a:lnTo>
                    <a:pt x="9143" y="496"/>
                  </a:lnTo>
                  <a:lnTo>
                    <a:pt x="9121" y="456"/>
                  </a:lnTo>
                  <a:lnTo>
                    <a:pt x="9098" y="416"/>
                  </a:lnTo>
                  <a:lnTo>
                    <a:pt x="9072" y="378"/>
                  </a:lnTo>
                  <a:lnTo>
                    <a:pt x="9045" y="342"/>
                  </a:lnTo>
                  <a:lnTo>
                    <a:pt x="9016" y="309"/>
                  </a:lnTo>
                  <a:lnTo>
                    <a:pt x="8985" y="276"/>
                  </a:lnTo>
                  <a:lnTo>
                    <a:pt x="8953" y="245"/>
                  </a:lnTo>
                  <a:lnTo>
                    <a:pt x="8919" y="216"/>
                  </a:lnTo>
                  <a:lnTo>
                    <a:pt x="8883" y="188"/>
                  </a:lnTo>
                  <a:lnTo>
                    <a:pt x="8846" y="163"/>
                  </a:lnTo>
                  <a:lnTo>
                    <a:pt x="8808" y="139"/>
                  </a:lnTo>
                  <a:lnTo>
                    <a:pt x="8769" y="118"/>
                  </a:lnTo>
                  <a:lnTo>
                    <a:pt x="8728" y="97"/>
                  </a:lnTo>
                  <a:lnTo>
                    <a:pt x="8686" y="79"/>
                  </a:lnTo>
                  <a:lnTo>
                    <a:pt x="8642" y="62"/>
                  </a:lnTo>
                  <a:lnTo>
                    <a:pt x="8598" y="48"/>
                  </a:lnTo>
                  <a:lnTo>
                    <a:pt x="8552" y="36"/>
                  </a:lnTo>
                  <a:lnTo>
                    <a:pt x="8506" y="25"/>
                  </a:lnTo>
                  <a:lnTo>
                    <a:pt x="8459" y="17"/>
                  </a:lnTo>
                  <a:lnTo>
                    <a:pt x="8410" y="9"/>
                  </a:lnTo>
                  <a:lnTo>
                    <a:pt x="8362" y="4"/>
                  </a:lnTo>
                  <a:lnTo>
                    <a:pt x="8311" y="1"/>
                  </a:lnTo>
                  <a:lnTo>
                    <a:pt x="8261" y="0"/>
                  </a:lnTo>
                  <a:lnTo>
                    <a:pt x="8217" y="1"/>
                  </a:lnTo>
                  <a:lnTo>
                    <a:pt x="8174" y="3"/>
                  </a:lnTo>
                  <a:lnTo>
                    <a:pt x="8132" y="7"/>
                  </a:lnTo>
                  <a:lnTo>
                    <a:pt x="8090" y="12"/>
                  </a:lnTo>
                  <a:lnTo>
                    <a:pt x="8048" y="19"/>
                  </a:lnTo>
                  <a:lnTo>
                    <a:pt x="8007" y="27"/>
                  </a:lnTo>
                  <a:lnTo>
                    <a:pt x="7967" y="36"/>
                  </a:lnTo>
                  <a:lnTo>
                    <a:pt x="7927" y="47"/>
                  </a:lnTo>
                  <a:lnTo>
                    <a:pt x="7888" y="59"/>
                  </a:lnTo>
                  <a:lnTo>
                    <a:pt x="7850" y="74"/>
                  </a:lnTo>
                  <a:lnTo>
                    <a:pt x="7814" y="89"/>
                  </a:lnTo>
                  <a:lnTo>
                    <a:pt x="7778" y="105"/>
                  </a:lnTo>
                  <a:lnTo>
                    <a:pt x="7742" y="123"/>
                  </a:lnTo>
                  <a:lnTo>
                    <a:pt x="7708" y="142"/>
                  </a:lnTo>
                  <a:lnTo>
                    <a:pt x="7675" y="163"/>
                  </a:lnTo>
                  <a:lnTo>
                    <a:pt x="7643" y="185"/>
                  </a:lnTo>
                  <a:lnTo>
                    <a:pt x="7612" y="208"/>
                  </a:lnTo>
                  <a:lnTo>
                    <a:pt x="7582" y="233"/>
                  </a:lnTo>
                  <a:lnTo>
                    <a:pt x="7553" y="258"/>
                  </a:lnTo>
                  <a:lnTo>
                    <a:pt x="7526" y="286"/>
                  </a:lnTo>
                  <a:lnTo>
                    <a:pt x="7500" y="315"/>
                  </a:lnTo>
                  <a:lnTo>
                    <a:pt x="7475" y="344"/>
                  </a:lnTo>
                  <a:lnTo>
                    <a:pt x="7452" y="376"/>
                  </a:lnTo>
                  <a:lnTo>
                    <a:pt x="7429" y="408"/>
                  </a:lnTo>
                  <a:lnTo>
                    <a:pt x="7409" y="441"/>
                  </a:lnTo>
                  <a:lnTo>
                    <a:pt x="7389" y="477"/>
                  </a:lnTo>
                  <a:lnTo>
                    <a:pt x="7371" y="513"/>
                  </a:lnTo>
                  <a:lnTo>
                    <a:pt x="7354" y="550"/>
                  </a:lnTo>
                  <a:lnTo>
                    <a:pt x="7340" y="588"/>
                  </a:lnTo>
                  <a:lnTo>
                    <a:pt x="7327" y="628"/>
                  </a:lnTo>
                  <a:lnTo>
                    <a:pt x="7316" y="669"/>
                  </a:lnTo>
                  <a:lnTo>
                    <a:pt x="7306" y="712"/>
                  </a:lnTo>
                  <a:lnTo>
                    <a:pt x="7018" y="712"/>
                  </a:lnTo>
                  <a:lnTo>
                    <a:pt x="7018" y="42"/>
                  </a:lnTo>
                  <a:lnTo>
                    <a:pt x="6620" y="42"/>
                  </a:lnTo>
                  <a:close/>
                  <a:moveTo>
                    <a:pt x="7685" y="937"/>
                  </a:moveTo>
                  <a:lnTo>
                    <a:pt x="7686" y="904"/>
                  </a:lnTo>
                  <a:lnTo>
                    <a:pt x="7687" y="870"/>
                  </a:lnTo>
                  <a:lnTo>
                    <a:pt x="7690" y="838"/>
                  </a:lnTo>
                  <a:lnTo>
                    <a:pt x="7694" y="807"/>
                  </a:lnTo>
                  <a:lnTo>
                    <a:pt x="7699" y="776"/>
                  </a:lnTo>
                  <a:lnTo>
                    <a:pt x="7705" y="747"/>
                  </a:lnTo>
                  <a:lnTo>
                    <a:pt x="7713" y="718"/>
                  </a:lnTo>
                  <a:lnTo>
                    <a:pt x="7722" y="689"/>
                  </a:lnTo>
                  <a:lnTo>
                    <a:pt x="7732" y="663"/>
                  </a:lnTo>
                  <a:lnTo>
                    <a:pt x="7742" y="637"/>
                  </a:lnTo>
                  <a:lnTo>
                    <a:pt x="7754" y="613"/>
                  </a:lnTo>
                  <a:lnTo>
                    <a:pt x="7768" y="588"/>
                  </a:lnTo>
                  <a:lnTo>
                    <a:pt x="7782" y="566"/>
                  </a:lnTo>
                  <a:lnTo>
                    <a:pt x="7797" y="544"/>
                  </a:lnTo>
                  <a:lnTo>
                    <a:pt x="7814" y="523"/>
                  </a:lnTo>
                  <a:lnTo>
                    <a:pt x="7831" y="504"/>
                  </a:lnTo>
                  <a:lnTo>
                    <a:pt x="7849" y="485"/>
                  </a:lnTo>
                  <a:lnTo>
                    <a:pt x="7870" y="468"/>
                  </a:lnTo>
                  <a:lnTo>
                    <a:pt x="7890" y="451"/>
                  </a:lnTo>
                  <a:lnTo>
                    <a:pt x="7913" y="436"/>
                  </a:lnTo>
                  <a:lnTo>
                    <a:pt x="7935" y="422"/>
                  </a:lnTo>
                  <a:lnTo>
                    <a:pt x="7960" y="410"/>
                  </a:lnTo>
                  <a:lnTo>
                    <a:pt x="7985" y="397"/>
                  </a:lnTo>
                  <a:lnTo>
                    <a:pt x="8011" y="387"/>
                  </a:lnTo>
                  <a:lnTo>
                    <a:pt x="8038" y="377"/>
                  </a:lnTo>
                  <a:lnTo>
                    <a:pt x="8067" y="369"/>
                  </a:lnTo>
                  <a:lnTo>
                    <a:pt x="8097" y="363"/>
                  </a:lnTo>
                  <a:lnTo>
                    <a:pt x="8127" y="356"/>
                  </a:lnTo>
                  <a:lnTo>
                    <a:pt x="8159" y="352"/>
                  </a:lnTo>
                  <a:lnTo>
                    <a:pt x="8192" y="348"/>
                  </a:lnTo>
                  <a:lnTo>
                    <a:pt x="8227" y="346"/>
                  </a:lnTo>
                  <a:lnTo>
                    <a:pt x="8261" y="346"/>
                  </a:lnTo>
                  <a:lnTo>
                    <a:pt x="8296" y="346"/>
                  </a:lnTo>
                  <a:lnTo>
                    <a:pt x="8330" y="348"/>
                  </a:lnTo>
                  <a:lnTo>
                    <a:pt x="8363" y="352"/>
                  </a:lnTo>
                  <a:lnTo>
                    <a:pt x="8394" y="356"/>
                  </a:lnTo>
                  <a:lnTo>
                    <a:pt x="8425" y="363"/>
                  </a:lnTo>
                  <a:lnTo>
                    <a:pt x="8455" y="369"/>
                  </a:lnTo>
                  <a:lnTo>
                    <a:pt x="8483" y="377"/>
                  </a:lnTo>
                  <a:lnTo>
                    <a:pt x="8511" y="387"/>
                  </a:lnTo>
                  <a:lnTo>
                    <a:pt x="8537" y="397"/>
                  </a:lnTo>
                  <a:lnTo>
                    <a:pt x="8563" y="410"/>
                  </a:lnTo>
                  <a:lnTo>
                    <a:pt x="8587" y="422"/>
                  </a:lnTo>
                  <a:lnTo>
                    <a:pt x="8610" y="436"/>
                  </a:lnTo>
                  <a:lnTo>
                    <a:pt x="8632" y="451"/>
                  </a:lnTo>
                  <a:lnTo>
                    <a:pt x="8653" y="468"/>
                  </a:lnTo>
                  <a:lnTo>
                    <a:pt x="8672" y="485"/>
                  </a:lnTo>
                  <a:lnTo>
                    <a:pt x="8691" y="504"/>
                  </a:lnTo>
                  <a:lnTo>
                    <a:pt x="8709" y="523"/>
                  </a:lnTo>
                  <a:lnTo>
                    <a:pt x="8726" y="544"/>
                  </a:lnTo>
                  <a:lnTo>
                    <a:pt x="8741" y="566"/>
                  </a:lnTo>
                  <a:lnTo>
                    <a:pt x="8755" y="588"/>
                  </a:lnTo>
                  <a:lnTo>
                    <a:pt x="8767" y="613"/>
                  </a:lnTo>
                  <a:lnTo>
                    <a:pt x="8780" y="637"/>
                  </a:lnTo>
                  <a:lnTo>
                    <a:pt x="8791" y="663"/>
                  </a:lnTo>
                  <a:lnTo>
                    <a:pt x="8800" y="689"/>
                  </a:lnTo>
                  <a:lnTo>
                    <a:pt x="8809" y="718"/>
                  </a:lnTo>
                  <a:lnTo>
                    <a:pt x="8817" y="747"/>
                  </a:lnTo>
                  <a:lnTo>
                    <a:pt x="8823" y="776"/>
                  </a:lnTo>
                  <a:lnTo>
                    <a:pt x="8828" y="807"/>
                  </a:lnTo>
                  <a:lnTo>
                    <a:pt x="8832" y="838"/>
                  </a:lnTo>
                  <a:lnTo>
                    <a:pt x="8835" y="870"/>
                  </a:lnTo>
                  <a:lnTo>
                    <a:pt x="8837" y="904"/>
                  </a:lnTo>
                  <a:lnTo>
                    <a:pt x="8837" y="937"/>
                  </a:lnTo>
                  <a:lnTo>
                    <a:pt x="8837" y="972"/>
                  </a:lnTo>
                  <a:lnTo>
                    <a:pt x="8835" y="1005"/>
                  </a:lnTo>
                  <a:lnTo>
                    <a:pt x="8832" y="1037"/>
                  </a:lnTo>
                  <a:lnTo>
                    <a:pt x="8828" y="1069"/>
                  </a:lnTo>
                  <a:lnTo>
                    <a:pt x="8823" y="1100"/>
                  </a:lnTo>
                  <a:lnTo>
                    <a:pt x="8817" y="1129"/>
                  </a:lnTo>
                  <a:lnTo>
                    <a:pt x="8809" y="1158"/>
                  </a:lnTo>
                  <a:lnTo>
                    <a:pt x="8800" y="1186"/>
                  </a:lnTo>
                  <a:lnTo>
                    <a:pt x="8791" y="1212"/>
                  </a:lnTo>
                  <a:lnTo>
                    <a:pt x="8780" y="1239"/>
                  </a:lnTo>
                  <a:lnTo>
                    <a:pt x="8767" y="1263"/>
                  </a:lnTo>
                  <a:lnTo>
                    <a:pt x="8755" y="1287"/>
                  </a:lnTo>
                  <a:lnTo>
                    <a:pt x="8741" y="1310"/>
                  </a:lnTo>
                  <a:lnTo>
                    <a:pt x="8726" y="1332"/>
                  </a:lnTo>
                  <a:lnTo>
                    <a:pt x="8709" y="1352"/>
                  </a:lnTo>
                  <a:lnTo>
                    <a:pt x="8691" y="1371"/>
                  </a:lnTo>
                  <a:lnTo>
                    <a:pt x="8672" y="1391"/>
                  </a:lnTo>
                  <a:lnTo>
                    <a:pt x="8653" y="1408"/>
                  </a:lnTo>
                  <a:lnTo>
                    <a:pt x="8632" y="1424"/>
                  </a:lnTo>
                  <a:lnTo>
                    <a:pt x="8610" y="1440"/>
                  </a:lnTo>
                  <a:lnTo>
                    <a:pt x="8587" y="1453"/>
                  </a:lnTo>
                  <a:lnTo>
                    <a:pt x="8563" y="1466"/>
                  </a:lnTo>
                  <a:lnTo>
                    <a:pt x="8537" y="1479"/>
                  </a:lnTo>
                  <a:lnTo>
                    <a:pt x="8511" y="1489"/>
                  </a:lnTo>
                  <a:lnTo>
                    <a:pt x="8483" y="1498"/>
                  </a:lnTo>
                  <a:lnTo>
                    <a:pt x="8455" y="1506"/>
                  </a:lnTo>
                  <a:lnTo>
                    <a:pt x="8425" y="1513"/>
                  </a:lnTo>
                  <a:lnTo>
                    <a:pt x="8394" y="1519"/>
                  </a:lnTo>
                  <a:lnTo>
                    <a:pt x="8363" y="1523"/>
                  </a:lnTo>
                  <a:lnTo>
                    <a:pt x="8330" y="1527"/>
                  </a:lnTo>
                  <a:lnTo>
                    <a:pt x="8296" y="1529"/>
                  </a:lnTo>
                  <a:lnTo>
                    <a:pt x="8261" y="1530"/>
                  </a:lnTo>
                  <a:lnTo>
                    <a:pt x="8227" y="1529"/>
                  </a:lnTo>
                  <a:lnTo>
                    <a:pt x="8192" y="1527"/>
                  </a:lnTo>
                  <a:lnTo>
                    <a:pt x="8159" y="1523"/>
                  </a:lnTo>
                  <a:lnTo>
                    <a:pt x="8127" y="1519"/>
                  </a:lnTo>
                  <a:lnTo>
                    <a:pt x="8097" y="1513"/>
                  </a:lnTo>
                  <a:lnTo>
                    <a:pt x="8067" y="1506"/>
                  </a:lnTo>
                  <a:lnTo>
                    <a:pt x="8038" y="1498"/>
                  </a:lnTo>
                  <a:lnTo>
                    <a:pt x="8011" y="1489"/>
                  </a:lnTo>
                  <a:lnTo>
                    <a:pt x="7985" y="1479"/>
                  </a:lnTo>
                  <a:lnTo>
                    <a:pt x="7960" y="1466"/>
                  </a:lnTo>
                  <a:lnTo>
                    <a:pt x="7935" y="1453"/>
                  </a:lnTo>
                  <a:lnTo>
                    <a:pt x="7913" y="1440"/>
                  </a:lnTo>
                  <a:lnTo>
                    <a:pt x="7890" y="1424"/>
                  </a:lnTo>
                  <a:lnTo>
                    <a:pt x="7870" y="1408"/>
                  </a:lnTo>
                  <a:lnTo>
                    <a:pt x="7849" y="1391"/>
                  </a:lnTo>
                  <a:lnTo>
                    <a:pt x="7831" y="1371"/>
                  </a:lnTo>
                  <a:lnTo>
                    <a:pt x="7814" y="1352"/>
                  </a:lnTo>
                  <a:lnTo>
                    <a:pt x="7797" y="1332"/>
                  </a:lnTo>
                  <a:lnTo>
                    <a:pt x="7782" y="1310"/>
                  </a:lnTo>
                  <a:lnTo>
                    <a:pt x="7768" y="1287"/>
                  </a:lnTo>
                  <a:lnTo>
                    <a:pt x="7754" y="1263"/>
                  </a:lnTo>
                  <a:lnTo>
                    <a:pt x="7742" y="1239"/>
                  </a:lnTo>
                  <a:lnTo>
                    <a:pt x="7732" y="1212"/>
                  </a:lnTo>
                  <a:lnTo>
                    <a:pt x="7722" y="1186"/>
                  </a:lnTo>
                  <a:lnTo>
                    <a:pt x="7713" y="1158"/>
                  </a:lnTo>
                  <a:lnTo>
                    <a:pt x="7705" y="1129"/>
                  </a:lnTo>
                  <a:lnTo>
                    <a:pt x="7699" y="1100"/>
                  </a:lnTo>
                  <a:lnTo>
                    <a:pt x="7694" y="1069"/>
                  </a:lnTo>
                  <a:lnTo>
                    <a:pt x="7690" y="1037"/>
                  </a:lnTo>
                  <a:lnTo>
                    <a:pt x="7687" y="1005"/>
                  </a:lnTo>
                  <a:lnTo>
                    <a:pt x="7686" y="972"/>
                  </a:lnTo>
                  <a:lnTo>
                    <a:pt x="7685" y="937"/>
                  </a:lnTo>
                  <a:close/>
                  <a:moveTo>
                    <a:pt x="11388" y="479"/>
                  </a:moveTo>
                  <a:lnTo>
                    <a:pt x="11371" y="449"/>
                  </a:lnTo>
                  <a:lnTo>
                    <a:pt x="11352" y="422"/>
                  </a:lnTo>
                  <a:lnTo>
                    <a:pt x="11333" y="394"/>
                  </a:lnTo>
                  <a:lnTo>
                    <a:pt x="11313" y="368"/>
                  </a:lnTo>
                  <a:lnTo>
                    <a:pt x="11293" y="342"/>
                  </a:lnTo>
                  <a:lnTo>
                    <a:pt x="11271" y="318"/>
                  </a:lnTo>
                  <a:lnTo>
                    <a:pt x="11250" y="294"/>
                  </a:lnTo>
                  <a:lnTo>
                    <a:pt x="11227" y="272"/>
                  </a:lnTo>
                  <a:lnTo>
                    <a:pt x="11204" y="249"/>
                  </a:lnTo>
                  <a:lnTo>
                    <a:pt x="11180" y="229"/>
                  </a:lnTo>
                  <a:lnTo>
                    <a:pt x="11156" y="208"/>
                  </a:lnTo>
                  <a:lnTo>
                    <a:pt x="11130" y="189"/>
                  </a:lnTo>
                  <a:lnTo>
                    <a:pt x="11105" y="172"/>
                  </a:lnTo>
                  <a:lnTo>
                    <a:pt x="11077" y="154"/>
                  </a:lnTo>
                  <a:lnTo>
                    <a:pt x="11051" y="137"/>
                  </a:lnTo>
                  <a:lnTo>
                    <a:pt x="11022" y="122"/>
                  </a:lnTo>
                  <a:lnTo>
                    <a:pt x="10993" y="107"/>
                  </a:lnTo>
                  <a:lnTo>
                    <a:pt x="10964" y="93"/>
                  </a:lnTo>
                  <a:lnTo>
                    <a:pt x="10934" y="81"/>
                  </a:lnTo>
                  <a:lnTo>
                    <a:pt x="10903" y="69"/>
                  </a:lnTo>
                  <a:lnTo>
                    <a:pt x="10872" y="58"/>
                  </a:lnTo>
                  <a:lnTo>
                    <a:pt x="10840" y="48"/>
                  </a:lnTo>
                  <a:lnTo>
                    <a:pt x="10807" y="39"/>
                  </a:lnTo>
                  <a:lnTo>
                    <a:pt x="10774" y="31"/>
                  </a:lnTo>
                  <a:lnTo>
                    <a:pt x="10740" y="24"/>
                  </a:lnTo>
                  <a:lnTo>
                    <a:pt x="10705" y="18"/>
                  </a:lnTo>
                  <a:lnTo>
                    <a:pt x="10669" y="12"/>
                  </a:lnTo>
                  <a:lnTo>
                    <a:pt x="10633" y="8"/>
                  </a:lnTo>
                  <a:lnTo>
                    <a:pt x="10597" y="4"/>
                  </a:lnTo>
                  <a:lnTo>
                    <a:pt x="10559" y="2"/>
                  </a:lnTo>
                  <a:lnTo>
                    <a:pt x="10521" y="1"/>
                  </a:lnTo>
                  <a:lnTo>
                    <a:pt x="10482" y="0"/>
                  </a:lnTo>
                  <a:lnTo>
                    <a:pt x="10429" y="1"/>
                  </a:lnTo>
                  <a:lnTo>
                    <a:pt x="10378" y="4"/>
                  </a:lnTo>
                  <a:lnTo>
                    <a:pt x="10327" y="9"/>
                  </a:lnTo>
                  <a:lnTo>
                    <a:pt x="10277" y="17"/>
                  </a:lnTo>
                  <a:lnTo>
                    <a:pt x="10229" y="26"/>
                  </a:lnTo>
                  <a:lnTo>
                    <a:pt x="10181" y="37"/>
                  </a:lnTo>
                  <a:lnTo>
                    <a:pt x="10133" y="50"/>
                  </a:lnTo>
                  <a:lnTo>
                    <a:pt x="10087" y="66"/>
                  </a:lnTo>
                  <a:lnTo>
                    <a:pt x="10043" y="82"/>
                  </a:lnTo>
                  <a:lnTo>
                    <a:pt x="10001" y="101"/>
                  </a:lnTo>
                  <a:lnTo>
                    <a:pt x="9959" y="122"/>
                  </a:lnTo>
                  <a:lnTo>
                    <a:pt x="9918" y="144"/>
                  </a:lnTo>
                  <a:lnTo>
                    <a:pt x="9879" y="169"/>
                  </a:lnTo>
                  <a:lnTo>
                    <a:pt x="9841" y="195"/>
                  </a:lnTo>
                  <a:lnTo>
                    <a:pt x="9805" y="223"/>
                  </a:lnTo>
                  <a:lnTo>
                    <a:pt x="9771" y="252"/>
                  </a:lnTo>
                  <a:lnTo>
                    <a:pt x="9738" y="283"/>
                  </a:lnTo>
                  <a:lnTo>
                    <a:pt x="9706" y="316"/>
                  </a:lnTo>
                  <a:lnTo>
                    <a:pt x="9677" y="350"/>
                  </a:lnTo>
                  <a:lnTo>
                    <a:pt x="9650" y="387"/>
                  </a:lnTo>
                  <a:lnTo>
                    <a:pt x="9623" y="425"/>
                  </a:lnTo>
                  <a:lnTo>
                    <a:pt x="9600" y="464"/>
                  </a:lnTo>
                  <a:lnTo>
                    <a:pt x="9578" y="505"/>
                  </a:lnTo>
                  <a:lnTo>
                    <a:pt x="9559" y="547"/>
                  </a:lnTo>
                  <a:lnTo>
                    <a:pt x="9540" y="591"/>
                  </a:lnTo>
                  <a:lnTo>
                    <a:pt x="9525" y="636"/>
                  </a:lnTo>
                  <a:lnTo>
                    <a:pt x="9512" y="683"/>
                  </a:lnTo>
                  <a:lnTo>
                    <a:pt x="9502" y="731"/>
                  </a:lnTo>
                  <a:lnTo>
                    <a:pt x="9492" y="781"/>
                  </a:lnTo>
                  <a:lnTo>
                    <a:pt x="9486" y="832"/>
                  </a:lnTo>
                  <a:lnTo>
                    <a:pt x="9483" y="884"/>
                  </a:lnTo>
                  <a:lnTo>
                    <a:pt x="9481" y="937"/>
                  </a:lnTo>
                  <a:lnTo>
                    <a:pt x="9482" y="992"/>
                  </a:lnTo>
                  <a:lnTo>
                    <a:pt x="9486" y="1044"/>
                  </a:lnTo>
                  <a:lnTo>
                    <a:pt x="9492" y="1095"/>
                  </a:lnTo>
                  <a:lnTo>
                    <a:pt x="9501" y="1144"/>
                  </a:lnTo>
                  <a:lnTo>
                    <a:pt x="9512" y="1193"/>
                  </a:lnTo>
                  <a:lnTo>
                    <a:pt x="9525" y="1240"/>
                  </a:lnTo>
                  <a:lnTo>
                    <a:pt x="9539" y="1285"/>
                  </a:lnTo>
                  <a:lnTo>
                    <a:pt x="9557" y="1328"/>
                  </a:lnTo>
                  <a:lnTo>
                    <a:pt x="9576" y="1370"/>
                  </a:lnTo>
                  <a:lnTo>
                    <a:pt x="9598" y="1411"/>
                  </a:lnTo>
                  <a:lnTo>
                    <a:pt x="9621" y="1451"/>
                  </a:lnTo>
                  <a:lnTo>
                    <a:pt x="9647" y="1489"/>
                  </a:lnTo>
                  <a:lnTo>
                    <a:pt x="9674" y="1524"/>
                  </a:lnTo>
                  <a:lnTo>
                    <a:pt x="9703" y="1559"/>
                  </a:lnTo>
                  <a:lnTo>
                    <a:pt x="9734" y="1592"/>
                  </a:lnTo>
                  <a:lnTo>
                    <a:pt x="9766" y="1624"/>
                  </a:lnTo>
                  <a:lnTo>
                    <a:pt x="9801" y="1653"/>
                  </a:lnTo>
                  <a:lnTo>
                    <a:pt x="9837" y="1681"/>
                  </a:lnTo>
                  <a:lnTo>
                    <a:pt x="9875" y="1707"/>
                  </a:lnTo>
                  <a:lnTo>
                    <a:pt x="9914" y="1731"/>
                  </a:lnTo>
                  <a:lnTo>
                    <a:pt x="9954" y="1753"/>
                  </a:lnTo>
                  <a:lnTo>
                    <a:pt x="9995" y="1775"/>
                  </a:lnTo>
                  <a:lnTo>
                    <a:pt x="10039" y="1793"/>
                  </a:lnTo>
                  <a:lnTo>
                    <a:pt x="10083" y="1810"/>
                  </a:lnTo>
                  <a:lnTo>
                    <a:pt x="10129" y="1826"/>
                  </a:lnTo>
                  <a:lnTo>
                    <a:pt x="10176" y="1838"/>
                  </a:lnTo>
                  <a:lnTo>
                    <a:pt x="10224" y="1849"/>
                  </a:lnTo>
                  <a:lnTo>
                    <a:pt x="10275" y="1858"/>
                  </a:lnTo>
                  <a:lnTo>
                    <a:pt x="10325" y="1865"/>
                  </a:lnTo>
                  <a:lnTo>
                    <a:pt x="10376" y="1871"/>
                  </a:lnTo>
                  <a:lnTo>
                    <a:pt x="10428" y="1875"/>
                  </a:lnTo>
                  <a:lnTo>
                    <a:pt x="10482" y="1876"/>
                  </a:lnTo>
                  <a:lnTo>
                    <a:pt x="10521" y="1875"/>
                  </a:lnTo>
                  <a:lnTo>
                    <a:pt x="10559" y="1874"/>
                  </a:lnTo>
                  <a:lnTo>
                    <a:pt x="10597" y="1871"/>
                  </a:lnTo>
                  <a:lnTo>
                    <a:pt x="10633" y="1868"/>
                  </a:lnTo>
                  <a:lnTo>
                    <a:pt x="10669" y="1863"/>
                  </a:lnTo>
                  <a:lnTo>
                    <a:pt x="10705" y="1858"/>
                  </a:lnTo>
                  <a:lnTo>
                    <a:pt x="10740" y="1852"/>
                  </a:lnTo>
                  <a:lnTo>
                    <a:pt x="10774" y="1845"/>
                  </a:lnTo>
                  <a:lnTo>
                    <a:pt x="10807" y="1837"/>
                  </a:lnTo>
                  <a:lnTo>
                    <a:pt x="10840" y="1828"/>
                  </a:lnTo>
                  <a:lnTo>
                    <a:pt x="10872" y="1817"/>
                  </a:lnTo>
                  <a:lnTo>
                    <a:pt x="10903" y="1806"/>
                  </a:lnTo>
                  <a:lnTo>
                    <a:pt x="10934" y="1795"/>
                  </a:lnTo>
                  <a:lnTo>
                    <a:pt x="10964" y="1782"/>
                  </a:lnTo>
                  <a:lnTo>
                    <a:pt x="10993" y="1768"/>
                  </a:lnTo>
                  <a:lnTo>
                    <a:pt x="11022" y="1753"/>
                  </a:lnTo>
                  <a:lnTo>
                    <a:pt x="11051" y="1738"/>
                  </a:lnTo>
                  <a:lnTo>
                    <a:pt x="11077" y="1722"/>
                  </a:lnTo>
                  <a:lnTo>
                    <a:pt x="11105" y="1704"/>
                  </a:lnTo>
                  <a:lnTo>
                    <a:pt x="11130" y="1686"/>
                  </a:lnTo>
                  <a:lnTo>
                    <a:pt x="11156" y="1666"/>
                  </a:lnTo>
                  <a:lnTo>
                    <a:pt x="11180" y="1647"/>
                  </a:lnTo>
                  <a:lnTo>
                    <a:pt x="11204" y="1626"/>
                  </a:lnTo>
                  <a:lnTo>
                    <a:pt x="11227" y="1604"/>
                  </a:lnTo>
                  <a:lnTo>
                    <a:pt x="11250" y="1581"/>
                  </a:lnTo>
                  <a:lnTo>
                    <a:pt x="11271" y="1557"/>
                  </a:lnTo>
                  <a:lnTo>
                    <a:pt x="11293" y="1533"/>
                  </a:lnTo>
                  <a:lnTo>
                    <a:pt x="11313" y="1507"/>
                  </a:lnTo>
                  <a:lnTo>
                    <a:pt x="11333" y="1481"/>
                  </a:lnTo>
                  <a:lnTo>
                    <a:pt x="11352" y="1454"/>
                  </a:lnTo>
                  <a:lnTo>
                    <a:pt x="11371" y="1425"/>
                  </a:lnTo>
                  <a:lnTo>
                    <a:pt x="11388" y="1397"/>
                  </a:lnTo>
                  <a:lnTo>
                    <a:pt x="11074" y="1216"/>
                  </a:lnTo>
                  <a:lnTo>
                    <a:pt x="11061" y="1234"/>
                  </a:lnTo>
                  <a:lnTo>
                    <a:pt x="11048" y="1251"/>
                  </a:lnTo>
                  <a:lnTo>
                    <a:pt x="11034" y="1268"/>
                  </a:lnTo>
                  <a:lnTo>
                    <a:pt x="11021" y="1285"/>
                  </a:lnTo>
                  <a:lnTo>
                    <a:pt x="11007" y="1300"/>
                  </a:lnTo>
                  <a:lnTo>
                    <a:pt x="10992" y="1315"/>
                  </a:lnTo>
                  <a:lnTo>
                    <a:pt x="10978" y="1330"/>
                  </a:lnTo>
                  <a:lnTo>
                    <a:pt x="10963" y="1345"/>
                  </a:lnTo>
                  <a:lnTo>
                    <a:pt x="10948" y="1358"/>
                  </a:lnTo>
                  <a:lnTo>
                    <a:pt x="10932" y="1371"/>
                  </a:lnTo>
                  <a:lnTo>
                    <a:pt x="10917" y="1384"/>
                  </a:lnTo>
                  <a:lnTo>
                    <a:pt x="10900" y="1396"/>
                  </a:lnTo>
                  <a:lnTo>
                    <a:pt x="10883" y="1408"/>
                  </a:lnTo>
                  <a:lnTo>
                    <a:pt x="10866" y="1418"/>
                  </a:lnTo>
                  <a:lnTo>
                    <a:pt x="10848" y="1429"/>
                  </a:lnTo>
                  <a:lnTo>
                    <a:pt x="10831" y="1439"/>
                  </a:lnTo>
                  <a:lnTo>
                    <a:pt x="10812" y="1448"/>
                  </a:lnTo>
                  <a:lnTo>
                    <a:pt x="10793" y="1457"/>
                  </a:lnTo>
                  <a:lnTo>
                    <a:pt x="10774" y="1465"/>
                  </a:lnTo>
                  <a:lnTo>
                    <a:pt x="10754" y="1472"/>
                  </a:lnTo>
                  <a:lnTo>
                    <a:pt x="10734" y="1480"/>
                  </a:lnTo>
                  <a:lnTo>
                    <a:pt x="10713" y="1486"/>
                  </a:lnTo>
                  <a:lnTo>
                    <a:pt x="10692" y="1492"/>
                  </a:lnTo>
                  <a:lnTo>
                    <a:pt x="10670" y="1497"/>
                  </a:lnTo>
                  <a:lnTo>
                    <a:pt x="10648" y="1501"/>
                  </a:lnTo>
                  <a:lnTo>
                    <a:pt x="10624" y="1505"/>
                  </a:lnTo>
                  <a:lnTo>
                    <a:pt x="10601" y="1508"/>
                  </a:lnTo>
                  <a:lnTo>
                    <a:pt x="10577" y="1511"/>
                  </a:lnTo>
                  <a:lnTo>
                    <a:pt x="10553" y="1513"/>
                  </a:lnTo>
                  <a:lnTo>
                    <a:pt x="10527" y="1515"/>
                  </a:lnTo>
                  <a:lnTo>
                    <a:pt x="10502" y="1516"/>
                  </a:lnTo>
                  <a:lnTo>
                    <a:pt x="10475" y="1516"/>
                  </a:lnTo>
                  <a:lnTo>
                    <a:pt x="10442" y="1515"/>
                  </a:lnTo>
                  <a:lnTo>
                    <a:pt x="10411" y="1513"/>
                  </a:lnTo>
                  <a:lnTo>
                    <a:pt x="10380" y="1510"/>
                  </a:lnTo>
                  <a:lnTo>
                    <a:pt x="10349" y="1506"/>
                  </a:lnTo>
                  <a:lnTo>
                    <a:pt x="10320" y="1500"/>
                  </a:lnTo>
                  <a:lnTo>
                    <a:pt x="10291" y="1493"/>
                  </a:lnTo>
                  <a:lnTo>
                    <a:pt x="10262" y="1485"/>
                  </a:lnTo>
                  <a:lnTo>
                    <a:pt x="10235" y="1474"/>
                  </a:lnTo>
                  <a:lnTo>
                    <a:pt x="10208" y="1464"/>
                  </a:lnTo>
                  <a:lnTo>
                    <a:pt x="10183" y="1452"/>
                  </a:lnTo>
                  <a:lnTo>
                    <a:pt x="10158" y="1439"/>
                  </a:lnTo>
                  <a:lnTo>
                    <a:pt x="10134" y="1424"/>
                  </a:lnTo>
                  <a:lnTo>
                    <a:pt x="10111" y="1409"/>
                  </a:lnTo>
                  <a:lnTo>
                    <a:pt x="10090" y="1393"/>
                  </a:lnTo>
                  <a:lnTo>
                    <a:pt x="10068" y="1375"/>
                  </a:lnTo>
                  <a:lnTo>
                    <a:pt x="10048" y="1357"/>
                  </a:lnTo>
                  <a:lnTo>
                    <a:pt x="10029" y="1338"/>
                  </a:lnTo>
                  <a:lnTo>
                    <a:pt x="10011" y="1317"/>
                  </a:lnTo>
                  <a:lnTo>
                    <a:pt x="9994" y="1295"/>
                  </a:lnTo>
                  <a:lnTo>
                    <a:pt x="9978" y="1273"/>
                  </a:lnTo>
                  <a:lnTo>
                    <a:pt x="9964" y="1250"/>
                  </a:lnTo>
                  <a:lnTo>
                    <a:pt x="9949" y="1225"/>
                  </a:lnTo>
                  <a:lnTo>
                    <a:pt x="9937" y="1200"/>
                  </a:lnTo>
                  <a:lnTo>
                    <a:pt x="9926" y="1174"/>
                  </a:lnTo>
                  <a:lnTo>
                    <a:pt x="9917" y="1148"/>
                  </a:lnTo>
                  <a:lnTo>
                    <a:pt x="9908" y="1119"/>
                  </a:lnTo>
                  <a:lnTo>
                    <a:pt x="9900" y="1092"/>
                  </a:lnTo>
                  <a:lnTo>
                    <a:pt x="9894" y="1062"/>
                  </a:lnTo>
                  <a:lnTo>
                    <a:pt x="9889" y="1032"/>
                  </a:lnTo>
                  <a:lnTo>
                    <a:pt x="9886" y="1002"/>
                  </a:lnTo>
                  <a:lnTo>
                    <a:pt x="9884" y="970"/>
                  </a:lnTo>
                  <a:lnTo>
                    <a:pt x="9883" y="937"/>
                  </a:lnTo>
                  <a:lnTo>
                    <a:pt x="9884" y="905"/>
                  </a:lnTo>
                  <a:lnTo>
                    <a:pt x="9886" y="873"/>
                  </a:lnTo>
                  <a:lnTo>
                    <a:pt x="9889" y="842"/>
                  </a:lnTo>
                  <a:lnTo>
                    <a:pt x="9893" y="812"/>
                  </a:lnTo>
                  <a:lnTo>
                    <a:pt x="9899" y="782"/>
                  </a:lnTo>
                  <a:lnTo>
                    <a:pt x="9906" y="754"/>
                  </a:lnTo>
                  <a:lnTo>
                    <a:pt x="9916" y="726"/>
                  </a:lnTo>
                  <a:lnTo>
                    <a:pt x="9925" y="699"/>
                  </a:lnTo>
                  <a:lnTo>
                    <a:pt x="9936" y="673"/>
                  </a:lnTo>
                  <a:lnTo>
                    <a:pt x="9947" y="647"/>
                  </a:lnTo>
                  <a:lnTo>
                    <a:pt x="9961" y="623"/>
                  </a:lnTo>
                  <a:lnTo>
                    <a:pt x="9976" y="599"/>
                  </a:lnTo>
                  <a:lnTo>
                    <a:pt x="9991" y="577"/>
                  </a:lnTo>
                  <a:lnTo>
                    <a:pt x="10008" y="556"/>
                  </a:lnTo>
                  <a:lnTo>
                    <a:pt x="10025" y="535"/>
                  </a:lnTo>
                  <a:lnTo>
                    <a:pt x="10045" y="516"/>
                  </a:lnTo>
                  <a:lnTo>
                    <a:pt x="10064" y="498"/>
                  </a:lnTo>
                  <a:lnTo>
                    <a:pt x="10085" y="481"/>
                  </a:lnTo>
                  <a:lnTo>
                    <a:pt x="10107" y="465"/>
                  </a:lnTo>
                  <a:lnTo>
                    <a:pt x="10129" y="449"/>
                  </a:lnTo>
                  <a:lnTo>
                    <a:pt x="10154" y="435"/>
                  </a:lnTo>
                  <a:lnTo>
                    <a:pt x="10178" y="422"/>
                  </a:lnTo>
                  <a:lnTo>
                    <a:pt x="10204" y="411"/>
                  </a:lnTo>
                  <a:lnTo>
                    <a:pt x="10231" y="400"/>
                  </a:lnTo>
                  <a:lnTo>
                    <a:pt x="10258" y="390"/>
                  </a:lnTo>
                  <a:lnTo>
                    <a:pt x="10287" y="382"/>
                  </a:lnTo>
                  <a:lnTo>
                    <a:pt x="10316" y="375"/>
                  </a:lnTo>
                  <a:lnTo>
                    <a:pt x="10346" y="370"/>
                  </a:lnTo>
                  <a:lnTo>
                    <a:pt x="10378" y="365"/>
                  </a:lnTo>
                  <a:lnTo>
                    <a:pt x="10410" y="362"/>
                  </a:lnTo>
                  <a:lnTo>
                    <a:pt x="10442" y="360"/>
                  </a:lnTo>
                  <a:lnTo>
                    <a:pt x="10475" y="360"/>
                  </a:lnTo>
                  <a:lnTo>
                    <a:pt x="10502" y="360"/>
                  </a:lnTo>
                  <a:lnTo>
                    <a:pt x="10527" y="361"/>
                  </a:lnTo>
                  <a:lnTo>
                    <a:pt x="10553" y="362"/>
                  </a:lnTo>
                  <a:lnTo>
                    <a:pt x="10577" y="364"/>
                  </a:lnTo>
                  <a:lnTo>
                    <a:pt x="10601" y="367"/>
                  </a:lnTo>
                  <a:lnTo>
                    <a:pt x="10624" y="370"/>
                  </a:lnTo>
                  <a:lnTo>
                    <a:pt x="10648" y="374"/>
                  </a:lnTo>
                  <a:lnTo>
                    <a:pt x="10670" y="379"/>
                  </a:lnTo>
                  <a:lnTo>
                    <a:pt x="10692" y="384"/>
                  </a:lnTo>
                  <a:lnTo>
                    <a:pt x="10713" y="390"/>
                  </a:lnTo>
                  <a:lnTo>
                    <a:pt x="10734" y="396"/>
                  </a:lnTo>
                  <a:lnTo>
                    <a:pt x="10754" y="403"/>
                  </a:lnTo>
                  <a:lnTo>
                    <a:pt x="10774" y="411"/>
                  </a:lnTo>
                  <a:lnTo>
                    <a:pt x="10793" y="419"/>
                  </a:lnTo>
                  <a:lnTo>
                    <a:pt x="10812" y="427"/>
                  </a:lnTo>
                  <a:lnTo>
                    <a:pt x="10831" y="437"/>
                  </a:lnTo>
                  <a:lnTo>
                    <a:pt x="10848" y="446"/>
                  </a:lnTo>
                  <a:lnTo>
                    <a:pt x="10866" y="457"/>
                  </a:lnTo>
                  <a:lnTo>
                    <a:pt x="10883" y="468"/>
                  </a:lnTo>
                  <a:lnTo>
                    <a:pt x="10900" y="479"/>
                  </a:lnTo>
                  <a:lnTo>
                    <a:pt x="10917" y="491"/>
                  </a:lnTo>
                  <a:lnTo>
                    <a:pt x="10932" y="505"/>
                  </a:lnTo>
                  <a:lnTo>
                    <a:pt x="10948" y="517"/>
                  </a:lnTo>
                  <a:lnTo>
                    <a:pt x="10963" y="531"/>
                  </a:lnTo>
                  <a:lnTo>
                    <a:pt x="10978" y="545"/>
                  </a:lnTo>
                  <a:lnTo>
                    <a:pt x="10992" y="560"/>
                  </a:lnTo>
                  <a:lnTo>
                    <a:pt x="11007" y="575"/>
                  </a:lnTo>
                  <a:lnTo>
                    <a:pt x="11021" y="591"/>
                  </a:lnTo>
                  <a:lnTo>
                    <a:pt x="11034" y="608"/>
                  </a:lnTo>
                  <a:lnTo>
                    <a:pt x="11048" y="624"/>
                  </a:lnTo>
                  <a:lnTo>
                    <a:pt x="11061" y="641"/>
                  </a:lnTo>
                  <a:lnTo>
                    <a:pt x="11074" y="660"/>
                  </a:lnTo>
                  <a:lnTo>
                    <a:pt x="11388" y="479"/>
                  </a:lnTo>
                  <a:close/>
                </a:path>
              </a:pathLst>
            </a:custGeom>
            <a:solidFill>
              <a:srgbClr val="59595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450850" y="6383338"/>
              <a:ext cx="296863" cy="288925"/>
            </a:xfrm>
            <a:custGeom>
              <a:avLst/>
              <a:gdLst>
                <a:gd name="T0" fmla="*/ 1863 w 3551"/>
                <a:gd name="T1" fmla="*/ 1342 h 3458"/>
                <a:gd name="T2" fmla="*/ 1837 w 3551"/>
                <a:gd name="T3" fmla="*/ 1357 h 3458"/>
                <a:gd name="T4" fmla="*/ 1805 w 3551"/>
                <a:gd name="T5" fmla="*/ 1355 h 3458"/>
                <a:gd name="T6" fmla="*/ 1110 w 3551"/>
                <a:gd name="T7" fmla="*/ 1073 h 3458"/>
                <a:gd name="T8" fmla="*/ 1077 w 3551"/>
                <a:gd name="T9" fmla="*/ 1014 h 3458"/>
                <a:gd name="T10" fmla="*/ 1211 w 3551"/>
                <a:gd name="T11" fmla="*/ 142 h 3458"/>
                <a:gd name="T12" fmla="*/ 1237 w 3551"/>
                <a:gd name="T13" fmla="*/ 78 h 3458"/>
                <a:gd name="T14" fmla="*/ 1293 w 3551"/>
                <a:gd name="T15" fmla="*/ 37 h 3458"/>
                <a:gd name="T16" fmla="*/ 2037 w 3551"/>
                <a:gd name="T17" fmla="*/ 0 h 3458"/>
                <a:gd name="T18" fmla="*/ 2066 w 3551"/>
                <a:gd name="T19" fmla="*/ 11 h 3458"/>
                <a:gd name="T20" fmla="*/ 2083 w 3551"/>
                <a:gd name="T21" fmla="*/ 37 h 3458"/>
                <a:gd name="T22" fmla="*/ 1407 w 3551"/>
                <a:gd name="T23" fmla="*/ 1560 h 3458"/>
                <a:gd name="T24" fmla="*/ 1424 w 3551"/>
                <a:gd name="T25" fmla="*/ 1585 h 3458"/>
                <a:gd name="T26" fmla="*/ 1421 w 3551"/>
                <a:gd name="T27" fmla="*/ 1616 h 3458"/>
                <a:gd name="T28" fmla="*/ 963 w 3551"/>
                <a:gd name="T29" fmla="*/ 2181 h 3458"/>
                <a:gd name="T30" fmla="*/ 898 w 3551"/>
                <a:gd name="T31" fmla="*/ 2217 h 3458"/>
                <a:gd name="T32" fmla="*/ 830 w 3551"/>
                <a:gd name="T33" fmla="*/ 2210 h 3458"/>
                <a:gd name="T34" fmla="*/ 45 w 3551"/>
                <a:gd name="T35" fmla="*/ 1803 h 3458"/>
                <a:gd name="T36" fmla="*/ 6 w 3551"/>
                <a:gd name="T37" fmla="*/ 1748 h 3458"/>
                <a:gd name="T38" fmla="*/ 4 w 3551"/>
                <a:gd name="T39" fmla="*/ 1670 h 3458"/>
                <a:gd name="T40" fmla="*/ 201 w 3551"/>
                <a:gd name="T41" fmla="*/ 980 h 3458"/>
                <a:gd name="T42" fmla="*/ 227 w 3551"/>
                <a:gd name="T43" fmla="*/ 963 h 3458"/>
                <a:gd name="T44" fmla="*/ 257 w 3551"/>
                <a:gd name="T45" fmla="*/ 967 h 3458"/>
                <a:gd name="T46" fmla="*/ 1499 w 3551"/>
                <a:gd name="T47" fmla="*/ 2063 h 3458"/>
                <a:gd name="T48" fmla="*/ 1530 w 3551"/>
                <a:gd name="T49" fmla="*/ 2065 h 3458"/>
                <a:gd name="T50" fmla="*/ 1554 w 3551"/>
                <a:gd name="T51" fmla="*/ 2086 h 3458"/>
                <a:gd name="T52" fmla="*/ 1951 w 3551"/>
                <a:gd name="T53" fmla="*/ 2722 h 3458"/>
                <a:gd name="T54" fmla="*/ 1944 w 3551"/>
                <a:gd name="T55" fmla="*/ 2790 h 3458"/>
                <a:gd name="T56" fmla="*/ 1322 w 3551"/>
                <a:gd name="T57" fmla="*/ 3416 h 3458"/>
                <a:gd name="T58" fmla="*/ 1263 w 3551"/>
                <a:gd name="T59" fmla="*/ 3453 h 3458"/>
                <a:gd name="T60" fmla="*/ 1193 w 3551"/>
                <a:gd name="T61" fmla="*/ 3453 h 3458"/>
                <a:gd name="T62" fmla="*/ 571 w 3551"/>
                <a:gd name="T63" fmla="*/ 3048 h 3458"/>
                <a:gd name="T64" fmla="*/ 552 w 3551"/>
                <a:gd name="T65" fmla="*/ 3021 h 3458"/>
                <a:gd name="T66" fmla="*/ 554 w 3551"/>
                <a:gd name="T67" fmla="*/ 2990 h 3458"/>
                <a:gd name="T68" fmla="*/ 1998 w 3551"/>
                <a:gd name="T69" fmla="*/ 2153 h 3458"/>
                <a:gd name="T70" fmla="*/ 1999 w 3551"/>
                <a:gd name="T71" fmla="*/ 2123 h 3458"/>
                <a:gd name="T72" fmla="*/ 2019 w 3551"/>
                <a:gd name="T73" fmla="*/ 2099 h 3458"/>
                <a:gd name="T74" fmla="*/ 2722 w 3551"/>
                <a:gd name="T75" fmla="*/ 1907 h 3458"/>
                <a:gd name="T76" fmla="*/ 2795 w 3551"/>
                <a:gd name="T77" fmla="*/ 1917 h 3458"/>
                <a:gd name="T78" fmla="*/ 2847 w 3551"/>
                <a:gd name="T79" fmla="*/ 1961 h 3458"/>
                <a:gd name="T80" fmla="*/ 3246 w 3551"/>
                <a:gd name="T81" fmla="*/ 2750 h 3458"/>
                <a:gd name="T82" fmla="*/ 3244 w 3551"/>
                <a:gd name="T83" fmla="*/ 2818 h 3458"/>
                <a:gd name="T84" fmla="*/ 3201 w 3551"/>
                <a:gd name="T85" fmla="*/ 2882 h 3458"/>
                <a:gd name="T86" fmla="*/ 2638 w 3551"/>
                <a:gd name="T87" fmla="*/ 3327 h 3458"/>
                <a:gd name="T88" fmla="*/ 2607 w 3551"/>
                <a:gd name="T89" fmla="*/ 3326 h 3458"/>
                <a:gd name="T90" fmla="*/ 2584 w 3551"/>
                <a:gd name="T91" fmla="*/ 3306 h 3458"/>
                <a:gd name="T92" fmla="*/ 2218 w 3551"/>
                <a:gd name="T93" fmla="*/ 1693 h 3458"/>
                <a:gd name="T94" fmla="*/ 2195 w 3551"/>
                <a:gd name="T95" fmla="*/ 1673 h 3458"/>
                <a:gd name="T96" fmla="*/ 2188 w 3551"/>
                <a:gd name="T97" fmla="*/ 1642 h 3458"/>
                <a:gd name="T98" fmla="*/ 2241 w 3551"/>
                <a:gd name="T99" fmla="*/ 895 h 3458"/>
                <a:gd name="T100" fmla="*/ 2287 w 3551"/>
                <a:gd name="T101" fmla="*/ 844 h 3458"/>
                <a:gd name="T102" fmla="*/ 3158 w 3551"/>
                <a:gd name="T103" fmla="*/ 702 h 3458"/>
                <a:gd name="T104" fmla="*/ 3228 w 3551"/>
                <a:gd name="T105" fmla="*/ 709 h 3458"/>
                <a:gd name="T106" fmla="*/ 3285 w 3551"/>
                <a:gd name="T107" fmla="*/ 749 h 3458"/>
                <a:gd name="T108" fmla="*/ 3549 w 3551"/>
                <a:gd name="T109" fmla="*/ 1444 h 3458"/>
                <a:gd name="T110" fmla="*/ 3548 w 3551"/>
                <a:gd name="T111" fmla="*/ 1475 h 3458"/>
                <a:gd name="T112" fmla="*/ 3528 w 3551"/>
                <a:gd name="T113" fmla="*/ 1499 h 3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51" h="3458">
                  <a:moveTo>
                    <a:pt x="2083" y="52"/>
                  </a:moveTo>
                  <a:lnTo>
                    <a:pt x="1871" y="1322"/>
                  </a:lnTo>
                  <a:lnTo>
                    <a:pt x="1870" y="1327"/>
                  </a:lnTo>
                  <a:lnTo>
                    <a:pt x="1868" y="1332"/>
                  </a:lnTo>
                  <a:lnTo>
                    <a:pt x="1866" y="1337"/>
                  </a:lnTo>
                  <a:lnTo>
                    <a:pt x="1863" y="1342"/>
                  </a:lnTo>
                  <a:lnTo>
                    <a:pt x="1859" y="1346"/>
                  </a:lnTo>
                  <a:lnTo>
                    <a:pt x="1856" y="1349"/>
                  </a:lnTo>
                  <a:lnTo>
                    <a:pt x="1852" y="1352"/>
                  </a:lnTo>
                  <a:lnTo>
                    <a:pt x="1847" y="1354"/>
                  </a:lnTo>
                  <a:lnTo>
                    <a:pt x="1842" y="1356"/>
                  </a:lnTo>
                  <a:lnTo>
                    <a:pt x="1837" y="1357"/>
                  </a:lnTo>
                  <a:lnTo>
                    <a:pt x="1832" y="1358"/>
                  </a:lnTo>
                  <a:lnTo>
                    <a:pt x="1827" y="1359"/>
                  </a:lnTo>
                  <a:lnTo>
                    <a:pt x="1821" y="1358"/>
                  </a:lnTo>
                  <a:lnTo>
                    <a:pt x="1816" y="1358"/>
                  </a:lnTo>
                  <a:lnTo>
                    <a:pt x="1811" y="1357"/>
                  </a:lnTo>
                  <a:lnTo>
                    <a:pt x="1805" y="1355"/>
                  </a:lnTo>
                  <a:lnTo>
                    <a:pt x="1170" y="1110"/>
                  </a:lnTo>
                  <a:lnTo>
                    <a:pt x="1155" y="1104"/>
                  </a:lnTo>
                  <a:lnTo>
                    <a:pt x="1142" y="1097"/>
                  </a:lnTo>
                  <a:lnTo>
                    <a:pt x="1131" y="1089"/>
                  </a:lnTo>
                  <a:lnTo>
                    <a:pt x="1120" y="1081"/>
                  </a:lnTo>
                  <a:lnTo>
                    <a:pt x="1110" y="1073"/>
                  </a:lnTo>
                  <a:lnTo>
                    <a:pt x="1102" y="1064"/>
                  </a:lnTo>
                  <a:lnTo>
                    <a:pt x="1095" y="1055"/>
                  </a:lnTo>
                  <a:lnTo>
                    <a:pt x="1089" y="1045"/>
                  </a:lnTo>
                  <a:lnTo>
                    <a:pt x="1084" y="1035"/>
                  </a:lnTo>
                  <a:lnTo>
                    <a:pt x="1080" y="1024"/>
                  </a:lnTo>
                  <a:lnTo>
                    <a:pt x="1077" y="1014"/>
                  </a:lnTo>
                  <a:lnTo>
                    <a:pt x="1074" y="1003"/>
                  </a:lnTo>
                  <a:lnTo>
                    <a:pt x="1073" y="990"/>
                  </a:lnTo>
                  <a:lnTo>
                    <a:pt x="1073" y="979"/>
                  </a:lnTo>
                  <a:lnTo>
                    <a:pt x="1074" y="967"/>
                  </a:lnTo>
                  <a:lnTo>
                    <a:pt x="1075" y="955"/>
                  </a:lnTo>
                  <a:lnTo>
                    <a:pt x="1211" y="142"/>
                  </a:lnTo>
                  <a:lnTo>
                    <a:pt x="1213" y="131"/>
                  </a:lnTo>
                  <a:lnTo>
                    <a:pt x="1216" y="118"/>
                  </a:lnTo>
                  <a:lnTo>
                    <a:pt x="1220" y="107"/>
                  </a:lnTo>
                  <a:lnTo>
                    <a:pt x="1225" y="97"/>
                  </a:lnTo>
                  <a:lnTo>
                    <a:pt x="1231" y="87"/>
                  </a:lnTo>
                  <a:lnTo>
                    <a:pt x="1237" y="78"/>
                  </a:lnTo>
                  <a:lnTo>
                    <a:pt x="1244" y="69"/>
                  </a:lnTo>
                  <a:lnTo>
                    <a:pt x="1252" y="61"/>
                  </a:lnTo>
                  <a:lnTo>
                    <a:pt x="1262" y="54"/>
                  </a:lnTo>
                  <a:lnTo>
                    <a:pt x="1272" y="47"/>
                  </a:lnTo>
                  <a:lnTo>
                    <a:pt x="1282" y="42"/>
                  </a:lnTo>
                  <a:lnTo>
                    <a:pt x="1293" y="37"/>
                  </a:lnTo>
                  <a:lnTo>
                    <a:pt x="1307" y="33"/>
                  </a:lnTo>
                  <a:lnTo>
                    <a:pt x="1320" y="30"/>
                  </a:lnTo>
                  <a:lnTo>
                    <a:pt x="1334" y="28"/>
                  </a:lnTo>
                  <a:lnTo>
                    <a:pt x="1350" y="27"/>
                  </a:lnTo>
                  <a:lnTo>
                    <a:pt x="2031" y="0"/>
                  </a:lnTo>
                  <a:lnTo>
                    <a:pt x="2037" y="0"/>
                  </a:lnTo>
                  <a:lnTo>
                    <a:pt x="2042" y="1"/>
                  </a:lnTo>
                  <a:lnTo>
                    <a:pt x="2047" y="2"/>
                  </a:lnTo>
                  <a:lnTo>
                    <a:pt x="2053" y="3"/>
                  </a:lnTo>
                  <a:lnTo>
                    <a:pt x="2057" y="5"/>
                  </a:lnTo>
                  <a:lnTo>
                    <a:pt x="2062" y="8"/>
                  </a:lnTo>
                  <a:lnTo>
                    <a:pt x="2066" y="11"/>
                  </a:lnTo>
                  <a:lnTo>
                    <a:pt x="2070" y="14"/>
                  </a:lnTo>
                  <a:lnTo>
                    <a:pt x="2074" y="18"/>
                  </a:lnTo>
                  <a:lnTo>
                    <a:pt x="2077" y="22"/>
                  </a:lnTo>
                  <a:lnTo>
                    <a:pt x="2079" y="27"/>
                  </a:lnTo>
                  <a:lnTo>
                    <a:pt x="2081" y="32"/>
                  </a:lnTo>
                  <a:lnTo>
                    <a:pt x="2083" y="37"/>
                  </a:lnTo>
                  <a:lnTo>
                    <a:pt x="2083" y="42"/>
                  </a:lnTo>
                  <a:lnTo>
                    <a:pt x="2084" y="47"/>
                  </a:lnTo>
                  <a:lnTo>
                    <a:pt x="2083" y="52"/>
                  </a:lnTo>
                  <a:close/>
                  <a:moveTo>
                    <a:pt x="257" y="967"/>
                  </a:moveTo>
                  <a:lnTo>
                    <a:pt x="1402" y="1557"/>
                  </a:lnTo>
                  <a:lnTo>
                    <a:pt x="1407" y="1560"/>
                  </a:lnTo>
                  <a:lnTo>
                    <a:pt x="1411" y="1563"/>
                  </a:lnTo>
                  <a:lnTo>
                    <a:pt x="1415" y="1567"/>
                  </a:lnTo>
                  <a:lnTo>
                    <a:pt x="1418" y="1571"/>
                  </a:lnTo>
                  <a:lnTo>
                    <a:pt x="1420" y="1575"/>
                  </a:lnTo>
                  <a:lnTo>
                    <a:pt x="1422" y="1580"/>
                  </a:lnTo>
                  <a:lnTo>
                    <a:pt x="1424" y="1585"/>
                  </a:lnTo>
                  <a:lnTo>
                    <a:pt x="1425" y="1590"/>
                  </a:lnTo>
                  <a:lnTo>
                    <a:pt x="1425" y="1595"/>
                  </a:lnTo>
                  <a:lnTo>
                    <a:pt x="1425" y="1600"/>
                  </a:lnTo>
                  <a:lnTo>
                    <a:pt x="1424" y="1606"/>
                  </a:lnTo>
                  <a:lnTo>
                    <a:pt x="1423" y="1611"/>
                  </a:lnTo>
                  <a:lnTo>
                    <a:pt x="1421" y="1616"/>
                  </a:lnTo>
                  <a:lnTo>
                    <a:pt x="1419" y="1620"/>
                  </a:lnTo>
                  <a:lnTo>
                    <a:pt x="1416" y="1625"/>
                  </a:lnTo>
                  <a:lnTo>
                    <a:pt x="1413" y="1630"/>
                  </a:lnTo>
                  <a:lnTo>
                    <a:pt x="984" y="2159"/>
                  </a:lnTo>
                  <a:lnTo>
                    <a:pt x="974" y="2171"/>
                  </a:lnTo>
                  <a:lnTo>
                    <a:pt x="963" y="2181"/>
                  </a:lnTo>
                  <a:lnTo>
                    <a:pt x="953" y="2190"/>
                  </a:lnTo>
                  <a:lnTo>
                    <a:pt x="943" y="2197"/>
                  </a:lnTo>
                  <a:lnTo>
                    <a:pt x="931" y="2204"/>
                  </a:lnTo>
                  <a:lnTo>
                    <a:pt x="920" y="2209"/>
                  </a:lnTo>
                  <a:lnTo>
                    <a:pt x="909" y="2213"/>
                  </a:lnTo>
                  <a:lnTo>
                    <a:pt x="898" y="2217"/>
                  </a:lnTo>
                  <a:lnTo>
                    <a:pt x="886" y="2218"/>
                  </a:lnTo>
                  <a:lnTo>
                    <a:pt x="875" y="2219"/>
                  </a:lnTo>
                  <a:lnTo>
                    <a:pt x="864" y="2218"/>
                  </a:lnTo>
                  <a:lnTo>
                    <a:pt x="853" y="2217"/>
                  </a:lnTo>
                  <a:lnTo>
                    <a:pt x="841" y="2214"/>
                  </a:lnTo>
                  <a:lnTo>
                    <a:pt x="830" y="2210"/>
                  </a:lnTo>
                  <a:lnTo>
                    <a:pt x="819" y="2206"/>
                  </a:lnTo>
                  <a:lnTo>
                    <a:pt x="808" y="2201"/>
                  </a:lnTo>
                  <a:lnTo>
                    <a:pt x="75" y="1823"/>
                  </a:lnTo>
                  <a:lnTo>
                    <a:pt x="64" y="1817"/>
                  </a:lnTo>
                  <a:lnTo>
                    <a:pt x="54" y="1810"/>
                  </a:lnTo>
                  <a:lnTo>
                    <a:pt x="45" y="1803"/>
                  </a:lnTo>
                  <a:lnTo>
                    <a:pt x="37" y="1796"/>
                  </a:lnTo>
                  <a:lnTo>
                    <a:pt x="29" y="1787"/>
                  </a:lnTo>
                  <a:lnTo>
                    <a:pt x="21" y="1779"/>
                  </a:lnTo>
                  <a:lnTo>
                    <a:pt x="15" y="1768"/>
                  </a:lnTo>
                  <a:lnTo>
                    <a:pt x="10" y="1758"/>
                  </a:lnTo>
                  <a:lnTo>
                    <a:pt x="6" y="1748"/>
                  </a:lnTo>
                  <a:lnTo>
                    <a:pt x="3" y="1736"/>
                  </a:lnTo>
                  <a:lnTo>
                    <a:pt x="1" y="1724"/>
                  </a:lnTo>
                  <a:lnTo>
                    <a:pt x="0" y="1711"/>
                  </a:lnTo>
                  <a:lnTo>
                    <a:pt x="0" y="1698"/>
                  </a:lnTo>
                  <a:lnTo>
                    <a:pt x="1" y="1685"/>
                  </a:lnTo>
                  <a:lnTo>
                    <a:pt x="4" y="1670"/>
                  </a:lnTo>
                  <a:lnTo>
                    <a:pt x="7" y="1655"/>
                  </a:lnTo>
                  <a:lnTo>
                    <a:pt x="191" y="1000"/>
                  </a:lnTo>
                  <a:lnTo>
                    <a:pt x="193" y="994"/>
                  </a:lnTo>
                  <a:lnTo>
                    <a:pt x="195" y="989"/>
                  </a:lnTo>
                  <a:lnTo>
                    <a:pt x="198" y="984"/>
                  </a:lnTo>
                  <a:lnTo>
                    <a:pt x="201" y="980"/>
                  </a:lnTo>
                  <a:lnTo>
                    <a:pt x="204" y="976"/>
                  </a:lnTo>
                  <a:lnTo>
                    <a:pt x="209" y="973"/>
                  </a:lnTo>
                  <a:lnTo>
                    <a:pt x="213" y="969"/>
                  </a:lnTo>
                  <a:lnTo>
                    <a:pt x="217" y="967"/>
                  </a:lnTo>
                  <a:lnTo>
                    <a:pt x="222" y="965"/>
                  </a:lnTo>
                  <a:lnTo>
                    <a:pt x="227" y="963"/>
                  </a:lnTo>
                  <a:lnTo>
                    <a:pt x="231" y="962"/>
                  </a:lnTo>
                  <a:lnTo>
                    <a:pt x="236" y="962"/>
                  </a:lnTo>
                  <a:lnTo>
                    <a:pt x="241" y="962"/>
                  </a:lnTo>
                  <a:lnTo>
                    <a:pt x="246" y="963"/>
                  </a:lnTo>
                  <a:lnTo>
                    <a:pt x="252" y="964"/>
                  </a:lnTo>
                  <a:lnTo>
                    <a:pt x="257" y="967"/>
                  </a:lnTo>
                  <a:close/>
                  <a:moveTo>
                    <a:pt x="563" y="2978"/>
                  </a:moveTo>
                  <a:lnTo>
                    <a:pt x="1482" y="2075"/>
                  </a:lnTo>
                  <a:lnTo>
                    <a:pt x="1486" y="2071"/>
                  </a:lnTo>
                  <a:lnTo>
                    <a:pt x="1490" y="2067"/>
                  </a:lnTo>
                  <a:lnTo>
                    <a:pt x="1495" y="2065"/>
                  </a:lnTo>
                  <a:lnTo>
                    <a:pt x="1499" y="2063"/>
                  </a:lnTo>
                  <a:lnTo>
                    <a:pt x="1504" y="2062"/>
                  </a:lnTo>
                  <a:lnTo>
                    <a:pt x="1509" y="2061"/>
                  </a:lnTo>
                  <a:lnTo>
                    <a:pt x="1514" y="2062"/>
                  </a:lnTo>
                  <a:lnTo>
                    <a:pt x="1519" y="2062"/>
                  </a:lnTo>
                  <a:lnTo>
                    <a:pt x="1524" y="2063"/>
                  </a:lnTo>
                  <a:lnTo>
                    <a:pt x="1530" y="2065"/>
                  </a:lnTo>
                  <a:lnTo>
                    <a:pt x="1534" y="2067"/>
                  </a:lnTo>
                  <a:lnTo>
                    <a:pt x="1539" y="2071"/>
                  </a:lnTo>
                  <a:lnTo>
                    <a:pt x="1543" y="2074"/>
                  </a:lnTo>
                  <a:lnTo>
                    <a:pt x="1547" y="2078"/>
                  </a:lnTo>
                  <a:lnTo>
                    <a:pt x="1551" y="2082"/>
                  </a:lnTo>
                  <a:lnTo>
                    <a:pt x="1554" y="2086"/>
                  </a:lnTo>
                  <a:lnTo>
                    <a:pt x="1924" y="2658"/>
                  </a:lnTo>
                  <a:lnTo>
                    <a:pt x="1932" y="2671"/>
                  </a:lnTo>
                  <a:lnTo>
                    <a:pt x="1939" y="2684"/>
                  </a:lnTo>
                  <a:lnTo>
                    <a:pt x="1944" y="2696"/>
                  </a:lnTo>
                  <a:lnTo>
                    <a:pt x="1948" y="2710"/>
                  </a:lnTo>
                  <a:lnTo>
                    <a:pt x="1951" y="2722"/>
                  </a:lnTo>
                  <a:lnTo>
                    <a:pt x="1952" y="2734"/>
                  </a:lnTo>
                  <a:lnTo>
                    <a:pt x="1953" y="2745"/>
                  </a:lnTo>
                  <a:lnTo>
                    <a:pt x="1952" y="2757"/>
                  </a:lnTo>
                  <a:lnTo>
                    <a:pt x="1950" y="2769"/>
                  </a:lnTo>
                  <a:lnTo>
                    <a:pt x="1947" y="2779"/>
                  </a:lnTo>
                  <a:lnTo>
                    <a:pt x="1944" y="2790"/>
                  </a:lnTo>
                  <a:lnTo>
                    <a:pt x="1939" y="2801"/>
                  </a:lnTo>
                  <a:lnTo>
                    <a:pt x="1932" y="2811"/>
                  </a:lnTo>
                  <a:lnTo>
                    <a:pt x="1925" y="2820"/>
                  </a:lnTo>
                  <a:lnTo>
                    <a:pt x="1918" y="2829"/>
                  </a:lnTo>
                  <a:lnTo>
                    <a:pt x="1910" y="2838"/>
                  </a:lnTo>
                  <a:lnTo>
                    <a:pt x="1322" y="3416"/>
                  </a:lnTo>
                  <a:lnTo>
                    <a:pt x="1314" y="3424"/>
                  </a:lnTo>
                  <a:lnTo>
                    <a:pt x="1304" y="3432"/>
                  </a:lnTo>
                  <a:lnTo>
                    <a:pt x="1294" y="3439"/>
                  </a:lnTo>
                  <a:lnTo>
                    <a:pt x="1284" y="3445"/>
                  </a:lnTo>
                  <a:lnTo>
                    <a:pt x="1274" y="3449"/>
                  </a:lnTo>
                  <a:lnTo>
                    <a:pt x="1263" y="3453"/>
                  </a:lnTo>
                  <a:lnTo>
                    <a:pt x="1251" y="3456"/>
                  </a:lnTo>
                  <a:lnTo>
                    <a:pt x="1240" y="3457"/>
                  </a:lnTo>
                  <a:lnTo>
                    <a:pt x="1229" y="3458"/>
                  </a:lnTo>
                  <a:lnTo>
                    <a:pt x="1218" y="3457"/>
                  </a:lnTo>
                  <a:lnTo>
                    <a:pt x="1205" y="3456"/>
                  </a:lnTo>
                  <a:lnTo>
                    <a:pt x="1193" y="3453"/>
                  </a:lnTo>
                  <a:lnTo>
                    <a:pt x="1180" y="3449"/>
                  </a:lnTo>
                  <a:lnTo>
                    <a:pt x="1168" y="3444"/>
                  </a:lnTo>
                  <a:lnTo>
                    <a:pt x="1154" y="3437"/>
                  </a:lnTo>
                  <a:lnTo>
                    <a:pt x="1142" y="3428"/>
                  </a:lnTo>
                  <a:lnTo>
                    <a:pt x="575" y="3051"/>
                  </a:lnTo>
                  <a:lnTo>
                    <a:pt x="571" y="3048"/>
                  </a:lnTo>
                  <a:lnTo>
                    <a:pt x="566" y="3043"/>
                  </a:lnTo>
                  <a:lnTo>
                    <a:pt x="562" y="3039"/>
                  </a:lnTo>
                  <a:lnTo>
                    <a:pt x="559" y="3035"/>
                  </a:lnTo>
                  <a:lnTo>
                    <a:pt x="556" y="3030"/>
                  </a:lnTo>
                  <a:lnTo>
                    <a:pt x="554" y="3026"/>
                  </a:lnTo>
                  <a:lnTo>
                    <a:pt x="552" y="3021"/>
                  </a:lnTo>
                  <a:lnTo>
                    <a:pt x="551" y="3016"/>
                  </a:lnTo>
                  <a:lnTo>
                    <a:pt x="551" y="3011"/>
                  </a:lnTo>
                  <a:lnTo>
                    <a:pt x="551" y="3006"/>
                  </a:lnTo>
                  <a:lnTo>
                    <a:pt x="551" y="3001"/>
                  </a:lnTo>
                  <a:lnTo>
                    <a:pt x="552" y="2996"/>
                  </a:lnTo>
                  <a:lnTo>
                    <a:pt x="554" y="2990"/>
                  </a:lnTo>
                  <a:lnTo>
                    <a:pt x="556" y="2986"/>
                  </a:lnTo>
                  <a:lnTo>
                    <a:pt x="559" y="2982"/>
                  </a:lnTo>
                  <a:lnTo>
                    <a:pt x="563" y="2978"/>
                  </a:lnTo>
                  <a:close/>
                  <a:moveTo>
                    <a:pt x="2584" y="3306"/>
                  </a:moveTo>
                  <a:lnTo>
                    <a:pt x="2001" y="2158"/>
                  </a:lnTo>
                  <a:lnTo>
                    <a:pt x="1998" y="2153"/>
                  </a:lnTo>
                  <a:lnTo>
                    <a:pt x="1997" y="2148"/>
                  </a:lnTo>
                  <a:lnTo>
                    <a:pt x="1996" y="2143"/>
                  </a:lnTo>
                  <a:lnTo>
                    <a:pt x="1996" y="2137"/>
                  </a:lnTo>
                  <a:lnTo>
                    <a:pt x="1997" y="2133"/>
                  </a:lnTo>
                  <a:lnTo>
                    <a:pt x="1998" y="2128"/>
                  </a:lnTo>
                  <a:lnTo>
                    <a:pt x="1999" y="2123"/>
                  </a:lnTo>
                  <a:lnTo>
                    <a:pt x="2001" y="2118"/>
                  </a:lnTo>
                  <a:lnTo>
                    <a:pt x="2004" y="2113"/>
                  </a:lnTo>
                  <a:lnTo>
                    <a:pt x="2007" y="2109"/>
                  </a:lnTo>
                  <a:lnTo>
                    <a:pt x="2011" y="2106"/>
                  </a:lnTo>
                  <a:lnTo>
                    <a:pt x="2014" y="2102"/>
                  </a:lnTo>
                  <a:lnTo>
                    <a:pt x="2019" y="2099"/>
                  </a:lnTo>
                  <a:lnTo>
                    <a:pt x="2023" y="2096"/>
                  </a:lnTo>
                  <a:lnTo>
                    <a:pt x="2029" y="2094"/>
                  </a:lnTo>
                  <a:lnTo>
                    <a:pt x="2035" y="2093"/>
                  </a:lnTo>
                  <a:lnTo>
                    <a:pt x="2692" y="1913"/>
                  </a:lnTo>
                  <a:lnTo>
                    <a:pt x="2707" y="1910"/>
                  </a:lnTo>
                  <a:lnTo>
                    <a:pt x="2722" y="1907"/>
                  </a:lnTo>
                  <a:lnTo>
                    <a:pt x="2735" y="1906"/>
                  </a:lnTo>
                  <a:lnTo>
                    <a:pt x="2748" y="1906"/>
                  </a:lnTo>
                  <a:lnTo>
                    <a:pt x="2761" y="1908"/>
                  </a:lnTo>
                  <a:lnTo>
                    <a:pt x="2773" y="1910"/>
                  </a:lnTo>
                  <a:lnTo>
                    <a:pt x="2784" y="1913"/>
                  </a:lnTo>
                  <a:lnTo>
                    <a:pt x="2795" y="1917"/>
                  </a:lnTo>
                  <a:lnTo>
                    <a:pt x="2806" y="1922"/>
                  </a:lnTo>
                  <a:lnTo>
                    <a:pt x="2815" y="1929"/>
                  </a:lnTo>
                  <a:lnTo>
                    <a:pt x="2824" y="1936"/>
                  </a:lnTo>
                  <a:lnTo>
                    <a:pt x="2832" y="1944"/>
                  </a:lnTo>
                  <a:lnTo>
                    <a:pt x="2840" y="1952"/>
                  </a:lnTo>
                  <a:lnTo>
                    <a:pt x="2847" y="1961"/>
                  </a:lnTo>
                  <a:lnTo>
                    <a:pt x="2854" y="1971"/>
                  </a:lnTo>
                  <a:lnTo>
                    <a:pt x="2860" y="1982"/>
                  </a:lnTo>
                  <a:lnTo>
                    <a:pt x="3233" y="2717"/>
                  </a:lnTo>
                  <a:lnTo>
                    <a:pt x="3238" y="2728"/>
                  </a:lnTo>
                  <a:lnTo>
                    <a:pt x="3242" y="2738"/>
                  </a:lnTo>
                  <a:lnTo>
                    <a:pt x="3246" y="2750"/>
                  </a:lnTo>
                  <a:lnTo>
                    <a:pt x="3248" y="2762"/>
                  </a:lnTo>
                  <a:lnTo>
                    <a:pt x="3249" y="2773"/>
                  </a:lnTo>
                  <a:lnTo>
                    <a:pt x="3250" y="2784"/>
                  </a:lnTo>
                  <a:lnTo>
                    <a:pt x="3249" y="2795"/>
                  </a:lnTo>
                  <a:lnTo>
                    <a:pt x="3247" y="2807"/>
                  </a:lnTo>
                  <a:lnTo>
                    <a:pt x="3244" y="2818"/>
                  </a:lnTo>
                  <a:lnTo>
                    <a:pt x="3240" y="2829"/>
                  </a:lnTo>
                  <a:lnTo>
                    <a:pt x="3235" y="2840"/>
                  </a:lnTo>
                  <a:lnTo>
                    <a:pt x="3229" y="2851"/>
                  </a:lnTo>
                  <a:lnTo>
                    <a:pt x="3221" y="2862"/>
                  </a:lnTo>
                  <a:lnTo>
                    <a:pt x="3211" y="2872"/>
                  </a:lnTo>
                  <a:lnTo>
                    <a:pt x="3201" y="2882"/>
                  </a:lnTo>
                  <a:lnTo>
                    <a:pt x="3190" y="2892"/>
                  </a:lnTo>
                  <a:lnTo>
                    <a:pt x="2657" y="3317"/>
                  </a:lnTo>
                  <a:lnTo>
                    <a:pt x="2652" y="3320"/>
                  </a:lnTo>
                  <a:lnTo>
                    <a:pt x="2647" y="3323"/>
                  </a:lnTo>
                  <a:lnTo>
                    <a:pt x="2643" y="3325"/>
                  </a:lnTo>
                  <a:lnTo>
                    <a:pt x="2638" y="3327"/>
                  </a:lnTo>
                  <a:lnTo>
                    <a:pt x="2633" y="3328"/>
                  </a:lnTo>
                  <a:lnTo>
                    <a:pt x="2627" y="3329"/>
                  </a:lnTo>
                  <a:lnTo>
                    <a:pt x="2622" y="3329"/>
                  </a:lnTo>
                  <a:lnTo>
                    <a:pt x="2616" y="3328"/>
                  </a:lnTo>
                  <a:lnTo>
                    <a:pt x="2612" y="3327"/>
                  </a:lnTo>
                  <a:lnTo>
                    <a:pt x="2607" y="3326"/>
                  </a:lnTo>
                  <a:lnTo>
                    <a:pt x="2602" y="3324"/>
                  </a:lnTo>
                  <a:lnTo>
                    <a:pt x="2598" y="3321"/>
                  </a:lnTo>
                  <a:lnTo>
                    <a:pt x="2594" y="3318"/>
                  </a:lnTo>
                  <a:lnTo>
                    <a:pt x="2590" y="3315"/>
                  </a:lnTo>
                  <a:lnTo>
                    <a:pt x="2587" y="3310"/>
                  </a:lnTo>
                  <a:lnTo>
                    <a:pt x="2584" y="3306"/>
                  </a:lnTo>
                  <a:close/>
                  <a:moveTo>
                    <a:pt x="3513" y="1504"/>
                  </a:moveTo>
                  <a:lnTo>
                    <a:pt x="2239" y="1695"/>
                  </a:lnTo>
                  <a:lnTo>
                    <a:pt x="2234" y="1695"/>
                  </a:lnTo>
                  <a:lnTo>
                    <a:pt x="2228" y="1695"/>
                  </a:lnTo>
                  <a:lnTo>
                    <a:pt x="2223" y="1694"/>
                  </a:lnTo>
                  <a:lnTo>
                    <a:pt x="2218" y="1693"/>
                  </a:lnTo>
                  <a:lnTo>
                    <a:pt x="2214" y="1691"/>
                  </a:lnTo>
                  <a:lnTo>
                    <a:pt x="2209" y="1688"/>
                  </a:lnTo>
                  <a:lnTo>
                    <a:pt x="2205" y="1685"/>
                  </a:lnTo>
                  <a:lnTo>
                    <a:pt x="2201" y="1682"/>
                  </a:lnTo>
                  <a:lnTo>
                    <a:pt x="2198" y="1677"/>
                  </a:lnTo>
                  <a:lnTo>
                    <a:pt x="2195" y="1673"/>
                  </a:lnTo>
                  <a:lnTo>
                    <a:pt x="2193" y="1668"/>
                  </a:lnTo>
                  <a:lnTo>
                    <a:pt x="2191" y="1664"/>
                  </a:lnTo>
                  <a:lnTo>
                    <a:pt x="2189" y="1659"/>
                  </a:lnTo>
                  <a:lnTo>
                    <a:pt x="2188" y="1653"/>
                  </a:lnTo>
                  <a:lnTo>
                    <a:pt x="2188" y="1648"/>
                  </a:lnTo>
                  <a:lnTo>
                    <a:pt x="2188" y="1642"/>
                  </a:lnTo>
                  <a:lnTo>
                    <a:pt x="2225" y="963"/>
                  </a:lnTo>
                  <a:lnTo>
                    <a:pt x="2226" y="947"/>
                  </a:lnTo>
                  <a:lnTo>
                    <a:pt x="2229" y="933"/>
                  </a:lnTo>
                  <a:lnTo>
                    <a:pt x="2232" y="919"/>
                  </a:lnTo>
                  <a:lnTo>
                    <a:pt x="2236" y="907"/>
                  </a:lnTo>
                  <a:lnTo>
                    <a:pt x="2241" y="895"/>
                  </a:lnTo>
                  <a:lnTo>
                    <a:pt x="2247" y="884"/>
                  </a:lnTo>
                  <a:lnTo>
                    <a:pt x="2253" y="875"/>
                  </a:lnTo>
                  <a:lnTo>
                    <a:pt x="2262" y="866"/>
                  </a:lnTo>
                  <a:lnTo>
                    <a:pt x="2269" y="858"/>
                  </a:lnTo>
                  <a:lnTo>
                    <a:pt x="2278" y="850"/>
                  </a:lnTo>
                  <a:lnTo>
                    <a:pt x="2287" y="844"/>
                  </a:lnTo>
                  <a:lnTo>
                    <a:pt x="2297" y="839"/>
                  </a:lnTo>
                  <a:lnTo>
                    <a:pt x="2309" y="834"/>
                  </a:lnTo>
                  <a:lnTo>
                    <a:pt x="2319" y="830"/>
                  </a:lnTo>
                  <a:lnTo>
                    <a:pt x="2331" y="827"/>
                  </a:lnTo>
                  <a:lnTo>
                    <a:pt x="2343" y="825"/>
                  </a:lnTo>
                  <a:lnTo>
                    <a:pt x="3158" y="702"/>
                  </a:lnTo>
                  <a:lnTo>
                    <a:pt x="3171" y="701"/>
                  </a:lnTo>
                  <a:lnTo>
                    <a:pt x="3183" y="701"/>
                  </a:lnTo>
                  <a:lnTo>
                    <a:pt x="3194" y="701"/>
                  </a:lnTo>
                  <a:lnTo>
                    <a:pt x="3206" y="702"/>
                  </a:lnTo>
                  <a:lnTo>
                    <a:pt x="3218" y="704"/>
                  </a:lnTo>
                  <a:lnTo>
                    <a:pt x="3228" y="709"/>
                  </a:lnTo>
                  <a:lnTo>
                    <a:pt x="3239" y="713"/>
                  </a:lnTo>
                  <a:lnTo>
                    <a:pt x="3249" y="718"/>
                  </a:lnTo>
                  <a:lnTo>
                    <a:pt x="3259" y="724"/>
                  </a:lnTo>
                  <a:lnTo>
                    <a:pt x="3268" y="731"/>
                  </a:lnTo>
                  <a:lnTo>
                    <a:pt x="3277" y="740"/>
                  </a:lnTo>
                  <a:lnTo>
                    <a:pt x="3285" y="749"/>
                  </a:lnTo>
                  <a:lnTo>
                    <a:pt x="3292" y="761"/>
                  </a:lnTo>
                  <a:lnTo>
                    <a:pt x="3299" y="772"/>
                  </a:lnTo>
                  <a:lnTo>
                    <a:pt x="3307" y="785"/>
                  </a:lnTo>
                  <a:lnTo>
                    <a:pt x="3312" y="799"/>
                  </a:lnTo>
                  <a:lnTo>
                    <a:pt x="3548" y="1439"/>
                  </a:lnTo>
                  <a:lnTo>
                    <a:pt x="3549" y="1444"/>
                  </a:lnTo>
                  <a:lnTo>
                    <a:pt x="3550" y="1449"/>
                  </a:lnTo>
                  <a:lnTo>
                    <a:pt x="3551" y="1455"/>
                  </a:lnTo>
                  <a:lnTo>
                    <a:pt x="3551" y="1460"/>
                  </a:lnTo>
                  <a:lnTo>
                    <a:pt x="3550" y="1465"/>
                  </a:lnTo>
                  <a:lnTo>
                    <a:pt x="3549" y="1470"/>
                  </a:lnTo>
                  <a:lnTo>
                    <a:pt x="3548" y="1475"/>
                  </a:lnTo>
                  <a:lnTo>
                    <a:pt x="3546" y="1480"/>
                  </a:lnTo>
                  <a:lnTo>
                    <a:pt x="3544" y="1484"/>
                  </a:lnTo>
                  <a:lnTo>
                    <a:pt x="3541" y="1489"/>
                  </a:lnTo>
                  <a:lnTo>
                    <a:pt x="3537" y="1493"/>
                  </a:lnTo>
                  <a:lnTo>
                    <a:pt x="3534" y="1496"/>
                  </a:lnTo>
                  <a:lnTo>
                    <a:pt x="3528" y="1499"/>
                  </a:lnTo>
                  <a:lnTo>
                    <a:pt x="3524" y="1501"/>
                  </a:lnTo>
                  <a:lnTo>
                    <a:pt x="3519" y="1503"/>
                  </a:lnTo>
                  <a:lnTo>
                    <a:pt x="3513" y="1504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  <p:sp>
        <p:nvSpPr>
          <p:cNvPr id="7" name="AutoShape 3"/>
          <p:cNvSpPr>
            <a:spLocks noChangeAspect="1" noChangeArrowheads="1" noTextEdit="1"/>
          </p:cNvSpPr>
          <p:nvPr userDrawn="1"/>
        </p:nvSpPr>
        <p:spPr bwMode="auto">
          <a:xfrm>
            <a:off x="493604" y="6381919"/>
            <a:ext cx="148246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AutoShape 3"/>
          <p:cNvSpPr>
            <a:spLocks noChangeAspect="1" noChangeArrowheads="1" noTextEdit="1"/>
          </p:cNvSpPr>
          <p:nvPr userDrawn="1"/>
        </p:nvSpPr>
        <p:spPr bwMode="auto">
          <a:xfrm>
            <a:off x="488422" y="6383507"/>
            <a:ext cx="1480741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1" name="Группа 10"/>
          <p:cNvGrpSpPr/>
          <p:nvPr userDrawn="1"/>
        </p:nvGrpSpPr>
        <p:grpSpPr>
          <a:xfrm>
            <a:off x="488422" y="6383507"/>
            <a:ext cx="1480741" cy="288925"/>
            <a:chOff x="450850" y="6383338"/>
            <a:chExt cx="1366838" cy="288925"/>
          </a:xfrm>
        </p:grpSpPr>
        <p:sp>
          <p:nvSpPr>
            <p:cNvPr id="12" name="Freeform 5"/>
            <p:cNvSpPr>
              <a:spLocks noEditPoints="1"/>
            </p:cNvSpPr>
            <p:nvPr userDrawn="1"/>
          </p:nvSpPr>
          <p:spPr bwMode="auto">
            <a:xfrm>
              <a:off x="866775" y="6448426"/>
              <a:ext cx="950913" cy="157163"/>
            </a:xfrm>
            <a:custGeom>
              <a:avLst/>
              <a:gdLst>
                <a:gd name="T0" fmla="*/ 2478 w 11388"/>
                <a:gd name="T1" fmla="*/ 807 h 1876"/>
                <a:gd name="T2" fmla="*/ 2682 w 11388"/>
                <a:gd name="T3" fmla="*/ 468 h 1876"/>
                <a:gd name="T4" fmla="*/ 3065 w 11388"/>
                <a:gd name="T5" fmla="*/ 346 h 1876"/>
                <a:gd name="T6" fmla="*/ 3449 w 11388"/>
                <a:gd name="T7" fmla="*/ 468 h 1876"/>
                <a:gd name="T8" fmla="*/ 3652 w 11388"/>
                <a:gd name="T9" fmla="*/ 807 h 1876"/>
                <a:gd name="T10" fmla="*/ 3594 w 11388"/>
                <a:gd name="T11" fmla="*/ 1239 h 1876"/>
                <a:gd name="T12" fmla="*/ 3302 w 11388"/>
                <a:gd name="T13" fmla="*/ 1489 h 1876"/>
                <a:gd name="T14" fmla="*/ 2885 w 11388"/>
                <a:gd name="T15" fmla="*/ 1506 h 1876"/>
                <a:gd name="T16" fmla="*/ 2567 w 11388"/>
                <a:gd name="T17" fmla="*/ 1287 h 1876"/>
                <a:gd name="T18" fmla="*/ 4068 w 11388"/>
                <a:gd name="T19" fmla="*/ 885 h 1876"/>
                <a:gd name="T20" fmla="*/ 3805 w 11388"/>
                <a:gd name="T21" fmla="*/ 290 h 1876"/>
                <a:gd name="T22" fmla="*/ 3217 w 11388"/>
                <a:gd name="T23" fmla="*/ 10 h 1876"/>
                <a:gd name="T24" fmla="*/ 2550 w 11388"/>
                <a:gd name="T25" fmla="*/ 126 h 1876"/>
                <a:gd name="T26" fmla="*/ 2125 w 11388"/>
                <a:gd name="T27" fmla="*/ 597 h 1876"/>
                <a:gd name="T28" fmla="*/ 2125 w 11388"/>
                <a:gd name="T29" fmla="*/ 1278 h 1876"/>
                <a:gd name="T30" fmla="*/ 2550 w 11388"/>
                <a:gd name="T31" fmla="*/ 1750 h 1876"/>
                <a:gd name="T32" fmla="*/ 3217 w 11388"/>
                <a:gd name="T33" fmla="*/ 1865 h 1876"/>
                <a:gd name="T34" fmla="*/ 3805 w 11388"/>
                <a:gd name="T35" fmla="*/ 1586 h 1876"/>
                <a:gd name="T36" fmla="*/ 4068 w 11388"/>
                <a:gd name="T37" fmla="*/ 989 h 1876"/>
                <a:gd name="T38" fmla="*/ 4468 w 11388"/>
                <a:gd name="T39" fmla="*/ 1449 h 1876"/>
                <a:gd name="T40" fmla="*/ 4564 w 11388"/>
                <a:gd name="T41" fmla="*/ 1815 h 1876"/>
                <a:gd name="T42" fmla="*/ 4837 w 11388"/>
                <a:gd name="T43" fmla="*/ 1657 h 1876"/>
                <a:gd name="T44" fmla="*/ 5827 w 11388"/>
                <a:gd name="T45" fmla="*/ 404 h 1876"/>
                <a:gd name="T46" fmla="*/ 7343 w 11388"/>
                <a:gd name="T47" fmla="*/ 1298 h 1876"/>
                <a:gd name="T48" fmla="*/ 7714 w 11388"/>
                <a:gd name="T49" fmla="*/ 1737 h 1876"/>
                <a:gd name="T50" fmla="*/ 8311 w 11388"/>
                <a:gd name="T51" fmla="*/ 1875 h 1876"/>
                <a:gd name="T52" fmla="*/ 8919 w 11388"/>
                <a:gd name="T53" fmla="*/ 1660 h 1876"/>
                <a:gd name="T54" fmla="*/ 9228 w 11388"/>
                <a:gd name="T55" fmla="*/ 1099 h 1876"/>
                <a:gd name="T56" fmla="*/ 9098 w 11388"/>
                <a:gd name="T57" fmla="*/ 416 h 1876"/>
                <a:gd name="T58" fmla="*/ 8598 w 11388"/>
                <a:gd name="T59" fmla="*/ 48 h 1876"/>
                <a:gd name="T60" fmla="*/ 7967 w 11388"/>
                <a:gd name="T61" fmla="*/ 36 h 1876"/>
                <a:gd name="T62" fmla="*/ 7500 w 11388"/>
                <a:gd name="T63" fmla="*/ 315 h 1876"/>
                <a:gd name="T64" fmla="*/ 6620 w 11388"/>
                <a:gd name="T65" fmla="*/ 42 h 1876"/>
                <a:gd name="T66" fmla="*/ 7782 w 11388"/>
                <a:gd name="T67" fmla="*/ 566 h 1876"/>
                <a:gd name="T68" fmla="*/ 8097 w 11388"/>
                <a:gd name="T69" fmla="*/ 363 h 1876"/>
                <a:gd name="T70" fmla="*/ 8537 w 11388"/>
                <a:gd name="T71" fmla="*/ 397 h 1876"/>
                <a:gd name="T72" fmla="*/ 8791 w 11388"/>
                <a:gd name="T73" fmla="*/ 663 h 1876"/>
                <a:gd name="T74" fmla="*/ 8823 w 11388"/>
                <a:gd name="T75" fmla="*/ 1100 h 1876"/>
                <a:gd name="T76" fmla="*/ 8632 w 11388"/>
                <a:gd name="T77" fmla="*/ 1424 h 1876"/>
                <a:gd name="T78" fmla="*/ 8227 w 11388"/>
                <a:gd name="T79" fmla="*/ 1529 h 1876"/>
                <a:gd name="T80" fmla="*/ 7849 w 11388"/>
                <a:gd name="T81" fmla="*/ 1391 h 1876"/>
                <a:gd name="T82" fmla="*/ 7690 w 11388"/>
                <a:gd name="T83" fmla="*/ 1037 h 1876"/>
                <a:gd name="T84" fmla="*/ 11180 w 11388"/>
                <a:gd name="T85" fmla="*/ 229 h 1876"/>
                <a:gd name="T86" fmla="*/ 10774 w 11388"/>
                <a:gd name="T87" fmla="*/ 31 h 1876"/>
                <a:gd name="T88" fmla="*/ 10181 w 11388"/>
                <a:gd name="T89" fmla="*/ 37 h 1876"/>
                <a:gd name="T90" fmla="*/ 9650 w 11388"/>
                <a:gd name="T91" fmla="*/ 387 h 1876"/>
                <a:gd name="T92" fmla="*/ 9486 w 11388"/>
                <a:gd name="T93" fmla="*/ 1044 h 1876"/>
                <a:gd name="T94" fmla="*/ 9766 w 11388"/>
                <a:gd name="T95" fmla="*/ 1624 h 1876"/>
                <a:gd name="T96" fmla="*/ 10376 w 11388"/>
                <a:gd name="T97" fmla="*/ 1871 h 1876"/>
                <a:gd name="T98" fmla="*/ 10903 w 11388"/>
                <a:gd name="T99" fmla="*/ 1806 h 1876"/>
                <a:gd name="T100" fmla="*/ 11271 w 11388"/>
                <a:gd name="T101" fmla="*/ 1557 h 1876"/>
                <a:gd name="T102" fmla="*/ 10978 w 11388"/>
                <a:gd name="T103" fmla="*/ 1330 h 1876"/>
                <a:gd name="T104" fmla="*/ 10734 w 11388"/>
                <a:gd name="T105" fmla="*/ 1480 h 1876"/>
                <a:gd name="T106" fmla="*/ 10380 w 11388"/>
                <a:gd name="T107" fmla="*/ 1510 h 1876"/>
                <a:gd name="T108" fmla="*/ 10029 w 11388"/>
                <a:gd name="T109" fmla="*/ 1338 h 1876"/>
                <a:gd name="T110" fmla="*/ 9884 w 11388"/>
                <a:gd name="T111" fmla="*/ 970 h 1876"/>
                <a:gd name="T112" fmla="*/ 9991 w 11388"/>
                <a:gd name="T113" fmla="*/ 577 h 1876"/>
                <a:gd name="T114" fmla="*/ 10316 w 11388"/>
                <a:gd name="T115" fmla="*/ 375 h 1876"/>
                <a:gd name="T116" fmla="*/ 10692 w 11388"/>
                <a:gd name="T117" fmla="*/ 384 h 1876"/>
                <a:gd name="T118" fmla="*/ 10948 w 11388"/>
                <a:gd name="T119" fmla="*/ 517 h 18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88" h="1876">
                  <a:moveTo>
                    <a:pt x="0" y="42"/>
                  </a:moveTo>
                  <a:lnTo>
                    <a:pt x="0" y="1830"/>
                  </a:lnTo>
                  <a:lnTo>
                    <a:pt x="402" y="1830"/>
                  </a:lnTo>
                  <a:lnTo>
                    <a:pt x="402" y="401"/>
                  </a:lnTo>
                  <a:lnTo>
                    <a:pt x="1360" y="401"/>
                  </a:lnTo>
                  <a:lnTo>
                    <a:pt x="1360" y="1830"/>
                  </a:lnTo>
                  <a:lnTo>
                    <a:pt x="1765" y="1830"/>
                  </a:lnTo>
                  <a:lnTo>
                    <a:pt x="1765" y="42"/>
                  </a:lnTo>
                  <a:lnTo>
                    <a:pt x="0" y="42"/>
                  </a:lnTo>
                  <a:close/>
                  <a:moveTo>
                    <a:pt x="2467" y="937"/>
                  </a:moveTo>
                  <a:lnTo>
                    <a:pt x="2467" y="904"/>
                  </a:lnTo>
                  <a:lnTo>
                    <a:pt x="2470" y="870"/>
                  </a:lnTo>
                  <a:lnTo>
                    <a:pt x="2473" y="838"/>
                  </a:lnTo>
                  <a:lnTo>
                    <a:pt x="2478" y="807"/>
                  </a:lnTo>
                  <a:lnTo>
                    <a:pt x="2486" y="776"/>
                  </a:lnTo>
                  <a:lnTo>
                    <a:pt x="2494" y="747"/>
                  </a:lnTo>
                  <a:lnTo>
                    <a:pt x="2503" y="718"/>
                  </a:lnTo>
                  <a:lnTo>
                    <a:pt x="2513" y="689"/>
                  </a:lnTo>
                  <a:lnTo>
                    <a:pt x="2524" y="663"/>
                  </a:lnTo>
                  <a:lnTo>
                    <a:pt x="2538" y="637"/>
                  </a:lnTo>
                  <a:lnTo>
                    <a:pt x="2552" y="613"/>
                  </a:lnTo>
                  <a:lnTo>
                    <a:pt x="2567" y="588"/>
                  </a:lnTo>
                  <a:lnTo>
                    <a:pt x="2584" y="566"/>
                  </a:lnTo>
                  <a:lnTo>
                    <a:pt x="2602" y="544"/>
                  </a:lnTo>
                  <a:lnTo>
                    <a:pt x="2621" y="523"/>
                  </a:lnTo>
                  <a:lnTo>
                    <a:pt x="2640" y="504"/>
                  </a:lnTo>
                  <a:lnTo>
                    <a:pt x="2660" y="485"/>
                  </a:lnTo>
                  <a:lnTo>
                    <a:pt x="2682" y="468"/>
                  </a:lnTo>
                  <a:lnTo>
                    <a:pt x="2705" y="451"/>
                  </a:lnTo>
                  <a:lnTo>
                    <a:pt x="2728" y="436"/>
                  </a:lnTo>
                  <a:lnTo>
                    <a:pt x="2752" y="422"/>
                  </a:lnTo>
                  <a:lnTo>
                    <a:pt x="2778" y="410"/>
                  </a:lnTo>
                  <a:lnTo>
                    <a:pt x="2804" y="397"/>
                  </a:lnTo>
                  <a:lnTo>
                    <a:pt x="2830" y="387"/>
                  </a:lnTo>
                  <a:lnTo>
                    <a:pt x="2858" y="377"/>
                  </a:lnTo>
                  <a:lnTo>
                    <a:pt x="2885" y="369"/>
                  </a:lnTo>
                  <a:lnTo>
                    <a:pt x="2914" y="363"/>
                  </a:lnTo>
                  <a:lnTo>
                    <a:pt x="2944" y="356"/>
                  </a:lnTo>
                  <a:lnTo>
                    <a:pt x="2973" y="352"/>
                  </a:lnTo>
                  <a:lnTo>
                    <a:pt x="3004" y="348"/>
                  </a:lnTo>
                  <a:lnTo>
                    <a:pt x="3035" y="346"/>
                  </a:lnTo>
                  <a:lnTo>
                    <a:pt x="3065" y="346"/>
                  </a:lnTo>
                  <a:lnTo>
                    <a:pt x="3097" y="346"/>
                  </a:lnTo>
                  <a:lnTo>
                    <a:pt x="3128" y="348"/>
                  </a:lnTo>
                  <a:lnTo>
                    <a:pt x="3158" y="352"/>
                  </a:lnTo>
                  <a:lnTo>
                    <a:pt x="3188" y="356"/>
                  </a:lnTo>
                  <a:lnTo>
                    <a:pt x="3218" y="363"/>
                  </a:lnTo>
                  <a:lnTo>
                    <a:pt x="3246" y="369"/>
                  </a:lnTo>
                  <a:lnTo>
                    <a:pt x="3274" y="377"/>
                  </a:lnTo>
                  <a:lnTo>
                    <a:pt x="3302" y="387"/>
                  </a:lnTo>
                  <a:lnTo>
                    <a:pt x="3328" y="397"/>
                  </a:lnTo>
                  <a:lnTo>
                    <a:pt x="3354" y="410"/>
                  </a:lnTo>
                  <a:lnTo>
                    <a:pt x="3379" y="422"/>
                  </a:lnTo>
                  <a:lnTo>
                    <a:pt x="3403" y="436"/>
                  </a:lnTo>
                  <a:lnTo>
                    <a:pt x="3426" y="451"/>
                  </a:lnTo>
                  <a:lnTo>
                    <a:pt x="3449" y="468"/>
                  </a:lnTo>
                  <a:lnTo>
                    <a:pt x="3471" y="485"/>
                  </a:lnTo>
                  <a:lnTo>
                    <a:pt x="3492" y="504"/>
                  </a:lnTo>
                  <a:lnTo>
                    <a:pt x="3511" y="523"/>
                  </a:lnTo>
                  <a:lnTo>
                    <a:pt x="3530" y="544"/>
                  </a:lnTo>
                  <a:lnTo>
                    <a:pt x="3547" y="566"/>
                  </a:lnTo>
                  <a:lnTo>
                    <a:pt x="3564" y="588"/>
                  </a:lnTo>
                  <a:lnTo>
                    <a:pt x="3580" y="613"/>
                  </a:lnTo>
                  <a:lnTo>
                    <a:pt x="3594" y="637"/>
                  </a:lnTo>
                  <a:lnTo>
                    <a:pt x="3606" y="663"/>
                  </a:lnTo>
                  <a:lnTo>
                    <a:pt x="3618" y="689"/>
                  </a:lnTo>
                  <a:lnTo>
                    <a:pt x="3629" y="718"/>
                  </a:lnTo>
                  <a:lnTo>
                    <a:pt x="3638" y="747"/>
                  </a:lnTo>
                  <a:lnTo>
                    <a:pt x="3646" y="776"/>
                  </a:lnTo>
                  <a:lnTo>
                    <a:pt x="3652" y="807"/>
                  </a:lnTo>
                  <a:lnTo>
                    <a:pt x="3657" y="838"/>
                  </a:lnTo>
                  <a:lnTo>
                    <a:pt x="3661" y="870"/>
                  </a:lnTo>
                  <a:lnTo>
                    <a:pt x="3663" y="904"/>
                  </a:lnTo>
                  <a:lnTo>
                    <a:pt x="3665" y="937"/>
                  </a:lnTo>
                  <a:lnTo>
                    <a:pt x="3663" y="972"/>
                  </a:lnTo>
                  <a:lnTo>
                    <a:pt x="3661" y="1005"/>
                  </a:lnTo>
                  <a:lnTo>
                    <a:pt x="3657" y="1037"/>
                  </a:lnTo>
                  <a:lnTo>
                    <a:pt x="3652" y="1069"/>
                  </a:lnTo>
                  <a:lnTo>
                    <a:pt x="3646" y="1100"/>
                  </a:lnTo>
                  <a:lnTo>
                    <a:pt x="3638" y="1129"/>
                  </a:lnTo>
                  <a:lnTo>
                    <a:pt x="3629" y="1158"/>
                  </a:lnTo>
                  <a:lnTo>
                    <a:pt x="3618" y="1186"/>
                  </a:lnTo>
                  <a:lnTo>
                    <a:pt x="3606" y="1212"/>
                  </a:lnTo>
                  <a:lnTo>
                    <a:pt x="3594" y="1239"/>
                  </a:lnTo>
                  <a:lnTo>
                    <a:pt x="3580" y="1263"/>
                  </a:lnTo>
                  <a:lnTo>
                    <a:pt x="3564" y="1287"/>
                  </a:lnTo>
                  <a:lnTo>
                    <a:pt x="3547" y="1310"/>
                  </a:lnTo>
                  <a:lnTo>
                    <a:pt x="3530" y="1332"/>
                  </a:lnTo>
                  <a:lnTo>
                    <a:pt x="3511" y="1352"/>
                  </a:lnTo>
                  <a:lnTo>
                    <a:pt x="3492" y="1371"/>
                  </a:lnTo>
                  <a:lnTo>
                    <a:pt x="3471" y="1391"/>
                  </a:lnTo>
                  <a:lnTo>
                    <a:pt x="3449" y="1408"/>
                  </a:lnTo>
                  <a:lnTo>
                    <a:pt x="3426" y="1424"/>
                  </a:lnTo>
                  <a:lnTo>
                    <a:pt x="3403" y="1440"/>
                  </a:lnTo>
                  <a:lnTo>
                    <a:pt x="3379" y="1453"/>
                  </a:lnTo>
                  <a:lnTo>
                    <a:pt x="3354" y="1466"/>
                  </a:lnTo>
                  <a:lnTo>
                    <a:pt x="3328" y="1479"/>
                  </a:lnTo>
                  <a:lnTo>
                    <a:pt x="3302" y="1489"/>
                  </a:lnTo>
                  <a:lnTo>
                    <a:pt x="3274" y="1498"/>
                  </a:lnTo>
                  <a:lnTo>
                    <a:pt x="3246" y="1506"/>
                  </a:lnTo>
                  <a:lnTo>
                    <a:pt x="3218" y="1513"/>
                  </a:lnTo>
                  <a:lnTo>
                    <a:pt x="3188" y="1519"/>
                  </a:lnTo>
                  <a:lnTo>
                    <a:pt x="3158" y="1523"/>
                  </a:lnTo>
                  <a:lnTo>
                    <a:pt x="3128" y="1527"/>
                  </a:lnTo>
                  <a:lnTo>
                    <a:pt x="3097" y="1529"/>
                  </a:lnTo>
                  <a:lnTo>
                    <a:pt x="3065" y="1530"/>
                  </a:lnTo>
                  <a:lnTo>
                    <a:pt x="3035" y="1529"/>
                  </a:lnTo>
                  <a:lnTo>
                    <a:pt x="3004" y="1527"/>
                  </a:lnTo>
                  <a:lnTo>
                    <a:pt x="2973" y="1523"/>
                  </a:lnTo>
                  <a:lnTo>
                    <a:pt x="2944" y="1519"/>
                  </a:lnTo>
                  <a:lnTo>
                    <a:pt x="2914" y="1513"/>
                  </a:lnTo>
                  <a:lnTo>
                    <a:pt x="2885" y="1506"/>
                  </a:lnTo>
                  <a:lnTo>
                    <a:pt x="2858" y="1498"/>
                  </a:lnTo>
                  <a:lnTo>
                    <a:pt x="2830" y="1489"/>
                  </a:lnTo>
                  <a:lnTo>
                    <a:pt x="2804" y="1479"/>
                  </a:lnTo>
                  <a:lnTo>
                    <a:pt x="2778" y="1466"/>
                  </a:lnTo>
                  <a:lnTo>
                    <a:pt x="2752" y="1453"/>
                  </a:lnTo>
                  <a:lnTo>
                    <a:pt x="2728" y="1440"/>
                  </a:lnTo>
                  <a:lnTo>
                    <a:pt x="2705" y="1424"/>
                  </a:lnTo>
                  <a:lnTo>
                    <a:pt x="2682" y="1408"/>
                  </a:lnTo>
                  <a:lnTo>
                    <a:pt x="2660" y="1391"/>
                  </a:lnTo>
                  <a:lnTo>
                    <a:pt x="2640" y="1371"/>
                  </a:lnTo>
                  <a:lnTo>
                    <a:pt x="2621" y="1352"/>
                  </a:lnTo>
                  <a:lnTo>
                    <a:pt x="2602" y="1332"/>
                  </a:lnTo>
                  <a:lnTo>
                    <a:pt x="2584" y="1310"/>
                  </a:lnTo>
                  <a:lnTo>
                    <a:pt x="2567" y="1287"/>
                  </a:lnTo>
                  <a:lnTo>
                    <a:pt x="2552" y="1263"/>
                  </a:lnTo>
                  <a:lnTo>
                    <a:pt x="2538" y="1239"/>
                  </a:lnTo>
                  <a:lnTo>
                    <a:pt x="2524" y="1212"/>
                  </a:lnTo>
                  <a:lnTo>
                    <a:pt x="2513" y="1186"/>
                  </a:lnTo>
                  <a:lnTo>
                    <a:pt x="2503" y="1158"/>
                  </a:lnTo>
                  <a:lnTo>
                    <a:pt x="2494" y="1129"/>
                  </a:lnTo>
                  <a:lnTo>
                    <a:pt x="2486" y="1100"/>
                  </a:lnTo>
                  <a:lnTo>
                    <a:pt x="2478" y="1069"/>
                  </a:lnTo>
                  <a:lnTo>
                    <a:pt x="2473" y="1037"/>
                  </a:lnTo>
                  <a:lnTo>
                    <a:pt x="2470" y="1005"/>
                  </a:lnTo>
                  <a:lnTo>
                    <a:pt x="2467" y="972"/>
                  </a:lnTo>
                  <a:lnTo>
                    <a:pt x="2467" y="937"/>
                  </a:lnTo>
                  <a:close/>
                  <a:moveTo>
                    <a:pt x="4069" y="937"/>
                  </a:moveTo>
                  <a:lnTo>
                    <a:pt x="4068" y="885"/>
                  </a:lnTo>
                  <a:lnTo>
                    <a:pt x="4064" y="834"/>
                  </a:lnTo>
                  <a:lnTo>
                    <a:pt x="4057" y="784"/>
                  </a:lnTo>
                  <a:lnTo>
                    <a:pt x="4048" y="736"/>
                  </a:lnTo>
                  <a:lnTo>
                    <a:pt x="4037" y="688"/>
                  </a:lnTo>
                  <a:lnTo>
                    <a:pt x="4023" y="642"/>
                  </a:lnTo>
                  <a:lnTo>
                    <a:pt x="4007" y="597"/>
                  </a:lnTo>
                  <a:lnTo>
                    <a:pt x="3989" y="554"/>
                  </a:lnTo>
                  <a:lnTo>
                    <a:pt x="3968" y="512"/>
                  </a:lnTo>
                  <a:lnTo>
                    <a:pt x="3946" y="471"/>
                  </a:lnTo>
                  <a:lnTo>
                    <a:pt x="3921" y="432"/>
                  </a:lnTo>
                  <a:lnTo>
                    <a:pt x="3896" y="394"/>
                  </a:lnTo>
                  <a:lnTo>
                    <a:pt x="3867" y="358"/>
                  </a:lnTo>
                  <a:lnTo>
                    <a:pt x="3836" y="323"/>
                  </a:lnTo>
                  <a:lnTo>
                    <a:pt x="3805" y="290"/>
                  </a:lnTo>
                  <a:lnTo>
                    <a:pt x="3772" y="258"/>
                  </a:lnTo>
                  <a:lnTo>
                    <a:pt x="3736" y="228"/>
                  </a:lnTo>
                  <a:lnTo>
                    <a:pt x="3699" y="200"/>
                  </a:lnTo>
                  <a:lnTo>
                    <a:pt x="3661" y="174"/>
                  </a:lnTo>
                  <a:lnTo>
                    <a:pt x="3623" y="148"/>
                  </a:lnTo>
                  <a:lnTo>
                    <a:pt x="3582" y="126"/>
                  </a:lnTo>
                  <a:lnTo>
                    <a:pt x="3540" y="104"/>
                  </a:lnTo>
                  <a:lnTo>
                    <a:pt x="3496" y="85"/>
                  </a:lnTo>
                  <a:lnTo>
                    <a:pt x="3452" y="68"/>
                  </a:lnTo>
                  <a:lnTo>
                    <a:pt x="3407" y="52"/>
                  </a:lnTo>
                  <a:lnTo>
                    <a:pt x="3360" y="39"/>
                  </a:lnTo>
                  <a:lnTo>
                    <a:pt x="3313" y="27"/>
                  </a:lnTo>
                  <a:lnTo>
                    <a:pt x="3265" y="18"/>
                  </a:lnTo>
                  <a:lnTo>
                    <a:pt x="3217" y="10"/>
                  </a:lnTo>
                  <a:lnTo>
                    <a:pt x="3167" y="4"/>
                  </a:lnTo>
                  <a:lnTo>
                    <a:pt x="3116" y="1"/>
                  </a:lnTo>
                  <a:lnTo>
                    <a:pt x="3065" y="0"/>
                  </a:lnTo>
                  <a:lnTo>
                    <a:pt x="3015" y="1"/>
                  </a:lnTo>
                  <a:lnTo>
                    <a:pt x="2965" y="4"/>
                  </a:lnTo>
                  <a:lnTo>
                    <a:pt x="2915" y="10"/>
                  </a:lnTo>
                  <a:lnTo>
                    <a:pt x="2867" y="18"/>
                  </a:lnTo>
                  <a:lnTo>
                    <a:pt x="2819" y="27"/>
                  </a:lnTo>
                  <a:lnTo>
                    <a:pt x="2771" y="39"/>
                  </a:lnTo>
                  <a:lnTo>
                    <a:pt x="2725" y="52"/>
                  </a:lnTo>
                  <a:lnTo>
                    <a:pt x="2680" y="68"/>
                  </a:lnTo>
                  <a:lnTo>
                    <a:pt x="2635" y="85"/>
                  </a:lnTo>
                  <a:lnTo>
                    <a:pt x="2592" y="104"/>
                  </a:lnTo>
                  <a:lnTo>
                    <a:pt x="2550" y="126"/>
                  </a:lnTo>
                  <a:lnTo>
                    <a:pt x="2509" y="148"/>
                  </a:lnTo>
                  <a:lnTo>
                    <a:pt x="2470" y="174"/>
                  </a:lnTo>
                  <a:lnTo>
                    <a:pt x="2431" y="200"/>
                  </a:lnTo>
                  <a:lnTo>
                    <a:pt x="2396" y="228"/>
                  </a:lnTo>
                  <a:lnTo>
                    <a:pt x="2360" y="258"/>
                  </a:lnTo>
                  <a:lnTo>
                    <a:pt x="2326" y="290"/>
                  </a:lnTo>
                  <a:lnTo>
                    <a:pt x="2294" y="323"/>
                  </a:lnTo>
                  <a:lnTo>
                    <a:pt x="2265" y="358"/>
                  </a:lnTo>
                  <a:lnTo>
                    <a:pt x="2236" y="394"/>
                  </a:lnTo>
                  <a:lnTo>
                    <a:pt x="2210" y="432"/>
                  </a:lnTo>
                  <a:lnTo>
                    <a:pt x="2185" y="471"/>
                  </a:lnTo>
                  <a:lnTo>
                    <a:pt x="2164" y="512"/>
                  </a:lnTo>
                  <a:lnTo>
                    <a:pt x="2143" y="554"/>
                  </a:lnTo>
                  <a:lnTo>
                    <a:pt x="2125" y="597"/>
                  </a:lnTo>
                  <a:lnTo>
                    <a:pt x="2108" y="642"/>
                  </a:lnTo>
                  <a:lnTo>
                    <a:pt x="2095" y="688"/>
                  </a:lnTo>
                  <a:lnTo>
                    <a:pt x="2083" y="736"/>
                  </a:lnTo>
                  <a:lnTo>
                    <a:pt x="2075" y="784"/>
                  </a:lnTo>
                  <a:lnTo>
                    <a:pt x="2067" y="834"/>
                  </a:lnTo>
                  <a:lnTo>
                    <a:pt x="2063" y="885"/>
                  </a:lnTo>
                  <a:lnTo>
                    <a:pt x="2062" y="937"/>
                  </a:lnTo>
                  <a:lnTo>
                    <a:pt x="2063" y="989"/>
                  </a:lnTo>
                  <a:lnTo>
                    <a:pt x="2067" y="1041"/>
                  </a:lnTo>
                  <a:lnTo>
                    <a:pt x="2075" y="1091"/>
                  </a:lnTo>
                  <a:lnTo>
                    <a:pt x="2083" y="1140"/>
                  </a:lnTo>
                  <a:lnTo>
                    <a:pt x="2095" y="1187"/>
                  </a:lnTo>
                  <a:lnTo>
                    <a:pt x="2108" y="1234"/>
                  </a:lnTo>
                  <a:lnTo>
                    <a:pt x="2125" y="1278"/>
                  </a:lnTo>
                  <a:lnTo>
                    <a:pt x="2143" y="1321"/>
                  </a:lnTo>
                  <a:lnTo>
                    <a:pt x="2164" y="1363"/>
                  </a:lnTo>
                  <a:lnTo>
                    <a:pt x="2185" y="1404"/>
                  </a:lnTo>
                  <a:lnTo>
                    <a:pt x="2210" y="1444"/>
                  </a:lnTo>
                  <a:lnTo>
                    <a:pt x="2236" y="1482"/>
                  </a:lnTo>
                  <a:lnTo>
                    <a:pt x="2265" y="1518"/>
                  </a:lnTo>
                  <a:lnTo>
                    <a:pt x="2294" y="1553"/>
                  </a:lnTo>
                  <a:lnTo>
                    <a:pt x="2326" y="1586"/>
                  </a:lnTo>
                  <a:lnTo>
                    <a:pt x="2360" y="1617"/>
                  </a:lnTo>
                  <a:lnTo>
                    <a:pt x="2396" y="1647"/>
                  </a:lnTo>
                  <a:lnTo>
                    <a:pt x="2431" y="1676"/>
                  </a:lnTo>
                  <a:lnTo>
                    <a:pt x="2470" y="1702"/>
                  </a:lnTo>
                  <a:lnTo>
                    <a:pt x="2509" y="1727"/>
                  </a:lnTo>
                  <a:lnTo>
                    <a:pt x="2550" y="1750"/>
                  </a:lnTo>
                  <a:lnTo>
                    <a:pt x="2592" y="1772"/>
                  </a:lnTo>
                  <a:lnTo>
                    <a:pt x="2635" y="1790"/>
                  </a:lnTo>
                  <a:lnTo>
                    <a:pt x="2680" y="1808"/>
                  </a:lnTo>
                  <a:lnTo>
                    <a:pt x="2725" y="1824"/>
                  </a:lnTo>
                  <a:lnTo>
                    <a:pt x="2771" y="1837"/>
                  </a:lnTo>
                  <a:lnTo>
                    <a:pt x="2819" y="1848"/>
                  </a:lnTo>
                  <a:lnTo>
                    <a:pt x="2867" y="1858"/>
                  </a:lnTo>
                  <a:lnTo>
                    <a:pt x="2915" y="1865"/>
                  </a:lnTo>
                  <a:lnTo>
                    <a:pt x="2965" y="1871"/>
                  </a:lnTo>
                  <a:lnTo>
                    <a:pt x="3015" y="1874"/>
                  </a:lnTo>
                  <a:lnTo>
                    <a:pt x="3065" y="1876"/>
                  </a:lnTo>
                  <a:lnTo>
                    <a:pt x="3116" y="1874"/>
                  </a:lnTo>
                  <a:lnTo>
                    <a:pt x="3167" y="1871"/>
                  </a:lnTo>
                  <a:lnTo>
                    <a:pt x="3217" y="1865"/>
                  </a:lnTo>
                  <a:lnTo>
                    <a:pt x="3265" y="1858"/>
                  </a:lnTo>
                  <a:lnTo>
                    <a:pt x="3313" y="1848"/>
                  </a:lnTo>
                  <a:lnTo>
                    <a:pt x="3360" y="1837"/>
                  </a:lnTo>
                  <a:lnTo>
                    <a:pt x="3407" y="1824"/>
                  </a:lnTo>
                  <a:lnTo>
                    <a:pt x="3452" y="1808"/>
                  </a:lnTo>
                  <a:lnTo>
                    <a:pt x="3496" y="1790"/>
                  </a:lnTo>
                  <a:lnTo>
                    <a:pt x="3540" y="1772"/>
                  </a:lnTo>
                  <a:lnTo>
                    <a:pt x="3582" y="1750"/>
                  </a:lnTo>
                  <a:lnTo>
                    <a:pt x="3623" y="1727"/>
                  </a:lnTo>
                  <a:lnTo>
                    <a:pt x="3661" y="1702"/>
                  </a:lnTo>
                  <a:lnTo>
                    <a:pt x="3699" y="1676"/>
                  </a:lnTo>
                  <a:lnTo>
                    <a:pt x="3736" y="1647"/>
                  </a:lnTo>
                  <a:lnTo>
                    <a:pt x="3772" y="1617"/>
                  </a:lnTo>
                  <a:lnTo>
                    <a:pt x="3805" y="1586"/>
                  </a:lnTo>
                  <a:lnTo>
                    <a:pt x="3836" y="1553"/>
                  </a:lnTo>
                  <a:lnTo>
                    <a:pt x="3867" y="1518"/>
                  </a:lnTo>
                  <a:lnTo>
                    <a:pt x="3896" y="1482"/>
                  </a:lnTo>
                  <a:lnTo>
                    <a:pt x="3921" y="1444"/>
                  </a:lnTo>
                  <a:lnTo>
                    <a:pt x="3946" y="1404"/>
                  </a:lnTo>
                  <a:lnTo>
                    <a:pt x="3968" y="1363"/>
                  </a:lnTo>
                  <a:lnTo>
                    <a:pt x="3989" y="1321"/>
                  </a:lnTo>
                  <a:lnTo>
                    <a:pt x="4007" y="1278"/>
                  </a:lnTo>
                  <a:lnTo>
                    <a:pt x="4023" y="1234"/>
                  </a:lnTo>
                  <a:lnTo>
                    <a:pt x="4037" y="1187"/>
                  </a:lnTo>
                  <a:lnTo>
                    <a:pt x="4048" y="1140"/>
                  </a:lnTo>
                  <a:lnTo>
                    <a:pt x="4057" y="1091"/>
                  </a:lnTo>
                  <a:lnTo>
                    <a:pt x="4064" y="1041"/>
                  </a:lnTo>
                  <a:lnTo>
                    <a:pt x="4068" y="989"/>
                  </a:lnTo>
                  <a:lnTo>
                    <a:pt x="4069" y="937"/>
                  </a:lnTo>
                  <a:close/>
                  <a:moveTo>
                    <a:pt x="4805" y="42"/>
                  </a:moveTo>
                  <a:lnTo>
                    <a:pt x="4564" y="1322"/>
                  </a:lnTo>
                  <a:lnTo>
                    <a:pt x="4560" y="1340"/>
                  </a:lnTo>
                  <a:lnTo>
                    <a:pt x="4555" y="1356"/>
                  </a:lnTo>
                  <a:lnTo>
                    <a:pt x="4549" y="1371"/>
                  </a:lnTo>
                  <a:lnTo>
                    <a:pt x="4542" y="1385"/>
                  </a:lnTo>
                  <a:lnTo>
                    <a:pt x="4535" y="1398"/>
                  </a:lnTo>
                  <a:lnTo>
                    <a:pt x="4525" y="1409"/>
                  </a:lnTo>
                  <a:lnTo>
                    <a:pt x="4515" y="1419"/>
                  </a:lnTo>
                  <a:lnTo>
                    <a:pt x="4505" y="1429"/>
                  </a:lnTo>
                  <a:lnTo>
                    <a:pt x="4494" y="1437"/>
                  </a:lnTo>
                  <a:lnTo>
                    <a:pt x="4481" y="1443"/>
                  </a:lnTo>
                  <a:lnTo>
                    <a:pt x="4468" y="1449"/>
                  </a:lnTo>
                  <a:lnTo>
                    <a:pt x="4454" y="1453"/>
                  </a:lnTo>
                  <a:lnTo>
                    <a:pt x="4440" y="1457"/>
                  </a:lnTo>
                  <a:lnTo>
                    <a:pt x="4423" y="1459"/>
                  </a:lnTo>
                  <a:lnTo>
                    <a:pt x="4407" y="1461"/>
                  </a:lnTo>
                  <a:lnTo>
                    <a:pt x="4389" y="1461"/>
                  </a:lnTo>
                  <a:lnTo>
                    <a:pt x="4195" y="1461"/>
                  </a:lnTo>
                  <a:lnTo>
                    <a:pt x="4195" y="1830"/>
                  </a:lnTo>
                  <a:lnTo>
                    <a:pt x="4409" y="1830"/>
                  </a:lnTo>
                  <a:lnTo>
                    <a:pt x="4436" y="1830"/>
                  </a:lnTo>
                  <a:lnTo>
                    <a:pt x="4463" y="1829"/>
                  </a:lnTo>
                  <a:lnTo>
                    <a:pt x="4490" y="1827"/>
                  </a:lnTo>
                  <a:lnTo>
                    <a:pt x="4515" y="1824"/>
                  </a:lnTo>
                  <a:lnTo>
                    <a:pt x="4540" y="1820"/>
                  </a:lnTo>
                  <a:lnTo>
                    <a:pt x="4564" y="1815"/>
                  </a:lnTo>
                  <a:lnTo>
                    <a:pt x="4588" y="1809"/>
                  </a:lnTo>
                  <a:lnTo>
                    <a:pt x="4611" y="1803"/>
                  </a:lnTo>
                  <a:lnTo>
                    <a:pt x="4634" y="1796"/>
                  </a:lnTo>
                  <a:lnTo>
                    <a:pt x="4655" y="1788"/>
                  </a:lnTo>
                  <a:lnTo>
                    <a:pt x="4677" y="1779"/>
                  </a:lnTo>
                  <a:lnTo>
                    <a:pt x="4697" y="1770"/>
                  </a:lnTo>
                  <a:lnTo>
                    <a:pt x="4718" y="1758"/>
                  </a:lnTo>
                  <a:lnTo>
                    <a:pt x="4736" y="1747"/>
                  </a:lnTo>
                  <a:lnTo>
                    <a:pt x="4755" y="1735"/>
                  </a:lnTo>
                  <a:lnTo>
                    <a:pt x="4773" y="1721"/>
                  </a:lnTo>
                  <a:lnTo>
                    <a:pt x="4790" y="1706"/>
                  </a:lnTo>
                  <a:lnTo>
                    <a:pt x="4807" y="1691"/>
                  </a:lnTo>
                  <a:lnTo>
                    <a:pt x="4822" y="1675"/>
                  </a:lnTo>
                  <a:lnTo>
                    <a:pt x="4837" y="1657"/>
                  </a:lnTo>
                  <a:lnTo>
                    <a:pt x="4852" y="1640"/>
                  </a:lnTo>
                  <a:lnTo>
                    <a:pt x="4865" y="1620"/>
                  </a:lnTo>
                  <a:lnTo>
                    <a:pt x="4878" y="1600"/>
                  </a:lnTo>
                  <a:lnTo>
                    <a:pt x="4890" y="1579"/>
                  </a:lnTo>
                  <a:lnTo>
                    <a:pt x="4902" y="1557"/>
                  </a:lnTo>
                  <a:lnTo>
                    <a:pt x="4912" y="1534"/>
                  </a:lnTo>
                  <a:lnTo>
                    <a:pt x="4922" y="1510"/>
                  </a:lnTo>
                  <a:lnTo>
                    <a:pt x="4931" y="1485"/>
                  </a:lnTo>
                  <a:lnTo>
                    <a:pt x="4939" y="1458"/>
                  </a:lnTo>
                  <a:lnTo>
                    <a:pt x="4947" y="1432"/>
                  </a:lnTo>
                  <a:lnTo>
                    <a:pt x="4954" y="1403"/>
                  </a:lnTo>
                  <a:lnTo>
                    <a:pt x="4959" y="1374"/>
                  </a:lnTo>
                  <a:lnTo>
                    <a:pt x="5141" y="404"/>
                  </a:lnTo>
                  <a:lnTo>
                    <a:pt x="5827" y="404"/>
                  </a:lnTo>
                  <a:lnTo>
                    <a:pt x="5827" y="1830"/>
                  </a:lnTo>
                  <a:lnTo>
                    <a:pt x="6232" y="1830"/>
                  </a:lnTo>
                  <a:lnTo>
                    <a:pt x="6232" y="42"/>
                  </a:lnTo>
                  <a:lnTo>
                    <a:pt x="4805" y="42"/>
                  </a:lnTo>
                  <a:close/>
                  <a:moveTo>
                    <a:pt x="6620" y="42"/>
                  </a:moveTo>
                  <a:lnTo>
                    <a:pt x="6620" y="1830"/>
                  </a:lnTo>
                  <a:lnTo>
                    <a:pt x="7018" y="1830"/>
                  </a:lnTo>
                  <a:lnTo>
                    <a:pt x="7018" y="1073"/>
                  </a:lnTo>
                  <a:lnTo>
                    <a:pt x="7290" y="1073"/>
                  </a:lnTo>
                  <a:lnTo>
                    <a:pt x="7297" y="1121"/>
                  </a:lnTo>
                  <a:lnTo>
                    <a:pt x="7305" y="1167"/>
                  </a:lnTo>
                  <a:lnTo>
                    <a:pt x="7317" y="1212"/>
                  </a:lnTo>
                  <a:lnTo>
                    <a:pt x="7329" y="1256"/>
                  </a:lnTo>
                  <a:lnTo>
                    <a:pt x="7343" y="1298"/>
                  </a:lnTo>
                  <a:lnTo>
                    <a:pt x="7360" y="1339"/>
                  </a:lnTo>
                  <a:lnTo>
                    <a:pt x="7378" y="1377"/>
                  </a:lnTo>
                  <a:lnTo>
                    <a:pt x="7397" y="1415"/>
                  </a:lnTo>
                  <a:lnTo>
                    <a:pt x="7419" y="1452"/>
                  </a:lnTo>
                  <a:lnTo>
                    <a:pt x="7442" y="1488"/>
                  </a:lnTo>
                  <a:lnTo>
                    <a:pt x="7467" y="1520"/>
                  </a:lnTo>
                  <a:lnTo>
                    <a:pt x="7493" y="1553"/>
                  </a:lnTo>
                  <a:lnTo>
                    <a:pt x="7520" y="1584"/>
                  </a:lnTo>
                  <a:lnTo>
                    <a:pt x="7550" y="1613"/>
                  </a:lnTo>
                  <a:lnTo>
                    <a:pt x="7580" y="1641"/>
                  </a:lnTo>
                  <a:lnTo>
                    <a:pt x="7612" y="1667"/>
                  </a:lnTo>
                  <a:lnTo>
                    <a:pt x="7645" y="1692"/>
                  </a:lnTo>
                  <a:lnTo>
                    <a:pt x="7679" y="1715"/>
                  </a:lnTo>
                  <a:lnTo>
                    <a:pt x="7714" y="1737"/>
                  </a:lnTo>
                  <a:lnTo>
                    <a:pt x="7751" y="1757"/>
                  </a:lnTo>
                  <a:lnTo>
                    <a:pt x="7789" y="1776"/>
                  </a:lnTo>
                  <a:lnTo>
                    <a:pt x="7828" y="1793"/>
                  </a:lnTo>
                  <a:lnTo>
                    <a:pt x="7867" y="1808"/>
                  </a:lnTo>
                  <a:lnTo>
                    <a:pt x="7908" y="1823"/>
                  </a:lnTo>
                  <a:lnTo>
                    <a:pt x="7950" y="1835"/>
                  </a:lnTo>
                  <a:lnTo>
                    <a:pt x="7991" y="1845"/>
                  </a:lnTo>
                  <a:lnTo>
                    <a:pt x="8034" y="1854"/>
                  </a:lnTo>
                  <a:lnTo>
                    <a:pt x="8078" y="1861"/>
                  </a:lnTo>
                  <a:lnTo>
                    <a:pt x="8123" y="1868"/>
                  </a:lnTo>
                  <a:lnTo>
                    <a:pt x="8168" y="1872"/>
                  </a:lnTo>
                  <a:lnTo>
                    <a:pt x="8214" y="1875"/>
                  </a:lnTo>
                  <a:lnTo>
                    <a:pt x="8261" y="1876"/>
                  </a:lnTo>
                  <a:lnTo>
                    <a:pt x="8311" y="1875"/>
                  </a:lnTo>
                  <a:lnTo>
                    <a:pt x="8362" y="1872"/>
                  </a:lnTo>
                  <a:lnTo>
                    <a:pt x="8410" y="1867"/>
                  </a:lnTo>
                  <a:lnTo>
                    <a:pt x="8459" y="1859"/>
                  </a:lnTo>
                  <a:lnTo>
                    <a:pt x="8506" y="1850"/>
                  </a:lnTo>
                  <a:lnTo>
                    <a:pt x="8552" y="1840"/>
                  </a:lnTo>
                  <a:lnTo>
                    <a:pt x="8598" y="1828"/>
                  </a:lnTo>
                  <a:lnTo>
                    <a:pt x="8642" y="1812"/>
                  </a:lnTo>
                  <a:lnTo>
                    <a:pt x="8686" y="1796"/>
                  </a:lnTo>
                  <a:lnTo>
                    <a:pt x="8728" y="1779"/>
                  </a:lnTo>
                  <a:lnTo>
                    <a:pt x="8769" y="1758"/>
                  </a:lnTo>
                  <a:lnTo>
                    <a:pt x="8808" y="1736"/>
                  </a:lnTo>
                  <a:lnTo>
                    <a:pt x="8846" y="1712"/>
                  </a:lnTo>
                  <a:lnTo>
                    <a:pt x="8883" y="1687"/>
                  </a:lnTo>
                  <a:lnTo>
                    <a:pt x="8919" y="1660"/>
                  </a:lnTo>
                  <a:lnTo>
                    <a:pt x="8953" y="1631"/>
                  </a:lnTo>
                  <a:lnTo>
                    <a:pt x="8985" y="1600"/>
                  </a:lnTo>
                  <a:lnTo>
                    <a:pt x="9016" y="1567"/>
                  </a:lnTo>
                  <a:lnTo>
                    <a:pt x="9045" y="1533"/>
                  </a:lnTo>
                  <a:lnTo>
                    <a:pt x="9072" y="1497"/>
                  </a:lnTo>
                  <a:lnTo>
                    <a:pt x="9098" y="1459"/>
                  </a:lnTo>
                  <a:lnTo>
                    <a:pt x="9121" y="1420"/>
                  </a:lnTo>
                  <a:lnTo>
                    <a:pt x="9143" y="1380"/>
                  </a:lnTo>
                  <a:lnTo>
                    <a:pt x="9162" y="1337"/>
                  </a:lnTo>
                  <a:lnTo>
                    <a:pt x="9180" y="1293"/>
                  </a:lnTo>
                  <a:lnTo>
                    <a:pt x="9195" y="1247"/>
                  </a:lnTo>
                  <a:lnTo>
                    <a:pt x="9208" y="1199"/>
                  </a:lnTo>
                  <a:lnTo>
                    <a:pt x="9218" y="1150"/>
                  </a:lnTo>
                  <a:lnTo>
                    <a:pt x="9228" y="1099"/>
                  </a:lnTo>
                  <a:lnTo>
                    <a:pt x="9234" y="1047"/>
                  </a:lnTo>
                  <a:lnTo>
                    <a:pt x="9238" y="993"/>
                  </a:lnTo>
                  <a:lnTo>
                    <a:pt x="9239" y="937"/>
                  </a:lnTo>
                  <a:lnTo>
                    <a:pt x="9238" y="882"/>
                  </a:lnTo>
                  <a:lnTo>
                    <a:pt x="9234" y="828"/>
                  </a:lnTo>
                  <a:lnTo>
                    <a:pt x="9228" y="776"/>
                  </a:lnTo>
                  <a:lnTo>
                    <a:pt x="9218" y="726"/>
                  </a:lnTo>
                  <a:lnTo>
                    <a:pt x="9208" y="677"/>
                  </a:lnTo>
                  <a:lnTo>
                    <a:pt x="9195" y="629"/>
                  </a:lnTo>
                  <a:lnTo>
                    <a:pt x="9180" y="583"/>
                  </a:lnTo>
                  <a:lnTo>
                    <a:pt x="9162" y="539"/>
                  </a:lnTo>
                  <a:lnTo>
                    <a:pt x="9143" y="496"/>
                  </a:lnTo>
                  <a:lnTo>
                    <a:pt x="9121" y="456"/>
                  </a:lnTo>
                  <a:lnTo>
                    <a:pt x="9098" y="416"/>
                  </a:lnTo>
                  <a:lnTo>
                    <a:pt x="9072" y="378"/>
                  </a:lnTo>
                  <a:lnTo>
                    <a:pt x="9045" y="342"/>
                  </a:lnTo>
                  <a:lnTo>
                    <a:pt x="9016" y="309"/>
                  </a:lnTo>
                  <a:lnTo>
                    <a:pt x="8985" y="276"/>
                  </a:lnTo>
                  <a:lnTo>
                    <a:pt x="8953" y="245"/>
                  </a:lnTo>
                  <a:lnTo>
                    <a:pt x="8919" y="216"/>
                  </a:lnTo>
                  <a:lnTo>
                    <a:pt x="8883" y="188"/>
                  </a:lnTo>
                  <a:lnTo>
                    <a:pt x="8846" y="163"/>
                  </a:lnTo>
                  <a:lnTo>
                    <a:pt x="8808" y="139"/>
                  </a:lnTo>
                  <a:lnTo>
                    <a:pt x="8769" y="118"/>
                  </a:lnTo>
                  <a:lnTo>
                    <a:pt x="8728" y="97"/>
                  </a:lnTo>
                  <a:lnTo>
                    <a:pt x="8686" y="79"/>
                  </a:lnTo>
                  <a:lnTo>
                    <a:pt x="8642" y="62"/>
                  </a:lnTo>
                  <a:lnTo>
                    <a:pt x="8598" y="48"/>
                  </a:lnTo>
                  <a:lnTo>
                    <a:pt x="8552" y="36"/>
                  </a:lnTo>
                  <a:lnTo>
                    <a:pt x="8506" y="25"/>
                  </a:lnTo>
                  <a:lnTo>
                    <a:pt x="8459" y="17"/>
                  </a:lnTo>
                  <a:lnTo>
                    <a:pt x="8410" y="9"/>
                  </a:lnTo>
                  <a:lnTo>
                    <a:pt x="8362" y="4"/>
                  </a:lnTo>
                  <a:lnTo>
                    <a:pt x="8311" y="1"/>
                  </a:lnTo>
                  <a:lnTo>
                    <a:pt x="8261" y="0"/>
                  </a:lnTo>
                  <a:lnTo>
                    <a:pt x="8217" y="1"/>
                  </a:lnTo>
                  <a:lnTo>
                    <a:pt x="8174" y="3"/>
                  </a:lnTo>
                  <a:lnTo>
                    <a:pt x="8132" y="7"/>
                  </a:lnTo>
                  <a:lnTo>
                    <a:pt x="8090" y="12"/>
                  </a:lnTo>
                  <a:lnTo>
                    <a:pt x="8048" y="19"/>
                  </a:lnTo>
                  <a:lnTo>
                    <a:pt x="8007" y="27"/>
                  </a:lnTo>
                  <a:lnTo>
                    <a:pt x="7967" y="36"/>
                  </a:lnTo>
                  <a:lnTo>
                    <a:pt x="7927" y="47"/>
                  </a:lnTo>
                  <a:lnTo>
                    <a:pt x="7888" y="59"/>
                  </a:lnTo>
                  <a:lnTo>
                    <a:pt x="7850" y="74"/>
                  </a:lnTo>
                  <a:lnTo>
                    <a:pt x="7814" y="89"/>
                  </a:lnTo>
                  <a:lnTo>
                    <a:pt x="7778" y="105"/>
                  </a:lnTo>
                  <a:lnTo>
                    <a:pt x="7742" y="123"/>
                  </a:lnTo>
                  <a:lnTo>
                    <a:pt x="7708" y="142"/>
                  </a:lnTo>
                  <a:lnTo>
                    <a:pt x="7675" y="163"/>
                  </a:lnTo>
                  <a:lnTo>
                    <a:pt x="7643" y="185"/>
                  </a:lnTo>
                  <a:lnTo>
                    <a:pt x="7612" y="208"/>
                  </a:lnTo>
                  <a:lnTo>
                    <a:pt x="7582" y="233"/>
                  </a:lnTo>
                  <a:lnTo>
                    <a:pt x="7553" y="258"/>
                  </a:lnTo>
                  <a:lnTo>
                    <a:pt x="7526" y="286"/>
                  </a:lnTo>
                  <a:lnTo>
                    <a:pt x="7500" y="315"/>
                  </a:lnTo>
                  <a:lnTo>
                    <a:pt x="7475" y="344"/>
                  </a:lnTo>
                  <a:lnTo>
                    <a:pt x="7452" y="376"/>
                  </a:lnTo>
                  <a:lnTo>
                    <a:pt x="7429" y="408"/>
                  </a:lnTo>
                  <a:lnTo>
                    <a:pt x="7409" y="441"/>
                  </a:lnTo>
                  <a:lnTo>
                    <a:pt x="7389" y="477"/>
                  </a:lnTo>
                  <a:lnTo>
                    <a:pt x="7371" y="513"/>
                  </a:lnTo>
                  <a:lnTo>
                    <a:pt x="7354" y="550"/>
                  </a:lnTo>
                  <a:lnTo>
                    <a:pt x="7340" y="588"/>
                  </a:lnTo>
                  <a:lnTo>
                    <a:pt x="7327" y="628"/>
                  </a:lnTo>
                  <a:lnTo>
                    <a:pt x="7316" y="669"/>
                  </a:lnTo>
                  <a:lnTo>
                    <a:pt x="7306" y="712"/>
                  </a:lnTo>
                  <a:lnTo>
                    <a:pt x="7018" y="712"/>
                  </a:lnTo>
                  <a:lnTo>
                    <a:pt x="7018" y="42"/>
                  </a:lnTo>
                  <a:lnTo>
                    <a:pt x="6620" y="42"/>
                  </a:lnTo>
                  <a:close/>
                  <a:moveTo>
                    <a:pt x="7685" y="937"/>
                  </a:moveTo>
                  <a:lnTo>
                    <a:pt x="7686" y="904"/>
                  </a:lnTo>
                  <a:lnTo>
                    <a:pt x="7687" y="870"/>
                  </a:lnTo>
                  <a:lnTo>
                    <a:pt x="7690" y="838"/>
                  </a:lnTo>
                  <a:lnTo>
                    <a:pt x="7694" y="807"/>
                  </a:lnTo>
                  <a:lnTo>
                    <a:pt x="7699" y="776"/>
                  </a:lnTo>
                  <a:lnTo>
                    <a:pt x="7705" y="747"/>
                  </a:lnTo>
                  <a:lnTo>
                    <a:pt x="7713" y="718"/>
                  </a:lnTo>
                  <a:lnTo>
                    <a:pt x="7722" y="689"/>
                  </a:lnTo>
                  <a:lnTo>
                    <a:pt x="7732" y="663"/>
                  </a:lnTo>
                  <a:lnTo>
                    <a:pt x="7742" y="637"/>
                  </a:lnTo>
                  <a:lnTo>
                    <a:pt x="7754" y="613"/>
                  </a:lnTo>
                  <a:lnTo>
                    <a:pt x="7768" y="588"/>
                  </a:lnTo>
                  <a:lnTo>
                    <a:pt x="7782" y="566"/>
                  </a:lnTo>
                  <a:lnTo>
                    <a:pt x="7797" y="544"/>
                  </a:lnTo>
                  <a:lnTo>
                    <a:pt x="7814" y="523"/>
                  </a:lnTo>
                  <a:lnTo>
                    <a:pt x="7831" y="504"/>
                  </a:lnTo>
                  <a:lnTo>
                    <a:pt x="7849" y="485"/>
                  </a:lnTo>
                  <a:lnTo>
                    <a:pt x="7870" y="468"/>
                  </a:lnTo>
                  <a:lnTo>
                    <a:pt x="7890" y="451"/>
                  </a:lnTo>
                  <a:lnTo>
                    <a:pt x="7913" y="436"/>
                  </a:lnTo>
                  <a:lnTo>
                    <a:pt x="7935" y="422"/>
                  </a:lnTo>
                  <a:lnTo>
                    <a:pt x="7960" y="410"/>
                  </a:lnTo>
                  <a:lnTo>
                    <a:pt x="7985" y="397"/>
                  </a:lnTo>
                  <a:lnTo>
                    <a:pt x="8011" y="387"/>
                  </a:lnTo>
                  <a:lnTo>
                    <a:pt x="8038" y="377"/>
                  </a:lnTo>
                  <a:lnTo>
                    <a:pt x="8067" y="369"/>
                  </a:lnTo>
                  <a:lnTo>
                    <a:pt x="8097" y="363"/>
                  </a:lnTo>
                  <a:lnTo>
                    <a:pt x="8127" y="356"/>
                  </a:lnTo>
                  <a:lnTo>
                    <a:pt x="8159" y="352"/>
                  </a:lnTo>
                  <a:lnTo>
                    <a:pt x="8192" y="348"/>
                  </a:lnTo>
                  <a:lnTo>
                    <a:pt x="8227" y="346"/>
                  </a:lnTo>
                  <a:lnTo>
                    <a:pt x="8261" y="346"/>
                  </a:lnTo>
                  <a:lnTo>
                    <a:pt x="8296" y="346"/>
                  </a:lnTo>
                  <a:lnTo>
                    <a:pt x="8330" y="348"/>
                  </a:lnTo>
                  <a:lnTo>
                    <a:pt x="8363" y="352"/>
                  </a:lnTo>
                  <a:lnTo>
                    <a:pt x="8394" y="356"/>
                  </a:lnTo>
                  <a:lnTo>
                    <a:pt x="8425" y="363"/>
                  </a:lnTo>
                  <a:lnTo>
                    <a:pt x="8455" y="369"/>
                  </a:lnTo>
                  <a:lnTo>
                    <a:pt x="8483" y="377"/>
                  </a:lnTo>
                  <a:lnTo>
                    <a:pt x="8511" y="387"/>
                  </a:lnTo>
                  <a:lnTo>
                    <a:pt x="8537" y="397"/>
                  </a:lnTo>
                  <a:lnTo>
                    <a:pt x="8563" y="410"/>
                  </a:lnTo>
                  <a:lnTo>
                    <a:pt x="8587" y="422"/>
                  </a:lnTo>
                  <a:lnTo>
                    <a:pt x="8610" y="436"/>
                  </a:lnTo>
                  <a:lnTo>
                    <a:pt x="8632" y="451"/>
                  </a:lnTo>
                  <a:lnTo>
                    <a:pt x="8653" y="468"/>
                  </a:lnTo>
                  <a:lnTo>
                    <a:pt x="8672" y="485"/>
                  </a:lnTo>
                  <a:lnTo>
                    <a:pt x="8691" y="504"/>
                  </a:lnTo>
                  <a:lnTo>
                    <a:pt x="8709" y="523"/>
                  </a:lnTo>
                  <a:lnTo>
                    <a:pt x="8726" y="544"/>
                  </a:lnTo>
                  <a:lnTo>
                    <a:pt x="8741" y="566"/>
                  </a:lnTo>
                  <a:lnTo>
                    <a:pt x="8755" y="588"/>
                  </a:lnTo>
                  <a:lnTo>
                    <a:pt x="8767" y="613"/>
                  </a:lnTo>
                  <a:lnTo>
                    <a:pt x="8780" y="637"/>
                  </a:lnTo>
                  <a:lnTo>
                    <a:pt x="8791" y="663"/>
                  </a:lnTo>
                  <a:lnTo>
                    <a:pt x="8800" y="689"/>
                  </a:lnTo>
                  <a:lnTo>
                    <a:pt x="8809" y="718"/>
                  </a:lnTo>
                  <a:lnTo>
                    <a:pt x="8817" y="747"/>
                  </a:lnTo>
                  <a:lnTo>
                    <a:pt x="8823" y="776"/>
                  </a:lnTo>
                  <a:lnTo>
                    <a:pt x="8828" y="807"/>
                  </a:lnTo>
                  <a:lnTo>
                    <a:pt x="8832" y="838"/>
                  </a:lnTo>
                  <a:lnTo>
                    <a:pt x="8835" y="870"/>
                  </a:lnTo>
                  <a:lnTo>
                    <a:pt x="8837" y="904"/>
                  </a:lnTo>
                  <a:lnTo>
                    <a:pt x="8837" y="937"/>
                  </a:lnTo>
                  <a:lnTo>
                    <a:pt x="8837" y="972"/>
                  </a:lnTo>
                  <a:lnTo>
                    <a:pt x="8835" y="1005"/>
                  </a:lnTo>
                  <a:lnTo>
                    <a:pt x="8832" y="1037"/>
                  </a:lnTo>
                  <a:lnTo>
                    <a:pt x="8828" y="1069"/>
                  </a:lnTo>
                  <a:lnTo>
                    <a:pt x="8823" y="1100"/>
                  </a:lnTo>
                  <a:lnTo>
                    <a:pt x="8817" y="1129"/>
                  </a:lnTo>
                  <a:lnTo>
                    <a:pt x="8809" y="1158"/>
                  </a:lnTo>
                  <a:lnTo>
                    <a:pt x="8800" y="1186"/>
                  </a:lnTo>
                  <a:lnTo>
                    <a:pt x="8791" y="1212"/>
                  </a:lnTo>
                  <a:lnTo>
                    <a:pt x="8780" y="1239"/>
                  </a:lnTo>
                  <a:lnTo>
                    <a:pt x="8767" y="1263"/>
                  </a:lnTo>
                  <a:lnTo>
                    <a:pt x="8755" y="1287"/>
                  </a:lnTo>
                  <a:lnTo>
                    <a:pt x="8741" y="1310"/>
                  </a:lnTo>
                  <a:lnTo>
                    <a:pt x="8726" y="1332"/>
                  </a:lnTo>
                  <a:lnTo>
                    <a:pt x="8709" y="1352"/>
                  </a:lnTo>
                  <a:lnTo>
                    <a:pt x="8691" y="1371"/>
                  </a:lnTo>
                  <a:lnTo>
                    <a:pt x="8672" y="1391"/>
                  </a:lnTo>
                  <a:lnTo>
                    <a:pt x="8653" y="1408"/>
                  </a:lnTo>
                  <a:lnTo>
                    <a:pt x="8632" y="1424"/>
                  </a:lnTo>
                  <a:lnTo>
                    <a:pt x="8610" y="1440"/>
                  </a:lnTo>
                  <a:lnTo>
                    <a:pt x="8587" y="1453"/>
                  </a:lnTo>
                  <a:lnTo>
                    <a:pt x="8563" y="1466"/>
                  </a:lnTo>
                  <a:lnTo>
                    <a:pt x="8537" y="1479"/>
                  </a:lnTo>
                  <a:lnTo>
                    <a:pt x="8511" y="1489"/>
                  </a:lnTo>
                  <a:lnTo>
                    <a:pt x="8483" y="1498"/>
                  </a:lnTo>
                  <a:lnTo>
                    <a:pt x="8455" y="1506"/>
                  </a:lnTo>
                  <a:lnTo>
                    <a:pt x="8425" y="1513"/>
                  </a:lnTo>
                  <a:lnTo>
                    <a:pt x="8394" y="1519"/>
                  </a:lnTo>
                  <a:lnTo>
                    <a:pt x="8363" y="1523"/>
                  </a:lnTo>
                  <a:lnTo>
                    <a:pt x="8330" y="1527"/>
                  </a:lnTo>
                  <a:lnTo>
                    <a:pt x="8296" y="1529"/>
                  </a:lnTo>
                  <a:lnTo>
                    <a:pt x="8261" y="1530"/>
                  </a:lnTo>
                  <a:lnTo>
                    <a:pt x="8227" y="1529"/>
                  </a:lnTo>
                  <a:lnTo>
                    <a:pt x="8192" y="1527"/>
                  </a:lnTo>
                  <a:lnTo>
                    <a:pt x="8159" y="1523"/>
                  </a:lnTo>
                  <a:lnTo>
                    <a:pt x="8127" y="1519"/>
                  </a:lnTo>
                  <a:lnTo>
                    <a:pt x="8097" y="1513"/>
                  </a:lnTo>
                  <a:lnTo>
                    <a:pt x="8067" y="1506"/>
                  </a:lnTo>
                  <a:lnTo>
                    <a:pt x="8038" y="1498"/>
                  </a:lnTo>
                  <a:lnTo>
                    <a:pt x="8011" y="1489"/>
                  </a:lnTo>
                  <a:lnTo>
                    <a:pt x="7985" y="1479"/>
                  </a:lnTo>
                  <a:lnTo>
                    <a:pt x="7960" y="1466"/>
                  </a:lnTo>
                  <a:lnTo>
                    <a:pt x="7935" y="1453"/>
                  </a:lnTo>
                  <a:lnTo>
                    <a:pt x="7913" y="1440"/>
                  </a:lnTo>
                  <a:lnTo>
                    <a:pt x="7890" y="1424"/>
                  </a:lnTo>
                  <a:lnTo>
                    <a:pt x="7870" y="1408"/>
                  </a:lnTo>
                  <a:lnTo>
                    <a:pt x="7849" y="1391"/>
                  </a:lnTo>
                  <a:lnTo>
                    <a:pt x="7831" y="1371"/>
                  </a:lnTo>
                  <a:lnTo>
                    <a:pt x="7814" y="1352"/>
                  </a:lnTo>
                  <a:lnTo>
                    <a:pt x="7797" y="1332"/>
                  </a:lnTo>
                  <a:lnTo>
                    <a:pt x="7782" y="1310"/>
                  </a:lnTo>
                  <a:lnTo>
                    <a:pt x="7768" y="1287"/>
                  </a:lnTo>
                  <a:lnTo>
                    <a:pt x="7754" y="1263"/>
                  </a:lnTo>
                  <a:lnTo>
                    <a:pt x="7742" y="1239"/>
                  </a:lnTo>
                  <a:lnTo>
                    <a:pt x="7732" y="1212"/>
                  </a:lnTo>
                  <a:lnTo>
                    <a:pt x="7722" y="1186"/>
                  </a:lnTo>
                  <a:lnTo>
                    <a:pt x="7713" y="1158"/>
                  </a:lnTo>
                  <a:lnTo>
                    <a:pt x="7705" y="1129"/>
                  </a:lnTo>
                  <a:lnTo>
                    <a:pt x="7699" y="1100"/>
                  </a:lnTo>
                  <a:lnTo>
                    <a:pt x="7694" y="1069"/>
                  </a:lnTo>
                  <a:lnTo>
                    <a:pt x="7690" y="1037"/>
                  </a:lnTo>
                  <a:lnTo>
                    <a:pt x="7687" y="1005"/>
                  </a:lnTo>
                  <a:lnTo>
                    <a:pt x="7686" y="972"/>
                  </a:lnTo>
                  <a:lnTo>
                    <a:pt x="7685" y="937"/>
                  </a:lnTo>
                  <a:close/>
                  <a:moveTo>
                    <a:pt x="11388" y="479"/>
                  </a:moveTo>
                  <a:lnTo>
                    <a:pt x="11371" y="449"/>
                  </a:lnTo>
                  <a:lnTo>
                    <a:pt x="11352" y="422"/>
                  </a:lnTo>
                  <a:lnTo>
                    <a:pt x="11333" y="394"/>
                  </a:lnTo>
                  <a:lnTo>
                    <a:pt x="11313" y="368"/>
                  </a:lnTo>
                  <a:lnTo>
                    <a:pt x="11293" y="342"/>
                  </a:lnTo>
                  <a:lnTo>
                    <a:pt x="11271" y="318"/>
                  </a:lnTo>
                  <a:lnTo>
                    <a:pt x="11250" y="294"/>
                  </a:lnTo>
                  <a:lnTo>
                    <a:pt x="11227" y="272"/>
                  </a:lnTo>
                  <a:lnTo>
                    <a:pt x="11204" y="249"/>
                  </a:lnTo>
                  <a:lnTo>
                    <a:pt x="11180" y="229"/>
                  </a:lnTo>
                  <a:lnTo>
                    <a:pt x="11156" y="208"/>
                  </a:lnTo>
                  <a:lnTo>
                    <a:pt x="11130" y="189"/>
                  </a:lnTo>
                  <a:lnTo>
                    <a:pt x="11105" y="172"/>
                  </a:lnTo>
                  <a:lnTo>
                    <a:pt x="11077" y="154"/>
                  </a:lnTo>
                  <a:lnTo>
                    <a:pt x="11051" y="137"/>
                  </a:lnTo>
                  <a:lnTo>
                    <a:pt x="11022" y="122"/>
                  </a:lnTo>
                  <a:lnTo>
                    <a:pt x="10993" y="107"/>
                  </a:lnTo>
                  <a:lnTo>
                    <a:pt x="10964" y="93"/>
                  </a:lnTo>
                  <a:lnTo>
                    <a:pt x="10934" y="81"/>
                  </a:lnTo>
                  <a:lnTo>
                    <a:pt x="10903" y="69"/>
                  </a:lnTo>
                  <a:lnTo>
                    <a:pt x="10872" y="58"/>
                  </a:lnTo>
                  <a:lnTo>
                    <a:pt x="10840" y="48"/>
                  </a:lnTo>
                  <a:lnTo>
                    <a:pt x="10807" y="39"/>
                  </a:lnTo>
                  <a:lnTo>
                    <a:pt x="10774" y="31"/>
                  </a:lnTo>
                  <a:lnTo>
                    <a:pt x="10740" y="24"/>
                  </a:lnTo>
                  <a:lnTo>
                    <a:pt x="10705" y="18"/>
                  </a:lnTo>
                  <a:lnTo>
                    <a:pt x="10669" y="12"/>
                  </a:lnTo>
                  <a:lnTo>
                    <a:pt x="10633" y="8"/>
                  </a:lnTo>
                  <a:lnTo>
                    <a:pt x="10597" y="4"/>
                  </a:lnTo>
                  <a:lnTo>
                    <a:pt x="10559" y="2"/>
                  </a:lnTo>
                  <a:lnTo>
                    <a:pt x="10521" y="1"/>
                  </a:lnTo>
                  <a:lnTo>
                    <a:pt x="10482" y="0"/>
                  </a:lnTo>
                  <a:lnTo>
                    <a:pt x="10429" y="1"/>
                  </a:lnTo>
                  <a:lnTo>
                    <a:pt x="10378" y="4"/>
                  </a:lnTo>
                  <a:lnTo>
                    <a:pt x="10327" y="9"/>
                  </a:lnTo>
                  <a:lnTo>
                    <a:pt x="10277" y="17"/>
                  </a:lnTo>
                  <a:lnTo>
                    <a:pt x="10229" y="26"/>
                  </a:lnTo>
                  <a:lnTo>
                    <a:pt x="10181" y="37"/>
                  </a:lnTo>
                  <a:lnTo>
                    <a:pt x="10133" y="50"/>
                  </a:lnTo>
                  <a:lnTo>
                    <a:pt x="10087" y="66"/>
                  </a:lnTo>
                  <a:lnTo>
                    <a:pt x="10043" y="82"/>
                  </a:lnTo>
                  <a:lnTo>
                    <a:pt x="10001" y="101"/>
                  </a:lnTo>
                  <a:lnTo>
                    <a:pt x="9959" y="122"/>
                  </a:lnTo>
                  <a:lnTo>
                    <a:pt x="9918" y="144"/>
                  </a:lnTo>
                  <a:lnTo>
                    <a:pt x="9879" y="169"/>
                  </a:lnTo>
                  <a:lnTo>
                    <a:pt x="9841" y="195"/>
                  </a:lnTo>
                  <a:lnTo>
                    <a:pt x="9805" y="223"/>
                  </a:lnTo>
                  <a:lnTo>
                    <a:pt x="9771" y="252"/>
                  </a:lnTo>
                  <a:lnTo>
                    <a:pt x="9738" y="283"/>
                  </a:lnTo>
                  <a:lnTo>
                    <a:pt x="9706" y="316"/>
                  </a:lnTo>
                  <a:lnTo>
                    <a:pt x="9677" y="350"/>
                  </a:lnTo>
                  <a:lnTo>
                    <a:pt x="9650" y="387"/>
                  </a:lnTo>
                  <a:lnTo>
                    <a:pt x="9623" y="425"/>
                  </a:lnTo>
                  <a:lnTo>
                    <a:pt x="9600" y="464"/>
                  </a:lnTo>
                  <a:lnTo>
                    <a:pt x="9578" y="505"/>
                  </a:lnTo>
                  <a:lnTo>
                    <a:pt x="9559" y="547"/>
                  </a:lnTo>
                  <a:lnTo>
                    <a:pt x="9540" y="591"/>
                  </a:lnTo>
                  <a:lnTo>
                    <a:pt x="9525" y="636"/>
                  </a:lnTo>
                  <a:lnTo>
                    <a:pt x="9512" y="683"/>
                  </a:lnTo>
                  <a:lnTo>
                    <a:pt x="9502" y="731"/>
                  </a:lnTo>
                  <a:lnTo>
                    <a:pt x="9492" y="781"/>
                  </a:lnTo>
                  <a:lnTo>
                    <a:pt x="9486" y="832"/>
                  </a:lnTo>
                  <a:lnTo>
                    <a:pt x="9483" y="884"/>
                  </a:lnTo>
                  <a:lnTo>
                    <a:pt x="9481" y="937"/>
                  </a:lnTo>
                  <a:lnTo>
                    <a:pt x="9482" y="992"/>
                  </a:lnTo>
                  <a:lnTo>
                    <a:pt x="9486" y="1044"/>
                  </a:lnTo>
                  <a:lnTo>
                    <a:pt x="9492" y="1095"/>
                  </a:lnTo>
                  <a:lnTo>
                    <a:pt x="9501" y="1144"/>
                  </a:lnTo>
                  <a:lnTo>
                    <a:pt x="9512" y="1193"/>
                  </a:lnTo>
                  <a:lnTo>
                    <a:pt x="9525" y="1240"/>
                  </a:lnTo>
                  <a:lnTo>
                    <a:pt x="9539" y="1285"/>
                  </a:lnTo>
                  <a:lnTo>
                    <a:pt x="9557" y="1328"/>
                  </a:lnTo>
                  <a:lnTo>
                    <a:pt x="9576" y="1370"/>
                  </a:lnTo>
                  <a:lnTo>
                    <a:pt x="9598" y="1411"/>
                  </a:lnTo>
                  <a:lnTo>
                    <a:pt x="9621" y="1451"/>
                  </a:lnTo>
                  <a:lnTo>
                    <a:pt x="9647" y="1489"/>
                  </a:lnTo>
                  <a:lnTo>
                    <a:pt x="9674" y="1524"/>
                  </a:lnTo>
                  <a:lnTo>
                    <a:pt x="9703" y="1559"/>
                  </a:lnTo>
                  <a:lnTo>
                    <a:pt x="9734" y="1592"/>
                  </a:lnTo>
                  <a:lnTo>
                    <a:pt x="9766" y="1624"/>
                  </a:lnTo>
                  <a:lnTo>
                    <a:pt x="9801" y="1653"/>
                  </a:lnTo>
                  <a:lnTo>
                    <a:pt x="9837" y="1681"/>
                  </a:lnTo>
                  <a:lnTo>
                    <a:pt x="9875" y="1707"/>
                  </a:lnTo>
                  <a:lnTo>
                    <a:pt x="9914" y="1731"/>
                  </a:lnTo>
                  <a:lnTo>
                    <a:pt x="9954" y="1753"/>
                  </a:lnTo>
                  <a:lnTo>
                    <a:pt x="9995" y="1775"/>
                  </a:lnTo>
                  <a:lnTo>
                    <a:pt x="10039" y="1793"/>
                  </a:lnTo>
                  <a:lnTo>
                    <a:pt x="10083" y="1810"/>
                  </a:lnTo>
                  <a:lnTo>
                    <a:pt x="10129" y="1826"/>
                  </a:lnTo>
                  <a:lnTo>
                    <a:pt x="10176" y="1838"/>
                  </a:lnTo>
                  <a:lnTo>
                    <a:pt x="10224" y="1849"/>
                  </a:lnTo>
                  <a:lnTo>
                    <a:pt x="10275" y="1858"/>
                  </a:lnTo>
                  <a:lnTo>
                    <a:pt x="10325" y="1865"/>
                  </a:lnTo>
                  <a:lnTo>
                    <a:pt x="10376" y="1871"/>
                  </a:lnTo>
                  <a:lnTo>
                    <a:pt x="10428" y="1875"/>
                  </a:lnTo>
                  <a:lnTo>
                    <a:pt x="10482" y="1876"/>
                  </a:lnTo>
                  <a:lnTo>
                    <a:pt x="10521" y="1875"/>
                  </a:lnTo>
                  <a:lnTo>
                    <a:pt x="10559" y="1874"/>
                  </a:lnTo>
                  <a:lnTo>
                    <a:pt x="10597" y="1871"/>
                  </a:lnTo>
                  <a:lnTo>
                    <a:pt x="10633" y="1868"/>
                  </a:lnTo>
                  <a:lnTo>
                    <a:pt x="10669" y="1863"/>
                  </a:lnTo>
                  <a:lnTo>
                    <a:pt x="10705" y="1858"/>
                  </a:lnTo>
                  <a:lnTo>
                    <a:pt x="10740" y="1852"/>
                  </a:lnTo>
                  <a:lnTo>
                    <a:pt x="10774" y="1845"/>
                  </a:lnTo>
                  <a:lnTo>
                    <a:pt x="10807" y="1837"/>
                  </a:lnTo>
                  <a:lnTo>
                    <a:pt x="10840" y="1828"/>
                  </a:lnTo>
                  <a:lnTo>
                    <a:pt x="10872" y="1817"/>
                  </a:lnTo>
                  <a:lnTo>
                    <a:pt x="10903" y="1806"/>
                  </a:lnTo>
                  <a:lnTo>
                    <a:pt x="10934" y="1795"/>
                  </a:lnTo>
                  <a:lnTo>
                    <a:pt x="10964" y="1782"/>
                  </a:lnTo>
                  <a:lnTo>
                    <a:pt x="10993" y="1768"/>
                  </a:lnTo>
                  <a:lnTo>
                    <a:pt x="11022" y="1753"/>
                  </a:lnTo>
                  <a:lnTo>
                    <a:pt x="11051" y="1738"/>
                  </a:lnTo>
                  <a:lnTo>
                    <a:pt x="11077" y="1722"/>
                  </a:lnTo>
                  <a:lnTo>
                    <a:pt x="11105" y="1704"/>
                  </a:lnTo>
                  <a:lnTo>
                    <a:pt x="11130" y="1686"/>
                  </a:lnTo>
                  <a:lnTo>
                    <a:pt x="11156" y="1666"/>
                  </a:lnTo>
                  <a:lnTo>
                    <a:pt x="11180" y="1647"/>
                  </a:lnTo>
                  <a:lnTo>
                    <a:pt x="11204" y="1626"/>
                  </a:lnTo>
                  <a:lnTo>
                    <a:pt x="11227" y="1604"/>
                  </a:lnTo>
                  <a:lnTo>
                    <a:pt x="11250" y="1581"/>
                  </a:lnTo>
                  <a:lnTo>
                    <a:pt x="11271" y="1557"/>
                  </a:lnTo>
                  <a:lnTo>
                    <a:pt x="11293" y="1533"/>
                  </a:lnTo>
                  <a:lnTo>
                    <a:pt x="11313" y="1507"/>
                  </a:lnTo>
                  <a:lnTo>
                    <a:pt x="11333" y="1481"/>
                  </a:lnTo>
                  <a:lnTo>
                    <a:pt x="11352" y="1454"/>
                  </a:lnTo>
                  <a:lnTo>
                    <a:pt x="11371" y="1425"/>
                  </a:lnTo>
                  <a:lnTo>
                    <a:pt x="11388" y="1397"/>
                  </a:lnTo>
                  <a:lnTo>
                    <a:pt x="11074" y="1216"/>
                  </a:lnTo>
                  <a:lnTo>
                    <a:pt x="11061" y="1234"/>
                  </a:lnTo>
                  <a:lnTo>
                    <a:pt x="11048" y="1251"/>
                  </a:lnTo>
                  <a:lnTo>
                    <a:pt x="11034" y="1268"/>
                  </a:lnTo>
                  <a:lnTo>
                    <a:pt x="11021" y="1285"/>
                  </a:lnTo>
                  <a:lnTo>
                    <a:pt x="11007" y="1300"/>
                  </a:lnTo>
                  <a:lnTo>
                    <a:pt x="10992" y="1315"/>
                  </a:lnTo>
                  <a:lnTo>
                    <a:pt x="10978" y="1330"/>
                  </a:lnTo>
                  <a:lnTo>
                    <a:pt x="10963" y="1345"/>
                  </a:lnTo>
                  <a:lnTo>
                    <a:pt x="10948" y="1358"/>
                  </a:lnTo>
                  <a:lnTo>
                    <a:pt x="10932" y="1371"/>
                  </a:lnTo>
                  <a:lnTo>
                    <a:pt x="10917" y="1384"/>
                  </a:lnTo>
                  <a:lnTo>
                    <a:pt x="10900" y="1396"/>
                  </a:lnTo>
                  <a:lnTo>
                    <a:pt x="10883" y="1408"/>
                  </a:lnTo>
                  <a:lnTo>
                    <a:pt x="10866" y="1418"/>
                  </a:lnTo>
                  <a:lnTo>
                    <a:pt x="10848" y="1429"/>
                  </a:lnTo>
                  <a:lnTo>
                    <a:pt x="10831" y="1439"/>
                  </a:lnTo>
                  <a:lnTo>
                    <a:pt x="10812" y="1448"/>
                  </a:lnTo>
                  <a:lnTo>
                    <a:pt x="10793" y="1457"/>
                  </a:lnTo>
                  <a:lnTo>
                    <a:pt x="10774" y="1465"/>
                  </a:lnTo>
                  <a:lnTo>
                    <a:pt x="10754" y="1472"/>
                  </a:lnTo>
                  <a:lnTo>
                    <a:pt x="10734" y="1480"/>
                  </a:lnTo>
                  <a:lnTo>
                    <a:pt x="10713" y="1486"/>
                  </a:lnTo>
                  <a:lnTo>
                    <a:pt x="10692" y="1492"/>
                  </a:lnTo>
                  <a:lnTo>
                    <a:pt x="10670" y="1497"/>
                  </a:lnTo>
                  <a:lnTo>
                    <a:pt x="10648" y="1501"/>
                  </a:lnTo>
                  <a:lnTo>
                    <a:pt x="10624" y="1505"/>
                  </a:lnTo>
                  <a:lnTo>
                    <a:pt x="10601" y="1508"/>
                  </a:lnTo>
                  <a:lnTo>
                    <a:pt x="10577" y="1511"/>
                  </a:lnTo>
                  <a:lnTo>
                    <a:pt x="10553" y="1513"/>
                  </a:lnTo>
                  <a:lnTo>
                    <a:pt x="10527" y="1515"/>
                  </a:lnTo>
                  <a:lnTo>
                    <a:pt x="10502" y="1516"/>
                  </a:lnTo>
                  <a:lnTo>
                    <a:pt x="10475" y="1516"/>
                  </a:lnTo>
                  <a:lnTo>
                    <a:pt x="10442" y="1515"/>
                  </a:lnTo>
                  <a:lnTo>
                    <a:pt x="10411" y="1513"/>
                  </a:lnTo>
                  <a:lnTo>
                    <a:pt x="10380" y="1510"/>
                  </a:lnTo>
                  <a:lnTo>
                    <a:pt x="10349" y="1506"/>
                  </a:lnTo>
                  <a:lnTo>
                    <a:pt x="10320" y="1500"/>
                  </a:lnTo>
                  <a:lnTo>
                    <a:pt x="10291" y="1493"/>
                  </a:lnTo>
                  <a:lnTo>
                    <a:pt x="10262" y="1485"/>
                  </a:lnTo>
                  <a:lnTo>
                    <a:pt x="10235" y="1474"/>
                  </a:lnTo>
                  <a:lnTo>
                    <a:pt x="10208" y="1464"/>
                  </a:lnTo>
                  <a:lnTo>
                    <a:pt x="10183" y="1452"/>
                  </a:lnTo>
                  <a:lnTo>
                    <a:pt x="10158" y="1439"/>
                  </a:lnTo>
                  <a:lnTo>
                    <a:pt x="10134" y="1424"/>
                  </a:lnTo>
                  <a:lnTo>
                    <a:pt x="10111" y="1409"/>
                  </a:lnTo>
                  <a:lnTo>
                    <a:pt x="10090" y="1393"/>
                  </a:lnTo>
                  <a:lnTo>
                    <a:pt x="10068" y="1375"/>
                  </a:lnTo>
                  <a:lnTo>
                    <a:pt x="10048" y="1357"/>
                  </a:lnTo>
                  <a:lnTo>
                    <a:pt x="10029" y="1338"/>
                  </a:lnTo>
                  <a:lnTo>
                    <a:pt x="10011" y="1317"/>
                  </a:lnTo>
                  <a:lnTo>
                    <a:pt x="9994" y="1295"/>
                  </a:lnTo>
                  <a:lnTo>
                    <a:pt x="9978" y="1273"/>
                  </a:lnTo>
                  <a:lnTo>
                    <a:pt x="9964" y="1250"/>
                  </a:lnTo>
                  <a:lnTo>
                    <a:pt x="9949" y="1225"/>
                  </a:lnTo>
                  <a:lnTo>
                    <a:pt x="9937" y="1200"/>
                  </a:lnTo>
                  <a:lnTo>
                    <a:pt x="9926" y="1174"/>
                  </a:lnTo>
                  <a:lnTo>
                    <a:pt x="9917" y="1148"/>
                  </a:lnTo>
                  <a:lnTo>
                    <a:pt x="9908" y="1119"/>
                  </a:lnTo>
                  <a:lnTo>
                    <a:pt x="9900" y="1092"/>
                  </a:lnTo>
                  <a:lnTo>
                    <a:pt x="9894" y="1062"/>
                  </a:lnTo>
                  <a:lnTo>
                    <a:pt x="9889" y="1032"/>
                  </a:lnTo>
                  <a:lnTo>
                    <a:pt x="9886" y="1002"/>
                  </a:lnTo>
                  <a:lnTo>
                    <a:pt x="9884" y="970"/>
                  </a:lnTo>
                  <a:lnTo>
                    <a:pt x="9883" y="937"/>
                  </a:lnTo>
                  <a:lnTo>
                    <a:pt x="9884" y="905"/>
                  </a:lnTo>
                  <a:lnTo>
                    <a:pt x="9886" y="873"/>
                  </a:lnTo>
                  <a:lnTo>
                    <a:pt x="9889" y="842"/>
                  </a:lnTo>
                  <a:lnTo>
                    <a:pt x="9893" y="812"/>
                  </a:lnTo>
                  <a:lnTo>
                    <a:pt x="9899" y="782"/>
                  </a:lnTo>
                  <a:lnTo>
                    <a:pt x="9906" y="754"/>
                  </a:lnTo>
                  <a:lnTo>
                    <a:pt x="9916" y="726"/>
                  </a:lnTo>
                  <a:lnTo>
                    <a:pt x="9925" y="699"/>
                  </a:lnTo>
                  <a:lnTo>
                    <a:pt x="9936" y="673"/>
                  </a:lnTo>
                  <a:lnTo>
                    <a:pt x="9947" y="647"/>
                  </a:lnTo>
                  <a:lnTo>
                    <a:pt x="9961" y="623"/>
                  </a:lnTo>
                  <a:lnTo>
                    <a:pt x="9976" y="599"/>
                  </a:lnTo>
                  <a:lnTo>
                    <a:pt x="9991" y="577"/>
                  </a:lnTo>
                  <a:lnTo>
                    <a:pt x="10008" y="556"/>
                  </a:lnTo>
                  <a:lnTo>
                    <a:pt x="10025" y="535"/>
                  </a:lnTo>
                  <a:lnTo>
                    <a:pt x="10045" y="516"/>
                  </a:lnTo>
                  <a:lnTo>
                    <a:pt x="10064" y="498"/>
                  </a:lnTo>
                  <a:lnTo>
                    <a:pt x="10085" y="481"/>
                  </a:lnTo>
                  <a:lnTo>
                    <a:pt x="10107" y="465"/>
                  </a:lnTo>
                  <a:lnTo>
                    <a:pt x="10129" y="449"/>
                  </a:lnTo>
                  <a:lnTo>
                    <a:pt x="10154" y="435"/>
                  </a:lnTo>
                  <a:lnTo>
                    <a:pt x="10178" y="422"/>
                  </a:lnTo>
                  <a:lnTo>
                    <a:pt x="10204" y="411"/>
                  </a:lnTo>
                  <a:lnTo>
                    <a:pt x="10231" y="400"/>
                  </a:lnTo>
                  <a:lnTo>
                    <a:pt x="10258" y="390"/>
                  </a:lnTo>
                  <a:lnTo>
                    <a:pt x="10287" y="382"/>
                  </a:lnTo>
                  <a:lnTo>
                    <a:pt x="10316" y="375"/>
                  </a:lnTo>
                  <a:lnTo>
                    <a:pt x="10346" y="370"/>
                  </a:lnTo>
                  <a:lnTo>
                    <a:pt x="10378" y="365"/>
                  </a:lnTo>
                  <a:lnTo>
                    <a:pt x="10410" y="362"/>
                  </a:lnTo>
                  <a:lnTo>
                    <a:pt x="10442" y="360"/>
                  </a:lnTo>
                  <a:lnTo>
                    <a:pt x="10475" y="360"/>
                  </a:lnTo>
                  <a:lnTo>
                    <a:pt x="10502" y="360"/>
                  </a:lnTo>
                  <a:lnTo>
                    <a:pt x="10527" y="361"/>
                  </a:lnTo>
                  <a:lnTo>
                    <a:pt x="10553" y="362"/>
                  </a:lnTo>
                  <a:lnTo>
                    <a:pt x="10577" y="364"/>
                  </a:lnTo>
                  <a:lnTo>
                    <a:pt x="10601" y="367"/>
                  </a:lnTo>
                  <a:lnTo>
                    <a:pt x="10624" y="370"/>
                  </a:lnTo>
                  <a:lnTo>
                    <a:pt x="10648" y="374"/>
                  </a:lnTo>
                  <a:lnTo>
                    <a:pt x="10670" y="379"/>
                  </a:lnTo>
                  <a:lnTo>
                    <a:pt x="10692" y="384"/>
                  </a:lnTo>
                  <a:lnTo>
                    <a:pt x="10713" y="390"/>
                  </a:lnTo>
                  <a:lnTo>
                    <a:pt x="10734" y="396"/>
                  </a:lnTo>
                  <a:lnTo>
                    <a:pt x="10754" y="403"/>
                  </a:lnTo>
                  <a:lnTo>
                    <a:pt x="10774" y="411"/>
                  </a:lnTo>
                  <a:lnTo>
                    <a:pt x="10793" y="419"/>
                  </a:lnTo>
                  <a:lnTo>
                    <a:pt x="10812" y="427"/>
                  </a:lnTo>
                  <a:lnTo>
                    <a:pt x="10831" y="437"/>
                  </a:lnTo>
                  <a:lnTo>
                    <a:pt x="10848" y="446"/>
                  </a:lnTo>
                  <a:lnTo>
                    <a:pt x="10866" y="457"/>
                  </a:lnTo>
                  <a:lnTo>
                    <a:pt x="10883" y="468"/>
                  </a:lnTo>
                  <a:lnTo>
                    <a:pt x="10900" y="479"/>
                  </a:lnTo>
                  <a:lnTo>
                    <a:pt x="10917" y="491"/>
                  </a:lnTo>
                  <a:lnTo>
                    <a:pt x="10932" y="505"/>
                  </a:lnTo>
                  <a:lnTo>
                    <a:pt x="10948" y="517"/>
                  </a:lnTo>
                  <a:lnTo>
                    <a:pt x="10963" y="531"/>
                  </a:lnTo>
                  <a:lnTo>
                    <a:pt x="10978" y="545"/>
                  </a:lnTo>
                  <a:lnTo>
                    <a:pt x="10992" y="560"/>
                  </a:lnTo>
                  <a:lnTo>
                    <a:pt x="11007" y="575"/>
                  </a:lnTo>
                  <a:lnTo>
                    <a:pt x="11021" y="591"/>
                  </a:lnTo>
                  <a:lnTo>
                    <a:pt x="11034" y="608"/>
                  </a:lnTo>
                  <a:lnTo>
                    <a:pt x="11048" y="624"/>
                  </a:lnTo>
                  <a:lnTo>
                    <a:pt x="11061" y="641"/>
                  </a:lnTo>
                  <a:lnTo>
                    <a:pt x="11074" y="660"/>
                  </a:lnTo>
                  <a:lnTo>
                    <a:pt x="11388" y="479"/>
                  </a:lnTo>
                  <a:close/>
                </a:path>
              </a:pathLst>
            </a:custGeom>
            <a:solidFill>
              <a:srgbClr val="59595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3" name="Freeform 6"/>
            <p:cNvSpPr>
              <a:spLocks noEditPoints="1"/>
            </p:cNvSpPr>
            <p:nvPr userDrawn="1"/>
          </p:nvSpPr>
          <p:spPr bwMode="auto">
            <a:xfrm>
              <a:off x="450850" y="6383338"/>
              <a:ext cx="296863" cy="288925"/>
            </a:xfrm>
            <a:custGeom>
              <a:avLst/>
              <a:gdLst>
                <a:gd name="T0" fmla="*/ 1863 w 3551"/>
                <a:gd name="T1" fmla="*/ 1342 h 3458"/>
                <a:gd name="T2" fmla="*/ 1837 w 3551"/>
                <a:gd name="T3" fmla="*/ 1357 h 3458"/>
                <a:gd name="T4" fmla="*/ 1805 w 3551"/>
                <a:gd name="T5" fmla="*/ 1355 h 3458"/>
                <a:gd name="T6" fmla="*/ 1110 w 3551"/>
                <a:gd name="T7" fmla="*/ 1073 h 3458"/>
                <a:gd name="T8" fmla="*/ 1077 w 3551"/>
                <a:gd name="T9" fmla="*/ 1014 h 3458"/>
                <a:gd name="T10" fmla="*/ 1211 w 3551"/>
                <a:gd name="T11" fmla="*/ 142 h 3458"/>
                <a:gd name="T12" fmla="*/ 1237 w 3551"/>
                <a:gd name="T13" fmla="*/ 78 h 3458"/>
                <a:gd name="T14" fmla="*/ 1293 w 3551"/>
                <a:gd name="T15" fmla="*/ 37 h 3458"/>
                <a:gd name="T16" fmla="*/ 2037 w 3551"/>
                <a:gd name="T17" fmla="*/ 0 h 3458"/>
                <a:gd name="T18" fmla="*/ 2066 w 3551"/>
                <a:gd name="T19" fmla="*/ 11 h 3458"/>
                <a:gd name="T20" fmla="*/ 2083 w 3551"/>
                <a:gd name="T21" fmla="*/ 37 h 3458"/>
                <a:gd name="T22" fmla="*/ 1407 w 3551"/>
                <a:gd name="T23" fmla="*/ 1560 h 3458"/>
                <a:gd name="T24" fmla="*/ 1424 w 3551"/>
                <a:gd name="T25" fmla="*/ 1585 h 3458"/>
                <a:gd name="T26" fmla="*/ 1421 w 3551"/>
                <a:gd name="T27" fmla="*/ 1616 h 3458"/>
                <a:gd name="T28" fmla="*/ 963 w 3551"/>
                <a:gd name="T29" fmla="*/ 2181 h 3458"/>
                <a:gd name="T30" fmla="*/ 898 w 3551"/>
                <a:gd name="T31" fmla="*/ 2217 h 3458"/>
                <a:gd name="T32" fmla="*/ 830 w 3551"/>
                <a:gd name="T33" fmla="*/ 2210 h 3458"/>
                <a:gd name="T34" fmla="*/ 45 w 3551"/>
                <a:gd name="T35" fmla="*/ 1803 h 3458"/>
                <a:gd name="T36" fmla="*/ 6 w 3551"/>
                <a:gd name="T37" fmla="*/ 1748 h 3458"/>
                <a:gd name="T38" fmla="*/ 4 w 3551"/>
                <a:gd name="T39" fmla="*/ 1670 h 3458"/>
                <a:gd name="T40" fmla="*/ 201 w 3551"/>
                <a:gd name="T41" fmla="*/ 980 h 3458"/>
                <a:gd name="T42" fmla="*/ 227 w 3551"/>
                <a:gd name="T43" fmla="*/ 963 h 3458"/>
                <a:gd name="T44" fmla="*/ 257 w 3551"/>
                <a:gd name="T45" fmla="*/ 967 h 3458"/>
                <a:gd name="T46" fmla="*/ 1499 w 3551"/>
                <a:gd name="T47" fmla="*/ 2063 h 3458"/>
                <a:gd name="T48" fmla="*/ 1530 w 3551"/>
                <a:gd name="T49" fmla="*/ 2065 h 3458"/>
                <a:gd name="T50" fmla="*/ 1554 w 3551"/>
                <a:gd name="T51" fmla="*/ 2086 h 3458"/>
                <a:gd name="T52" fmla="*/ 1951 w 3551"/>
                <a:gd name="T53" fmla="*/ 2722 h 3458"/>
                <a:gd name="T54" fmla="*/ 1944 w 3551"/>
                <a:gd name="T55" fmla="*/ 2790 h 3458"/>
                <a:gd name="T56" fmla="*/ 1322 w 3551"/>
                <a:gd name="T57" fmla="*/ 3416 h 3458"/>
                <a:gd name="T58" fmla="*/ 1263 w 3551"/>
                <a:gd name="T59" fmla="*/ 3453 h 3458"/>
                <a:gd name="T60" fmla="*/ 1193 w 3551"/>
                <a:gd name="T61" fmla="*/ 3453 h 3458"/>
                <a:gd name="T62" fmla="*/ 571 w 3551"/>
                <a:gd name="T63" fmla="*/ 3048 h 3458"/>
                <a:gd name="T64" fmla="*/ 552 w 3551"/>
                <a:gd name="T65" fmla="*/ 3021 h 3458"/>
                <a:gd name="T66" fmla="*/ 554 w 3551"/>
                <a:gd name="T67" fmla="*/ 2990 h 3458"/>
                <a:gd name="T68" fmla="*/ 1998 w 3551"/>
                <a:gd name="T69" fmla="*/ 2153 h 3458"/>
                <a:gd name="T70" fmla="*/ 1999 w 3551"/>
                <a:gd name="T71" fmla="*/ 2123 h 3458"/>
                <a:gd name="T72" fmla="*/ 2019 w 3551"/>
                <a:gd name="T73" fmla="*/ 2099 h 3458"/>
                <a:gd name="T74" fmla="*/ 2722 w 3551"/>
                <a:gd name="T75" fmla="*/ 1907 h 3458"/>
                <a:gd name="T76" fmla="*/ 2795 w 3551"/>
                <a:gd name="T77" fmla="*/ 1917 h 3458"/>
                <a:gd name="T78" fmla="*/ 2847 w 3551"/>
                <a:gd name="T79" fmla="*/ 1961 h 3458"/>
                <a:gd name="T80" fmla="*/ 3246 w 3551"/>
                <a:gd name="T81" fmla="*/ 2750 h 3458"/>
                <a:gd name="T82" fmla="*/ 3244 w 3551"/>
                <a:gd name="T83" fmla="*/ 2818 h 3458"/>
                <a:gd name="T84" fmla="*/ 3201 w 3551"/>
                <a:gd name="T85" fmla="*/ 2882 h 3458"/>
                <a:gd name="T86" fmla="*/ 2638 w 3551"/>
                <a:gd name="T87" fmla="*/ 3327 h 3458"/>
                <a:gd name="T88" fmla="*/ 2607 w 3551"/>
                <a:gd name="T89" fmla="*/ 3326 h 3458"/>
                <a:gd name="T90" fmla="*/ 2584 w 3551"/>
                <a:gd name="T91" fmla="*/ 3306 h 3458"/>
                <a:gd name="T92" fmla="*/ 2218 w 3551"/>
                <a:gd name="T93" fmla="*/ 1693 h 3458"/>
                <a:gd name="T94" fmla="*/ 2195 w 3551"/>
                <a:gd name="T95" fmla="*/ 1673 h 3458"/>
                <a:gd name="T96" fmla="*/ 2188 w 3551"/>
                <a:gd name="T97" fmla="*/ 1642 h 3458"/>
                <a:gd name="T98" fmla="*/ 2241 w 3551"/>
                <a:gd name="T99" fmla="*/ 895 h 3458"/>
                <a:gd name="T100" fmla="*/ 2287 w 3551"/>
                <a:gd name="T101" fmla="*/ 844 h 3458"/>
                <a:gd name="T102" fmla="*/ 3158 w 3551"/>
                <a:gd name="T103" fmla="*/ 702 h 3458"/>
                <a:gd name="T104" fmla="*/ 3228 w 3551"/>
                <a:gd name="T105" fmla="*/ 709 h 3458"/>
                <a:gd name="T106" fmla="*/ 3285 w 3551"/>
                <a:gd name="T107" fmla="*/ 749 h 3458"/>
                <a:gd name="T108" fmla="*/ 3549 w 3551"/>
                <a:gd name="T109" fmla="*/ 1444 h 3458"/>
                <a:gd name="T110" fmla="*/ 3548 w 3551"/>
                <a:gd name="T111" fmla="*/ 1475 h 3458"/>
                <a:gd name="T112" fmla="*/ 3528 w 3551"/>
                <a:gd name="T113" fmla="*/ 1499 h 3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51" h="3458">
                  <a:moveTo>
                    <a:pt x="2083" y="52"/>
                  </a:moveTo>
                  <a:lnTo>
                    <a:pt x="1871" y="1322"/>
                  </a:lnTo>
                  <a:lnTo>
                    <a:pt x="1870" y="1327"/>
                  </a:lnTo>
                  <a:lnTo>
                    <a:pt x="1868" y="1332"/>
                  </a:lnTo>
                  <a:lnTo>
                    <a:pt x="1866" y="1337"/>
                  </a:lnTo>
                  <a:lnTo>
                    <a:pt x="1863" y="1342"/>
                  </a:lnTo>
                  <a:lnTo>
                    <a:pt x="1859" y="1346"/>
                  </a:lnTo>
                  <a:lnTo>
                    <a:pt x="1856" y="1349"/>
                  </a:lnTo>
                  <a:lnTo>
                    <a:pt x="1852" y="1352"/>
                  </a:lnTo>
                  <a:lnTo>
                    <a:pt x="1847" y="1354"/>
                  </a:lnTo>
                  <a:lnTo>
                    <a:pt x="1842" y="1356"/>
                  </a:lnTo>
                  <a:lnTo>
                    <a:pt x="1837" y="1357"/>
                  </a:lnTo>
                  <a:lnTo>
                    <a:pt x="1832" y="1358"/>
                  </a:lnTo>
                  <a:lnTo>
                    <a:pt x="1827" y="1359"/>
                  </a:lnTo>
                  <a:lnTo>
                    <a:pt x="1821" y="1358"/>
                  </a:lnTo>
                  <a:lnTo>
                    <a:pt x="1816" y="1358"/>
                  </a:lnTo>
                  <a:lnTo>
                    <a:pt x="1811" y="1357"/>
                  </a:lnTo>
                  <a:lnTo>
                    <a:pt x="1805" y="1355"/>
                  </a:lnTo>
                  <a:lnTo>
                    <a:pt x="1170" y="1110"/>
                  </a:lnTo>
                  <a:lnTo>
                    <a:pt x="1155" y="1104"/>
                  </a:lnTo>
                  <a:lnTo>
                    <a:pt x="1142" y="1097"/>
                  </a:lnTo>
                  <a:lnTo>
                    <a:pt x="1131" y="1089"/>
                  </a:lnTo>
                  <a:lnTo>
                    <a:pt x="1120" y="1081"/>
                  </a:lnTo>
                  <a:lnTo>
                    <a:pt x="1110" y="1073"/>
                  </a:lnTo>
                  <a:lnTo>
                    <a:pt x="1102" y="1064"/>
                  </a:lnTo>
                  <a:lnTo>
                    <a:pt x="1095" y="1055"/>
                  </a:lnTo>
                  <a:lnTo>
                    <a:pt x="1089" y="1045"/>
                  </a:lnTo>
                  <a:lnTo>
                    <a:pt x="1084" y="1035"/>
                  </a:lnTo>
                  <a:lnTo>
                    <a:pt x="1080" y="1024"/>
                  </a:lnTo>
                  <a:lnTo>
                    <a:pt x="1077" y="1014"/>
                  </a:lnTo>
                  <a:lnTo>
                    <a:pt x="1074" y="1003"/>
                  </a:lnTo>
                  <a:lnTo>
                    <a:pt x="1073" y="990"/>
                  </a:lnTo>
                  <a:lnTo>
                    <a:pt x="1073" y="979"/>
                  </a:lnTo>
                  <a:lnTo>
                    <a:pt x="1074" y="967"/>
                  </a:lnTo>
                  <a:lnTo>
                    <a:pt x="1075" y="955"/>
                  </a:lnTo>
                  <a:lnTo>
                    <a:pt x="1211" y="142"/>
                  </a:lnTo>
                  <a:lnTo>
                    <a:pt x="1213" y="131"/>
                  </a:lnTo>
                  <a:lnTo>
                    <a:pt x="1216" y="118"/>
                  </a:lnTo>
                  <a:lnTo>
                    <a:pt x="1220" y="107"/>
                  </a:lnTo>
                  <a:lnTo>
                    <a:pt x="1225" y="97"/>
                  </a:lnTo>
                  <a:lnTo>
                    <a:pt x="1231" y="87"/>
                  </a:lnTo>
                  <a:lnTo>
                    <a:pt x="1237" y="78"/>
                  </a:lnTo>
                  <a:lnTo>
                    <a:pt x="1244" y="69"/>
                  </a:lnTo>
                  <a:lnTo>
                    <a:pt x="1252" y="61"/>
                  </a:lnTo>
                  <a:lnTo>
                    <a:pt x="1262" y="54"/>
                  </a:lnTo>
                  <a:lnTo>
                    <a:pt x="1272" y="47"/>
                  </a:lnTo>
                  <a:lnTo>
                    <a:pt x="1282" y="42"/>
                  </a:lnTo>
                  <a:lnTo>
                    <a:pt x="1293" y="37"/>
                  </a:lnTo>
                  <a:lnTo>
                    <a:pt x="1307" y="33"/>
                  </a:lnTo>
                  <a:lnTo>
                    <a:pt x="1320" y="30"/>
                  </a:lnTo>
                  <a:lnTo>
                    <a:pt x="1334" y="28"/>
                  </a:lnTo>
                  <a:lnTo>
                    <a:pt x="1350" y="27"/>
                  </a:lnTo>
                  <a:lnTo>
                    <a:pt x="2031" y="0"/>
                  </a:lnTo>
                  <a:lnTo>
                    <a:pt x="2037" y="0"/>
                  </a:lnTo>
                  <a:lnTo>
                    <a:pt x="2042" y="1"/>
                  </a:lnTo>
                  <a:lnTo>
                    <a:pt x="2047" y="2"/>
                  </a:lnTo>
                  <a:lnTo>
                    <a:pt x="2053" y="3"/>
                  </a:lnTo>
                  <a:lnTo>
                    <a:pt x="2057" y="5"/>
                  </a:lnTo>
                  <a:lnTo>
                    <a:pt x="2062" y="8"/>
                  </a:lnTo>
                  <a:lnTo>
                    <a:pt x="2066" y="11"/>
                  </a:lnTo>
                  <a:lnTo>
                    <a:pt x="2070" y="14"/>
                  </a:lnTo>
                  <a:lnTo>
                    <a:pt x="2074" y="18"/>
                  </a:lnTo>
                  <a:lnTo>
                    <a:pt x="2077" y="22"/>
                  </a:lnTo>
                  <a:lnTo>
                    <a:pt x="2079" y="27"/>
                  </a:lnTo>
                  <a:lnTo>
                    <a:pt x="2081" y="32"/>
                  </a:lnTo>
                  <a:lnTo>
                    <a:pt x="2083" y="37"/>
                  </a:lnTo>
                  <a:lnTo>
                    <a:pt x="2083" y="42"/>
                  </a:lnTo>
                  <a:lnTo>
                    <a:pt x="2084" y="47"/>
                  </a:lnTo>
                  <a:lnTo>
                    <a:pt x="2083" y="52"/>
                  </a:lnTo>
                  <a:close/>
                  <a:moveTo>
                    <a:pt x="257" y="967"/>
                  </a:moveTo>
                  <a:lnTo>
                    <a:pt x="1402" y="1557"/>
                  </a:lnTo>
                  <a:lnTo>
                    <a:pt x="1407" y="1560"/>
                  </a:lnTo>
                  <a:lnTo>
                    <a:pt x="1411" y="1563"/>
                  </a:lnTo>
                  <a:lnTo>
                    <a:pt x="1415" y="1567"/>
                  </a:lnTo>
                  <a:lnTo>
                    <a:pt x="1418" y="1571"/>
                  </a:lnTo>
                  <a:lnTo>
                    <a:pt x="1420" y="1575"/>
                  </a:lnTo>
                  <a:lnTo>
                    <a:pt x="1422" y="1580"/>
                  </a:lnTo>
                  <a:lnTo>
                    <a:pt x="1424" y="1585"/>
                  </a:lnTo>
                  <a:lnTo>
                    <a:pt x="1425" y="1590"/>
                  </a:lnTo>
                  <a:lnTo>
                    <a:pt x="1425" y="1595"/>
                  </a:lnTo>
                  <a:lnTo>
                    <a:pt x="1425" y="1600"/>
                  </a:lnTo>
                  <a:lnTo>
                    <a:pt x="1424" y="1606"/>
                  </a:lnTo>
                  <a:lnTo>
                    <a:pt x="1423" y="1611"/>
                  </a:lnTo>
                  <a:lnTo>
                    <a:pt x="1421" y="1616"/>
                  </a:lnTo>
                  <a:lnTo>
                    <a:pt x="1419" y="1620"/>
                  </a:lnTo>
                  <a:lnTo>
                    <a:pt x="1416" y="1625"/>
                  </a:lnTo>
                  <a:lnTo>
                    <a:pt x="1413" y="1630"/>
                  </a:lnTo>
                  <a:lnTo>
                    <a:pt x="984" y="2159"/>
                  </a:lnTo>
                  <a:lnTo>
                    <a:pt x="974" y="2171"/>
                  </a:lnTo>
                  <a:lnTo>
                    <a:pt x="963" y="2181"/>
                  </a:lnTo>
                  <a:lnTo>
                    <a:pt x="953" y="2190"/>
                  </a:lnTo>
                  <a:lnTo>
                    <a:pt x="943" y="2197"/>
                  </a:lnTo>
                  <a:lnTo>
                    <a:pt x="931" y="2204"/>
                  </a:lnTo>
                  <a:lnTo>
                    <a:pt x="920" y="2209"/>
                  </a:lnTo>
                  <a:lnTo>
                    <a:pt x="909" y="2213"/>
                  </a:lnTo>
                  <a:lnTo>
                    <a:pt x="898" y="2217"/>
                  </a:lnTo>
                  <a:lnTo>
                    <a:pt x="886" y="2218"/>
                  </a:lnTo>
                  <a:lnTo>
                    <a:pt x="875" y="2219"/>
                  </a:lnTo>
                  <a:lnTo>
                    <a:pt x="864" y="2218"/>
                  </a:lnTo>
                  <a:lnTo>
                    <a:pt x="853" y="2217"/>
                  </a:lnTo>
                  <a:lnTo>
                    <a:pt x="841" y="2214"/>
                  </a:lnTo>
                  <a:lnTo>
                    <a:pt x="830" y="2210"/>
                  </a:lnTo>
                  <a:lnTo>
                    <a:pt x="819" y="2206"/>
                  </a:lnTo>
                  <a:lnTo>
                    <a:pt x="808" y="2201"/>
                  </a:lnTo>
                  <a:lnTo>
                    <a:pt x="75" y="1823"/>
                  </a:lnTo>
                  <a:lnTo>
                    <a:pt x="64" y="1817"/>
                  </a:lnTo>
                  <a:lnTo>
                    <a:pt x="54" y="1810"/>
                  </a:lnTo>
                  <a:lnTo>
                    <a:pt x="45" y="1803"/>
                  </a:lnTo>
                  <a:lnTo>
                    <a:pt x="37" y="1796"/>
                  </a:lnTo>
                  <a:lnTo>
                    <a:pt x="29" y="1787"/>
                  </a:lnTo>
                  <a:lnTo>
                    <a:pt x="21" y="1779"/>
                  </a:lnTo>
                  <a:lnTo>
                    <a:pt x="15" y="1768"/>
                  </a:lnTo>
                  <a:lnTo>
                    <a:pt x="10" y="1758"/>
                  </a:lnTo>
                  <a:lnTo>
                    <a:pt x="6" y="1748"/>
                  </a:lnTo>
                  <a:lnTo>
                    <a:pt x="3" y="1736"/>
                  </a:lnTo>
                  <a:lnTo>
                    <a:pt x="1" y="1724"/>
                  </a:lnTo>
                  <a:lnTo>
                    <a:pt x="0" y="1711"/>
                  </a:lnTo>
                  <a:lnTo>
                    <a:pt x="0" y="1698"/>
                  </a:lnTo>
                  <a:lnTo>
                    <a:pt x="1" y="1685"/>
                  </a:lnTo>
                  <a:lnTo>
                    <a:pt x="4" y="1670"/>
                  </a:lnTo>
                  <a:lnTo>
                    <a:pt x="7" y="1655"/>
                  </a:lnTo>
                  <a:lnTo>
                    <a:pt x="191" y="1000"/>
                  </a:lnTo>
                  <a:lnTo>
                    <a:pt x="193" y="994"/>
                  </a:lnTo>
                  <a:lnTo>
                    <a:pt x="195" y="989"/>
                  </a:lnTo>
                  <a:lnTo>
                    <a:pt x="198" y="984"/>
                  </a:lnTo>
                  <a:lnTo>
                    <a:pt x="201" y="980"/>
                  </a:lnTo>
                  <a:lnTo>
                    <a:pt x="204" y="976"/>
                  </a:lnTo>
                  <a:lnTo>
                    <a:pt x="209" y="973"/>
                  </a:lnTo>
                  <a:lnTo>
                    <a:pt x="213" y="969"/>
                  </a:lnTo>
                  <a:lnTo>
                    <a:pt x="217" y="967"/>
                  </a:lnTo>
                  <a:lnTo>
                    <a:pt x="222" y="965"/>
                  </a:lnTo>
                  <a:lnTo>
                    <a:pt x="227" y="963"/>
                  </a:lnTo>
                  <a:lnTo>
                    <a:pt x="231" y="962"/>
                  </a:lnTo>
                  <a:lnTo>
                    <a:pt x="236" y="962"/>
                  </a:lnTo>
                  <a:lnTo>
                    <a:pt x="241" y="962"/>
                  </a:lnTo>
                  <a:lnTo>
                    <a:pt x="246" y="963"/>
                  </a:lnTo>
                  <a:lnTo>
                    <a:pt x="252" y="964"/>
                  </a:lnTo>
                  <a:lnTo>
                    <a:pt x="257" y="967"/>
                  </a:lnTo>
                  <a:close/>
                  <a:moveTo>
                    <a:pt x="563" y="2978"/>
                  </a:moveTo>
                  <a:lnTo>
                    <a:pt x="1482" y="2075"/>
                  </a:lnTo>
                  <a:lnTo>
                    <a:pt x="1486" y="2071"/>
                  </a:lnTo>
                  <a:lnTo>
                    <a:pt x="1490" y="2067"/>
                  </a:lnTo>
                  <a:lnTo>
                    <a:pt x="1495" y="2065"/>
                  </a:lnTo>
                  <a:lnTo>
                    <a:pt x="1499" y="2063"/>
                  </a:lnTo>
                  <a:lnTo>
                    <a:pt x="1504" y="2062"/>
                  </a:lnTo>
                  <a:lnTo>
                    <a:pt x="1509" y="2061"/>
                  </a:lnTo>
                  <a:lnTo>
                    <a:pt x="1514" y="2062"/>
                  </a:lnTo>
                  <a:lnTo>
                    <a:pt x="1519" y="2062"/>
                  </a:lnTo>
                  <a:lnTo>
                    <a:pt x="1524" y="2063"/>
                  </a:lnTo>
                  <a:lnTo>
                    <a:pt x="1530" y="2065"/>
                  </a:lnTo>
                  <a:lnTo>
                    <a:pt x="1534" y="2067"/>
                  </a:lnTo>
                  <a:lnTo>
                    <a:pt x="1539" y="2071"/>
                  </a:lnTo>
                  <a:lnTo>
                    <a:pt x="1543" y="2074"/>
                  </a:lnTo>
                  <a:lnTo>
                    <a:pt x="1547" y="2078"/>
                  </a:lnTo>
                  <a:lnTo>
                    <a:pt x="1551" y="2082"/>
                  </a:lnTo>
                  <a:lnTo>
                    <a:pt x="1554" y="2086"/>
                  </a:lnTo>
                  <a:lnTo>
                    <a:pt x="1924" y="2658"/>
                  </a:lnTo>
                  <a:lnTo>
                    <a:pt x="1932" y="2671"/>
                  </a:lnTo>
                  <a:lnTo>
                    <a:pt x="1939" y="2684"/>
                  </a:lnTo>
                  <a:lnTo>
                    <a:pt x="1944" y="2696"/>
                  </a:lnTo>
                  <a:lnTo>
                    <a:pt x="1948" y="2710"/>
                  </a:lnTo>
                  <a:lnTo>
                    <a:pt x="1951" y="2722"/>
                  </a:lnTo>
                  <a:lnTo>
                    <a:pt x="1952" y="2734"/>
                  </a:lnTo>
                  <a:lnTo>
                    <a:pt x="1953" y="2745"/>
                  </a:lnTo>
                  <a:lnTo>
                    <a:pt x="1952" y="2757"/>
                  </a:lnTo>
                  <a:lnTo>
                    <a:pt x="1950" y="2769"/>
                  </a:lnTo>
                  <a:lnTo>
                    <a:pt x="1947" y="2779"/>
                  </a:lnTo>
                  <a:lnTo>
                    <a:pt x="1944" y="2790"/>
                  </a:lnTo>
                  <a:lnTo>
                    <a:pt x="1939" y="2801"/>
                  </a:lnTo>
                  <a:lnTo>
                    <a:pt x="1932" y="2811"/>
                  </a:lnTo>
                  <a:lnTo>
                    <a:pt x="1925" y="2820"/>
                  </a:lnTo>
                  <a:lnTo>
                    <a:pt x="1918" y="2829"/>
                  </a:lnTo>
                  <a:lnTo>
                    <a:pt x="1910" y="2838"/>
                  </a:lnTo>
                  <a:lnTo>
                    <a:pt x="1322" y="3416"/>
                  </a:lnTo>
                  <a:lnTo>
                    <a:pt x="1314" y="3424"/>
                  </a:lnTo>
                  <a:lnTo>
                    <a:pt x="1304" y="3432"/>
                  </a:lnTo>
                  <a:lnTo>
                    <a:pt x="1294" y="3439"/>
                  </a:lnTo>
                  <a:lnTo>
                    <a:pt x="1284" y="3445"/>
                  </a:lnTo>
                  <a:lnTo>
                    <a:pt x="1274" y="3449"/>
                  </a:lnTo>
                  <a:lnTo>
                    <a:pt x="1263" y="3453"/>
                  </a:lnTo>
                  <a:lnTo>
                    <a:pt x="1251" y="3456"/>
                  </a:lnTo>
                  <a:lnTo>
                    <a:pt x="1240" y="3457"/>
                  </a:lnTo>
                  <a:lnTo>
                    <a:pt x="1229" y="3458"/>
                  </a:lnTo>
                  <a:lnTo>
                    <a:pt x="1218" y="3457"/>
                  </a:lnTo>
                  <a:lnTo>
                    <a:pt x="1205" y="3456"/>
                  </a:lnTo>
                  <a:lnTo>
                    <a:pt x="1193" y="3453"/>
                  </a:lnTo>
                  <a:lnTo>
                    <a:pt x="1180" y="3449"/>
                  </a:lnTo>
                  <a:lnTo>
                    <a:pt x="1168" y="3444"/>
                  </a:lnTo>
                  <a:lnTo>
                    <a:pt x="1154" y="3437"/>
                  </a:lnTo>
                  <a:lnTo>
                    <a:pt x="1142" y="3428"/>
                  </a:lnTo>
                  <a:lnTo>
                    <a:pt x="575" y="3051"/>
                  </a:lnTo>
                  <a:lnTo>
                    <a:pt x="571" y="3048"/>
                  </a:lnTo>
                  <a:lnTo>
                    <a:pt x="566" y="3043"/>
                  </a:lnTo>
                  <a:lnTo>
                    <a:pt x="562" y="3039"/>
                  </a:lnTo>
                  <a:lnTo>
                    <a:pt x="559" y="3035"/>
                  </a:lnTo>
                  <a:lnTo>
                    <a:pt x="556" y="3030"/>
                  </a:lnTo>
                  <a:lnTo>
                    <a:pt x="554" y="3026"/>
                  </a:lnTo>
                  <a:lnTo>
                    <a:pt x="552" y="3021"/>
                  </a:lnTo>
                  <a:lnTo>
                    <a:pt x="551" y="3016"/>
                  </a:lnTo>
                  <a:lnTo>
                    <a:pt x="551" y="3011"/>
                  </a:lnTo>
                  <a:lnTo>
                    <a:pt x="551" y="3006"/>
                  </a:lnTo>
                  <a:lnTo>
                    <a:pt x="551" y="3001"/>
                  </a:lnTo>
                  <a:lnTo>
                    <a:pt x="552" y="2996"/>
                  </a:lnTo>
                  <a:lnTo>
                    <a:pt x="554" y="2990"/>
                  </a:lnTo>
                  <a:lnTo>
                    <a:pt x="556" y="2986"/>
                  </a:lnTo>
                  <a:lnTo>
                    <a:pt x="559" y="2982"/>
                  </a:lnTo>
                  <a:lnTo>
                    <a:pt x="563" y="2978"/>
                  </a:lnTo>
                  <a:close/>
                  <a:moveTo>
                    <a:pt x="2584" y="3306"/>
                  </a:moveTo>
                  <a:lnTo>
                    <a:pt x="2001" y="2158"/>
                  </a:lnTo>
                  <a:lnTo>
                    <a:pt x="1998" y="2153"/>
                  </a:lnTo>
                  <a:lnTo>
                    <a:pt x="1997" y="2148"/>
                  </a:lnTo>
                  <a:lnTo>
                    <a:pt x="1996" y="2143"/>
                  </a:lnTo>
                  <a:lnTo>
                    <a:pt x="1996" y="2137"/>
                  </a:lnTo>
                  <a:lnTo>
                    <a:pt x="1997" y="2133"/>
                  </a:lnTo>
                  <a:lnTo>
                    <a:pt x="1998" y="2128"/>
                  </a:lnTo>
                  <a:lnTo>
                    <a:pt x="1999" y="2123"/>
                  </a:lnTo>
                  <a:lnTo>
                    <a:pt x="2001" y="2118"/>
                  </a:lnTo>
                  <a:lnTo>
                    <a:pt x="2004" y="2113"/>
                  </a:lnTo>
                  <a:lnTo>
                    <a:pt x="2007" y="2109"/>
                  </a:lnTo>
                  <a:lnTo>
                    <a:pt x="2011" y="2106"/>
                  </a:lnTo>
                  <a:lnTo>
                    <a:pt x="2014" y="2102"/>
                  </a:lnTo>
                  <a:lnTo>
                    <a:pt x="2019" y="2099"/>
                  </a:lnTo>
                  <a:lnTo>
                    <a:pt x="2023" y="2096"/>
                  </a:lnTo>
                  <a:lnTo>
                    <a:pt x="2029" y="2094"/>
                  </a:lnTo>
                  <a:lnTo>
                    <a:pt x="2035" y="2093"/>
                  </a:lnTo>
                  <a:lnTo>
                    <a:pt x="2692" y="1913"/>
                  </a:lnTo>
                  <a:lnTo>
                    <a:pt x="2707" y="1910"/>
                  </a:lnTo>
                  <a:lnTo>
                    <a:pt x="2722" y="1907"/>
                  </a:lnTo>
                  <a:lnTo>
                    <a:pt x="2735" y="1906"/>
                  </a:lnTo>
                  <a:lnTo>
                    <a:pt x="2748" y="1906"/>
                  </a:lnTo>
                  <a:lnTo>
                    <a:pt x="2761" y="1908"/>
                  </a:lnTo>
                  <a:lnTo>
                    <a:pt x="2773" y="1910"/>
                  </a:lnTo>
                  <a:lnTo>
                    <a:pt x="2784" y="1913"/>
                  </a:lnTo>
                  <a:lnTo>
                    <a:pt x="2795" y="1917"/>
                  </a:lnTo>
                  <a:lnTo>
                    <a:pt x="2806" y="1922"/>
                  </a:lnTo>
                  <a:lnTo>
                    <a:pt x="2815" y="1929"/>
                  </a:lnTo>
                  <a:lnTo>
                    <a:pt x="2824" y="1936"/>
                  </a:lnTo>
                  <a:lnTo>
                    <a:pt x="2832" y="1944"/>
                  </a:lnTo>
                  <a:lnTo>
                    <a:pt x="2840" y="1952"/>
                  </a:lnTo>
                  <a:lnTo>
                    <a:pt x="2847" y="1961"/>
                  </a:lnTo>
                  <a:lnTo>
                    <a:pt x="2854" y="1971"/>
                  </a:lnTo>
                  <a:lnTo>
                    <a:pt x="2860" y="1982"/>
                  </a:lnTo>
                  <a:lnTo>
                    <a:pt x="3233" y="2717"/>
                  </a:lnTo>
                  <a:lnTo>
                    <a:pt x="3238" y="2728"/>
                  </a:lnTo>
                  <a:lnTo>
                    <a:pt x="3242" y="2738"/>
                  </a:lnTo>
                  <a:lnTo>
                    <a:pt x="3246" y="2750"/>
                  </a:lnTo>
                  <a:lnTo>
                    <a:pt x="3248" y="2762"/>
                  </a:lnTo>
                  <a:lnTo>
                    <a:pt x="3249" y="2773"/>
                  </a:lnTo>
                  <a:lnTo>
                    <a:pt x="3250" y="2784"/>
                  </a:lnTo>
                  <a:lnTo>
                    <a:pt x="3249" y="2795"/>
                  </a:lnTo>
                  <a:lnTo>
                    <a:pt x="3247" y="2807"/>
                  </a:lnTo>
                  <a:lnTo>
                    <a:pt x="3244" y="2818"/>
                  </a:lnTo>
                  <a:lnTo>
                    <a:pt x="3240" y="2829"/>
                  </a:lnTo>
                  <a:lnTo>
                    <a:pt x="3235" y="2840"/>
                  </a:lnTo>
                  <a:lnTo>
                    <a:pt x="3229" y="2851"/>
                  </a:lnTo>
                  <a:lnTo>
                    <a:pt x="3221" y="2862"/>
                  </a:lnTo>
                  <a:lnTo>
                    <a:pt x="3211" y="2872"/>
                  </a:lnTo>
                  <a:lnTo>
                    <a:pt x="3201" y="2882"/>
                  </a:lnTo>
                  <a:lnTo>
                    <a:pt x="3190" y="2892"/>
                  </a:lnTo>
                  <a:lnTo>
                    <a:pt x="2657" y="3317"/>
                  </a:lnTo>
                  <a:lnTo>
                    <a:pt x="2652" y="3320"/>
                  </a:lnTo>
                  <a:lnTo>
                    <a:pt x="2647" y="3323"/>
                  </a:lnTo>
                  <a:lnTo>
                    <a:pt x="2643" y="3325"/>
                  </a:lnTo>
                  <a:lnTo>
                    <a:pt x="2638" y="3327"/>
                  </a:lnTo>
                  <a:lnTo>
                    <a:pt x="2633" y="3328"/>
                  </a:lnTo>
                  <a:lnTo>
                    <a:pt x="2627" y="3329"/>
                  </a:lnTo>
                  <a:lnTo>
                    <a:pt x="2622" y="3329"/>
                  </a:lnTo>
                  <a:lnTo>
                    <a:pt x="2616" y="3328"/>
                  </a:lnTo>
                  <a:lnTo>
                    <a:pt x="2612" y="3327"/>
                  </a:lnTo>
                  <a:lnTo>
                    <a:pt x="2607" y="3326"/>
                  </a:lnTo>
                  <a:lnTo>
                    <a:pt x="2602" y="3324"/>
                  </a:lnTo>
                  <a:lnTo>
                    <a:pt x="2598" y="3321"/>
                  </a:lnTo>
                  <a:lnTo>
                    <a:pt x="2594" y="3318"/>
                  </a:lnTo>
                  <a:lnTo>
                    <a:pt x="2590" y="3315"/>
                  </a:lnTo>
                  <a:lnTo>
                    <a:pt x="2587" y="3310"/>
                  </a:lnTo>
                  <a:lnTo>
                    <a:pt x="2584" y="3306"/>
                  </a:lnTo>
                  <a:close/>
                  <a:moveTo>
                    <a:pt x="3513" y="1504"/>
                  </a:moveTo>
                  <a:lnTo>
                    <a:pt x="2239" y="1695"/>
                  </a:lnTo>
                  <a:lnTo>
                    <a:pt x="2234" y="1695"/>
                  </a:lnTo>
                  <a:lnTo>
                    <a:pt x="2228" y="1695"/>
                  </a:lnTo>
                  <a:lnTo>
                    <a:pt x="2223" y="1694"/>
                  </a:lnTo>
                  <a:lnTo>
                    <a:pt x="2218" y="1693"/>
                  </a:lnTo>
                  <a:lnTo>
                    <a:pt x="2214" y="1691"/>
                  </a:lnTo>
                  <a:lnTo>
                    <a:pt x="2209" y="1688"/>
                  </a:lnTo>
                  <a:lnTo>
                    <a:pt x="2205" y="1685"/>
                  </a:lnTo>
                  <a:lnTo>
                    <a:pt x="2201" y="1682"/>
                  </a:lnTo>
                  <a:lnTo>
                    <a:pt x="2198" y="1677"/>
                  </a:lnTo>
                  <a:lnTo>
                    <a:pt x="2195" y="1673"/>
                  </a:lnTo>
                  <a:lnTo>
                    <a:pt x="2193" y="1668"/>
                  </a:lnTo>
                  <a:lnTo>
                    <a:pt x="2191" y="1664"/>
                  </a:lnTo>
                  <a:lnTo>
                    <a:pt x="2189" y="1659"/>
                  </a:lnTo>
                  <a:lnTo>
                    <a:pt x="2188" y="1653"/>
                  </a:lnTo>
                  <a:lnTo>
                    <a:pt x="2188" y="1648"/>
                  </a:lnTo>
                  <a:lnTo>
                    <a:pt x="2188" y="1642"/>
                  </a:lnTo>
                  <a:lnTo>
                    <a:pt x="2225" y="963"/>
                  </a:lnTo>
                  <a:lnTo>
                    <a:pt x="2226" y="947"/>
                  </a:lnTo>
                  <a:lnTo>
                    <a:pt x="2229" y="933"/>
                  </a:lnTo>
                  <a:lnTo>
                    <a:pt x="2232" y="919"/>
                  </a:lnTo>
                  <a:lnTo>
                    <a:pt x="2236" y="907"/>
                  </a:lnTo>
                  <a:lnTo>
                    <a:pt x="2241" y="895"/>
                  </a:lnTo>
                  <a:lnTo>
                    <a:pt x="2247" y="884"/>
                  </a:lnTo>
                  <a:lnTo>
                    <a:pt x="2253" y="875"/>
                  </a:lnTo>
                  <a:lnTo>
                    <a:pt x="2262" y="866"/>
                  </a:lnTo>
                  <a:lnTo>
                    <a:pt x="2269" y="858"/>
                  </a:lnTo>
                  <a:lnTo>
                    <a:pt x="2278" y="850"/>
                  </a:lnTo>
                  <a:lnTo>
                    <a:pt x="2287" y="844"/>
                  </a:lnTo>
                  <a:lnTo>
                    <a:pt x="2297" y="839"/>
                  </a:lnTo>
                  <a:lnTo>
                    <a:pt x="2309" y="834"/>
                  </a:lnTo>
                  <a:lnTo>
                    <a:pt x="2319" y="830"/>
                  </a:lnTo>
                  <a:lnTo>
                    <a:pt x="2331" y="827"/>
                  </a:lnTo>
                  <a:lnTo>
                    <a:pt x="2343" y="825"/>
                  </a:lnTo>
                  <a:lnTo>
                    <a:pt x="3158" y="702"/>
                  </a:lnTo>
                  <a:lnTo>
                    <a:pt x="3171" y="701"/>
                  </a:lnTo>
                  <a:lnTo>
                    <a:pt x="3183" y="701"/>
                  </a:lnTo>
                  <a:lnTo>
                    <a:pt x="3194" y="701"/>
                  </a:lnTo>
                  <a:lnTo>
                    <a:pt x="3206" y="702"/>
                  </a:lnTo>
                  <a:lnTo>
                    <a:pt x="3218" y="704"/>
                  </a:lnTo>
                  <a:lnTo>
                    <a:pt x="3228" y="709"/>
                  </a:lnTo>
                  <a:lnTo>
                    <a:pt x="3239" y="713"/>
                  </a:lnTo>
                  <a:lnTo>
                    <a:pt x="3249" y="718"/>
                  </a:lnTo>
                  <a:lnTo>
                    <a:pt x="3259" y="724"/>
                  </a:lnTo>
                  <a:lnTo>
                    <a:pt x="3268" y="731"/>
                  </a:lnTo>
                  <a:lnTo>
                    <a:pt x="3277" y="740"/>
                  </a:lnTo>
                  <a:lnTo>
                    <a:pt x="3285" y="749"/>
                  </a:lnTo>
                  <a:lnTo>
                    <a:pt x="3292" y="761"/>
                  </a:lnTo>
                  <a:lnTo>
                    <a:pt x="3299" y="772"/>
                  </a:lnTo>
                  <a:lnTo>
                    <a:pt x="3307" y="785"/>
                  </a:lnTo>
                  <a:lnTo>
                    <a:pt x="3312" y="799"/>
                  </a:lnTo>
                  <a:lnTo>
                    <a:pt x="3548" y="1439"/>
                  </a:lnTo>
                  <a:lnTo>
                    <a:pt x="3549" y="1444"/>
                  </a:lnTo>
                  <a:lnTo>
                    <a:pt x="3550" y="1449"/>
                  </a:lnTo>
                  <a:lnTo>
                    <a:pt x="3551" y="1455"/>
                  </a:lnTo>
                  <a:lnTo>
                    <a:pt x="3551" y="1460"/>
                  </a:lnTo>
                  <a:lnTo>
                    <a:pt x="3550" y="1465"/>
                  </a:lnTo>
                  <a:lnTo>
                    <a:pt x="3549" y="1470"/>
                  </a:lnTo>
                  <a:lnTo>
                    <a:pt x="3548" y="1475"/>
                  </a:lnTo>
                  <a:lnTo>
                    <a:pt x="3546" y="1480"/>
                  </a:lnTo>
                  <a:lnTo>
                    <a:pt x="3544" y="1484"/>
                  </a:lnTo>
                  <a:lnTo>
                    <a:pt x="3541" y="1489"/>
                  </a:lnTo>
                  <a:lnTo>
                    <a:pt x="3537" y="1493"/>
                  </a:lnTo>
                  <a:lnTo>
                    <a:pt x="3534" y="1496"/>
                  </a:lnTo>
                  <a:lnTo>
                    <a:pt x="3528" y="1499"/>
                  </a:lnTo>
                  <a:lnTo>
                    <a:pt x="3524" y="1501"/>
                  </a:lnTo>
                  <a:lnTo>
                    <a:pt x="3519" y="1503"/>
                  </a:lnTo>
                  <a:lnTo>
                    <a:pt x="3513" y="1504"/>
                  </a:lnTo>
                  <a:close/>
                </a:path>
              </a:pathLst>
            </a:custGeom>
            <a:solidFill>
              <a:srgbClr val="FCC91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11834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6" r:id="rId1"/>
    <p:sldLayoutId id="2147483877" r:id="rId2"/>
    <p:sldLayoutId id="2147483878" r:id="rId3"/>
    <p:sldLayoutId id="2147483879" r:id="rId4"/>
    <p:sldLayoutId id="2147483880" r:id="rId5"/>
    <p:sldLayoutId id="2147483881" r:id="rId6"/>
    <p:sldLayoutId id="2147483882" r:id="rId7"/>
    <p:sldLayoutId id="2147483883" r:id="rId8"/>
    <p:sldLayoutId id="2147483884" r:id="rId9"/>
    <p:sldLayoutId id="2147483885" r:id="rId10"/>
    <p:sldLayoutId id="2147483886" r:id="rId11"/>
    <p:sldLayoutId id="2147483887" r:id="rId12"/>
    <p:sldLayoutId id="2147483888" r:id="rId13"/>
    <p:sldLayoutId id="2147483889" r:id="rId14"/>
    <p:sldLayoutId id="2147483890" r:id="rId15"/>
    <p:sldLayoutId id="2147483891" r:id="rId16"/>
    <p:sldLayoutId id="2147483892" r:id="rId17"/>
    <p:sldLayoutId id="2147483893" r:id="rId18"/>
    <p:sldLayoutId id="2147483894" r:id="rId19"/>
    <p:sldLayoutId id="2147483895" r:id="rId20"/>
    <p:sldLayoutId id="2147483896" r:id="rId21"/>
    <p:sldLayoutId id="2147483897" r:id="rId22"/>
    <p:sldLayoutId id="2147483898" r:id="rId23"/>
    <p:sldLayoutId id="2147483899" r:id="rId24"/>
    <p:sldLayoutId id="2147483900" r:id="rId25"/>
    <p:sldLayoutId id="2147483903" r:id="rId26"/>
    <p:sldLayoutId id="2147483904" r:id="rId27"/>
    <p:sldLayoutId id="2147483905" r:id="rId28"/>
    <p:sldLayoutId id="2147484033" r:id="rId29"/>
    <p:sldLayoutId id="2147484034" r:id="rId30"/>
    <p:sldLayoutId id="2147484035" r:id="rId3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310" y="6381917"/>
            <a:ext cx="1482372" cy="289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00024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9" r:id="rId1"/>
    <p:sldLayoutId id="2147483930" r:id="rId2"/>
    <p:sldLayoutId id="2147483931" r:id="rId3"/>
    <p:sldLayoutId id="2147483932" r:id="rId4"/>
    <p:sldLayoutId id="2147483933" r:id="rId5"/>
    <p:sldLayoutId id="2147483934" r:id="rId6"/>
    <p:sldLayoutId id="2147483935" r:id="rId7"/>
    <p:sldLayoutId id="2147483936" r:id="rId8"/>
    <p:sldLayoutId id="2147483937" r:id="rId9"/>
    <p:sldLayoutId id="2147483938" r:id="rId10"/>
    <p:sldLayoutId id="2147483939" r:id="rId11"/>
    <p:sldLayoutId id="214748394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297" y="6381917"/>
            <a:ext cx="1482372" cy="289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686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8" r:id="rId1"/>
    <p:sldLayoutId id="2147483949" r:id="rId2"/>
    <p:sldLayoutId id="2147483950" r:id="rId3"/>
    <p:sldLayoutId id="2147483951" r:id="rId4"/>
    <p:sldLayoutId id="2147483952" r:id="rId5"/>
    <p:sldLayoutId id="2147483953" r:id="rId6"/>
    <p:sldLayoutId id="2147483954" r:id="rId7"/>
    <p:sldLayoutId id="2147483955" r:id="rId8"/>
    <p:sldLayoutId id="2147483956" r:id="rId9"/>
    <p:sldLayoutId id="2147483957" r:id="rId10"/>
    <p:sldLayoutId id="2147483958" r:id="rId11"/>
    <p:sldLayoutId id="214748395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1"/>
            <a:ext cx="9906000" cy="948807"/>
          </a:xfrm>
          <a:prstGeom prst="rect">
            <a:avLst/>
          </a:prstGeom>
          <a:solidFill>
            <a:srgbClr val="535756"/>
          </a:soli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>
              <a:solidFill>
                <a:prstClr val="white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07340" y="1125538"/>
            <a:ext cx="8891323" cy="51117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2"/>
            <a:endParaRPr lang="ru-RU" dirty="0" smtClean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8787205" y="6381750"/>
            <a:ext cx="611457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rgbClr val="535756"/>
                </a:solidFill>
              </a:defRPr>
            </a:lvl1pPr>
          </a:lstStyle>
          <a:p>
            <a:fld id="{036A7B89-85C5-49FF-B8EB-110D073C35B7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2598868" y="6381750"/>
            <a:ext cx="5931947" cy="28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Rectangle 16"/>
          <p:cNvSpPr/>
          <p:nvPr/>
        </p:nvSpPr>
        <p:spPr>
          <a:xfrm>
            <a:off x="-745494" y="0"/>
            <a:ext cx="567531" cy="525462"/>
          </a:xfrm>
          <a:prstGeom prst="rect">
            <a:avLst/>
          </a:prstGeom>
          <a:solidFill>
            <a:srgbClr val="5357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>
              <a:defRPr/>
            </a:pPr>
            <a:r>
              <a:rPr lang="ru-RU" sz="1000" dirty="0" smtClean="0">
                <a:solidFill>
                  <a:prstClr val="white"/>
                </a:solidFill>
                <a:cs typeface="Tahoma" pitchFamily="34" charset="0"/>
              </a:rPr>
              <a:t>83</a:t>
            </a:r>
            <a:endParaRPr lang="en-GB" sz="1000" dirty="0">
              <a:solidFill>
                <a:prstClr val="white"/>
              </a:solidFill>
              <a:cs typeface="Tahoma" pitchFamily="34" charset="0"/>
            </a:endParaRPr>
          </a:p>
          <a:p>
            <a:pPr algn="ctr" defTabSz="1043056">
              <a:defRPr/>
            </a:pPr>
            <a:r>
              <a:rPr lang="ru-RU" sz="1000" dirty="0" smtClean="0">
                <a:solidFill>
                  <a:prstClr val="white"/>
                </a:solidFill>
                <a:cs typeface="Tahoma" pitchFamily="34" charset="0"/>
              </a:rPr>
              <a:t>87</a:t>
            </a:r>
            <a:endParaRPr lang="en-GB" sz="1000" dirty="0">
              <a:solidFill>
                <a:prstClr val="white"/>
              </a:solidFill>
              <a:cs typeface="Tahoma" pitchFamily="34" charset="0"/>
            </a:endParaRPr>
          </a:p>
          <a:p>
            <a:pPr algn="ctr" defTabSz="1043056">
              <a:defRPr/>
            </a:pPr>
            <a:r>
              <a:rPr lang="ru-RU" sz="1000" dirty="0" smtClean="0">
                <a:solidFill>
                  <a:prstClr val="white"/>
                </a:solidFill>
                <a:cs typeface="Tahoma" pitchFamily="34" charset="0"/>
              </a:rPr>
              <a:t>86</a:t>
            </a:r>
            <a:endParaRPr lang="en-GB" sz="1000" dirty="0">
              <a:solidFill>
                <a:prstClr val="white"/>
              </a:solidFill>
              <a:cs typeface="Tahoma" pitchFamily="34" charset="0"/>
            </a:endParaRPr>
          </a:p>
        </p:txBody>
      </p:sp>
      <p:sp>
        <p:nvSpPr>
          <p:cNvPr id="13" name="Rectangle 16"/>
          <p:cNvSpPr/>
          <p:nvPr/>
        </p:nvSpPr>
        <p:spPr>
          <a:xfrm>
            <a:off x="-745494" y="549276"/>
            <a:ext cx="567531" cy="525463"/>
          </a:xfrm>
          <a:prstGeom prst="rect">
            <a:avLst/>
          </a:prstGeom>
          <a:solidFill>
            <a:srgbClr val="F6C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>
              <a:defRPr/>
            </a:pPr>
            <a:r>
              <a:rPr lang="ru-RU" sz="1000" dirty="0" smtClean="0">
                <a:solidFill>
                  <a:prstClr val="black"/>
                </a:solidFill>
                <a:cs typeface="Tahoma" pitchFamily="34" charset="0"/>
              </a:rPr>
              <a:t>246</a:t>
            </a:r>
            <a:endParaRPr lang="ru-RU" sz="1000" dirty="0">
              <a:solidFill>
                <a:prstClr val="black"/>
              </a:solidFill>
              <a:cs typeface="Tahoma" pitchFamily="34" charset="0"/>
            </a:endParaRPr>
          </a:p>
          <a:p>
            <a:pPr algn="ctr" defTabSz="1043056">
              <a:defRPr/>
            </a:pPr>
            <a:r>
              <a:rPr lang="ru-RU" sz="1000" dirty="0" smtClean="0">
                <a:solidFill>
                  <a:prstClr val="black"/>
                </a:solidFill>
                <a:cs typeface="Tahoma" pitchFamily="34" charset="0"/>
              </a:rPr>
              <a:t>204</a:t>
            </a:r>
            <a:endParaRPr lang="ru-RU" sz="1000" dirty="0">
              <a:solidFill>
                <a:prstClr val="black"/>
              </a:solidFill>
              <a:cs typeface="Tahoma" pitchFamily="34" charset="0"/>
            </a:endParaRPr>
          </a:p>
          <a:p>
            <a:pPr algn="ctr" defTabSz="1043056">
              <a:defRPr/>
            </a:pPr>
            <a:r>
              <a:rPr lang="ru-RU" sz="1000" dirty="0" smtClean="0">
                <a:solidFill>
                  <a:prstClr val="black"/>
                </a:solidFill>
                <a:cs typeface="Tahoma" pitchFamily="34" charset="0"/>
              </a:rPr>
              <a:t>12</a:t>
            </a:r>
            <a:endParaRPr lang="en-GB" sz="1000" dirty="0">
              <a:solidFill>
                <a:prstClr val="black"/>
              </a:solidFill>
              <a:cs typeface="Tahoma" pitchFamily="34" charset="0"/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1"/>
            <a:ext cx="9906000" cy="948807"/>
          </a:xfrm>
          <a:prstGeom prst="rect">
            <a:avLst/>
          </a:prstGeom>
          <a:solidFill>
            <a:srgbClr val="535756"/>
          </a:soli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>
              <a:solidFill>
                <a:prstClr val="white"/>
              </a:solidFill>
            </a:endParaRPr>
          </a:p>
        </p:txBody>
      </p:sp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339" y="6381750"/>
            <a:ext cx="1482372" cy="289008"/>
          </a:xfrm>
          <a:prstGeom prst="rect">
            <a:avLst/>
          </a:prstGeom>
        </p:spPr>
      </p:pic>
      <p:sp>
        <p:nvSpPr>
          <p:cNvPr id="15" name="Rectangle 16"/>
          <p:cNvSpPr/>
          <p:nvPr userDrawn="1"/>
        </p:nvSpPr>
        <p:spPr>
          <a:xfrm>
            <a:off x="-745494" y="0"/>
            <a:ext cx="567531" cy="525462"/>
          </a:xfrm>
          <a:prstGeom prst="rect">
            <a:avLst/>
          </a:prstGeom>
          <a:solidFill>
            <a:srgbClr val="5357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>
              <a:defRPr/>
            </a:pPr>
            <a:r>
              <a:rPr lang="ru-RU" sz="1000" dirty="0" smtClean="0">
                <a:solidFill>
                  <a:prstClr val="white"/>
                </a:solidFill>
                <a:cs typeface="Tahoma" pitchFamily="34" charset="0"/>
              </a:rPr>
              <a:t>83</a:t>
            </a:r>
            <a:endParaRPr lang="en-GB" sz="1000" dirty="0">
              <a:solidFill>
                <a:prstClr val="white"/>
              </a:solidFill>
              <a:cs typeface="Tahoma" pitchFamily="34" charset="0"/>
            </a:endParaRPr>
          </a:p>
          <a:p>
            <a:pPr algn="ctr" defTabSz="1043056">
              <a:defRPr/>
            </a:pPr>
            <a:r>
              <a:rPr lang="ru-RU" sz="1000" dirty="0" smtClean="0">
                <a:solidFill>
                  <a:prstClr val="white"/>
                </a:solidFill>
                <a:cs typeface="Tahoma" pitchFamily="34" charset="0"/>
              </a:rPr>
              <a:t>87</a:t>
            </a:r>
            <a:endParaRPr lang="en-GB" sz="1000" dirty="0">
              <a:solidFill>
                <a:prstClr val="white"/>
              </a:solidFill>
              <a:cs typeface="Tahoma" pitchFamily="34" charset="0"/>
            </a:endParaRPr>
          </a:p>
          <a:p>
            <a:pPr algn="ctr" defTabSz="1043056">
              <a:defRPr/>
            </a:pPr>
            <a:r>
              <a:rPr lang="ru-RU" sz="1000" dirty="0" smtClean="0">
                <a:solidFill>
                  <a:prstClr val="white"/>
                </a:solidFill>
                <a:cs typeface="Tahoma" pitchFamily="34" charset="0"/>
              </a:rPr>
              <a:t>86</a:t>
            </a:r>
            <a:endParaRPr lang="en-GB" sz="1000" dirty="0">
              <a:solidFill>
                <a:prstClr val="white"/>
              </a:solidFill>
              <a:cs typeface="Tahoma" pitchFamily="34" charset="0"/>
            </a:endParaRPr>
          </a:p>
        </p:txBody>
      </p:sp>
      <p:sp>
        <p:nvSpPr>
          <p:cNvPr id="16" name="Rectangle 16"/>
          <p:cNvSpPr/>
          <p:nvPr userDrawn="1"/>
        </p:nvSpPr>
        <p:spPr>
          <a:xfrm>
            <a:off x="-745494" y="549276"/>
            <a:ext cx="567531" cy="525463"/>
          </a:xfrm>
          <a:prstGeom prst="rect">
            <a:avLst/>
          </a:prstGeom>
          <a:solidFill>
            <a:srgbClr val="F6CC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>
              <a:defRPr/>
            </a:pPr>
            <a:r>
              <a:rPr lang="ru-RU" sz="1000" dirty="0" smtClean="0">
                <a:solidFill>
                  <a:prstClr val="black"/>
                </a:solidFill>
                <a:cs typeface="Tahoma" pitchFamily="34" charset="0"/>
              </a:rPr>
              <a:t>246</a:t>
            </a:r>
            <a:endParaRPr lang="ru-RU" sz="1000" dirty="0">
              <a:solidFill>
                <a:prstClr val="black"/>
              </a:solidFill>
              <a:cs typeface="Tahoma" pitchFamily="34" charset="0"/>
            </a:endParaRPr>
          </a:p>
          <a:p>
            <a:pPr algn="ctr" defTabSz="1043056">
              <a:defRPr/>
            </a:pPr>
            <a:r>
              <a:rPr lang="ru-RU" sz="1000" dirty="0" smtClean="0">
                <a:solidFill>
                  <a:prstClr val="black"/>
                </a:solidFill>
                <a:cs typeface="Tahoma" pitchFamily="34" charset="0"/>
              </a:rPr>
              <a:t>204</a:t>
            </a:r>
            <a:endParaRPr lang="ru-RU" sz="1000" dirty="0">
              <a:solidFill>
                <a:prstClr val="black"/>
              </a:solidFill>
              <a:cs typeface="Tahoma" pitchFamily="34" charset="0"/>
            </a:endParaRPr>
          </a:p>
          <a:p>
            <a:pPr algn="ctr" defTabSz="1043056">
              <a:defRPr/>
            </a:pPr>
            <a:r>
              <a:rPr lang="ru-RU" sz="1000" dirty="0" smtClean="0">
                <a:solidFill>
                  <a:prstClr val="black"/>
                </a:solidFill>
                <a:cs typeface="Tahoma" pitchFamily="34" charset="0"/>
              </a:rPr>
              <a:t>12</a:t>
            </a:r>
            <a:endParaRPr lang="en-GB" sz="1000" dirty="0">
              <a:solidFill>
                <a:prstClr val="black"/>
              </a:solidFill>
              <a:cs typeface="Tahoma" pitchFamily="34" charset="0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507340" y="80963"/>
            <a:ext cx="8891323" cy="432000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7" name="Rectangle 16"/>
          <p:cNvSpPr/>
          <p:nvPr userDrawn="1"/>
        </p:nvSpPr>
        <p:spPr>
          <a:xfrm>
            <a:off x="-745494" y="1125539"/>
            <a:ext cx="567531" cy="525463"/>
          </a:xfrm>
          <a:prstGeom prst="rect">
            <a:avLst/>
          </a:prstGeom>
          <a:solidFill>
            <a:srgbClr val="EAEF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>
              <a:defRPr/>
            </a:pPr>
            <a:r>
              <a:rPr lang="ru-RU" sz="1000" dirty="0" smtClean="0">
                <a:solidFill>
                  <a:prstClr val="black"/>
                </a:solidFill>
                <a:cs typeface="Tahoma" pitchFamily="34" charset="0"/>
              </a:rPr>
              <a:t>234</a:t>
            </a:r>
            <a:endParaRPr lang="ru-RU" sz="1000" dirty="0">
              <a:solidFill>
                <a:prstClr val="black"/>
              </a:solidFill>
              <a:cs typeface="Tahoma" pitchFamily="34" charset="0"/>
            </a:endParaRPr>
          </a:p>
          <a:p>
            <a:pPr algn="ctr" defTabSz="1043056">
              <a:defRPr/>
            </a:pPr>
            <a:r>
              <a:rPr lang="ru-RU" sz="1000" dirty="0" smtClean="0">
                <a:solidFill>
                  <a:prstClr val="black"/>
                </a:solidFill>
                <a:cs typeface="Tahoma" pitchFamily="34" charset="0"/>
              </a:rPr>
              <a:t>239</a:t>
            </a:r>
            <a:endParaRPr lang="ru-RU" sz="1000" dirty="0">
              <a:solidFill>
                <a:prstClr val="black"/>
              </a:solidFill>
              <a:cs typeface="Tahoma" pitchFamily="34" charset="0"/>
            </a:endParaRPr>
          </a:p>
          <a:p>
            <a:pPr algn="ctr" defTabSz="1043056">
              <a:defRPr/>
            </a:pPr>
            <a:r>
              <a:rPr lang="ru-RU" sz="1000" dirty="0" smtClean="0">
                <a:solidFill>
                  <a:prstClr val="black"/>
                </a:solidFill>
                <a:cs typeface="Tahoma" pitchFamily="34" charset="0"/>
              </a:rPr>
              <a:t>247</a:t>
            </a:r>
            <a:endParaRPr lang="en-GB" sz="1000" dirty="0">
              <a:solidFill>
                <a:prstClr val="black"/>
              </a:solidFill>
              <a:cs typeface="Tahoma" pitchFamily="34" charset="0"/>
            </a:endParaRPr>
          </a:p>
        </p:txBody>
      </p:sp>
      <p:sp>
        <p:nvSpPr>
          <p:cNvPr id="18" name="Rectangle 16"/>
          <p:cNvSpPr/>
          <p:nvPr userDrawn="1"/>
        </p:nvSpPr>
        <p:spPr>
          <a:xfrm>
            <a:off x="-745494" y="1717210"/>
            <a:ext cx="567531" cy="525463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>
              <a:defRPr/>
            </a:pPr>
            <a:r>
              <a:rPr lang="ru-RU" sz="1000" dirty="0" smtClean="0">
                <a:solidFill>
                  <a:prstClr val="black"/>
                </a:solidFill>
                <a:cs typeface="Tahoma" pitchFamily="34" charset="0"/>
              </a:rPr>
              <a:t>230</a:t>
            </a:r>
            <a:endParaRPr lang="ru-RU" sz="1000" dirty="0">
              <a:solidFill>
                <a:prstClr val="black"/>
              </a:solidFill>
              <a:cs typeface="Tahoma" pitchFamily="34" charset="0"/>
            </a:endParaRPr>
          </a:p>
          <a:p>
            <a:pPr algn="ctr" defTabSz="1043056">
              <a:defRPr/>
            </a:pPr>
            <a:r>
              <a:rPr lang="ru-RU" sz="1000" dirty="0" smtClean="0">
                <a:solidFill>
                  <a:prstClr val="black"/>
                </a:solidFill>
                <a:cs typeface="Tahoma" pitchFamily="34" charset="0"/>
              </a:rPr>
              <a:t>230</a:t>
            </a:r>
            <a:endParaRPr lang="ru-RU" sz="1000" dirty="0">
              <a:solidFill>
                <a:prstClr val="black"/>
              </a:solidFill>
              <a:cs typeface="Tahoma" pitchFamily="34" charset="0"/>
            </a:endParaRPr>
          </a:p>
          <a:p>
            <a:pPr algn="ctr" defTabSz="1043056">
              <a:defRPr/>
            </a:pPr>
            <a:r>
              <a:rPr lang="ru-RU" sz="1000" dirty="0" smtClean="0">
                <a:solidFill>
                  <a:prstClr val="black"/>
                </a:solidFill>
                <a:cs typeface="Tahoma" pitchFamily="34" charset="0"/>
              </a:rPr>
              <a:t>230</a:t>
            </a:r>
            <a:endParaRPr lang="en-GB" sz="1000" dirty="0">
              <a:solidFill>
                <a:prstClr val="black"/>
              </a:solidFill>
              <a:cs typeface="Tahoma" pitchFamily="34" charset="0"/>
            </a:endParaRPr>
          </a:p>
        </p:txBody>
      </p:sp>
      <p:sp>
        <p:nvSpPr>
          <p:cNvPr id="19" name="Rectangle 16"/>
          <p:cNvSpPr/>
          <p:nvPr userDrawn="1"/>
        </p:nvSpPr>
        <p:spPr>
          <a:xfrm>
            <a:off x="-745494" y="2308880"/>
            <a:ext cx="567531" cy="5254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43056">
              <a:defRPr/>
            </a:pPr>
            <a:r>
              <a:rPr lang="ru-RU" sz="1000" dirty="0" smtClean="0">
                <a:solidFill>
                  <a:prstClr val="black"/>
                </a:solidFill>
                <a:cs typeface="Tahoma" pitchFamily="34" charset="0"/>
              </a:rPr>
              <a:t>150</a:t>
            </a:r>
            <a:endParaRPr lang="ru-RU" sz="1000" dirty="0">
              <a:solidFill>
                <a:prstClr val="black"/>
              </a:solidFill>
              <a:cs typeface="Tahoma" pitchFamily="34" charset="0"/>
            </a:endParaRPr>
          </a:p>
          <a:p>
            <a:pPr algn="ctr" defTabSz="1043056">
              <a:defRPr/>
            </a:pPr>
            <a:r>
              <a:rPr lang="ru-RU" sz="1000" dirty="0" smtClean="0">
                <a:solidFill>
                  <a:prstClr val="black"/>
                </a:solidFill>
                <a:cs typeface="Tahoma" pitchFamily="34" charset="0"/>
              </a:rPr>
              <a:t>155</a:t>
            </a:r>
            <a:endParaRPr lang="ru-RU" sz="1000" dirty="0">
              <a:solidFill>
                <a:prstClr val="black"/>
              </a:solidFill>
              <a:cs typeface="Tahoma" pitchFamily="34" charset="0"/>
            </a:endParaRPr>
          </a:p>
          <a:p>
            <a:pPr algn="ctr" defTabSz="1043056">
              <a:defRPr/>
            </a:pPr>
            <a:r>
              <a:rPr lang="ru-RU" sz="1000" dirty="0" smtClean="0">
                <a:solidFill>
                  <a:prstClr val="black"/>
                </a:solidFill>
                <a:cs typeface="Tahoma" pitchFamily="34" charset="0"/>
              </a:rPr>
              <a:t>154</a:t>
            </a:r>
            <a:endParaRPr lang="en-GB" sz="1000" dirty="0">
              <a:solidFill>
                <a:prstClr val="black"/>
              </a:solidFill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2599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  <p:sldLayoutId id="2147483982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1900" kern="1200">
          <a:solidFill>
            <a:schemeClr val="bg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1800" kern="1200">
          <a:solidFill>
            <a:srgbClr val="535756"/>
          </a:solidFill>
          <a:latin typeface="+mn-lt"/>
          <a:ea typeface="+mn-ea"/>
          <a:cs typeface="+mn-cs"/>
        </a:defRPr>
      </a:lvl1pPr>
      <a:lvl2pPr marL="252000" indent="-252000" algn="l" defTabSz="914400" rtl="0" eaLnBrk="1" latinLnBrk="0" hangingPunct="1">
        <a:lnSpc>
          <a:spcPct val="100000"/>
        </a:lnSpc>
        <a:spcBef>
          <a:spcPts val="1200"/>
        </a:spcBef>
        <a:buClr>
          <a:srgbClr val="535756"/>
        </a:buClr>
        <a:buFont typeface="Arial" panose="020B0604020202020204" pitchFamily="34" charset="0"/>
        <a:buChar char="•"/>
        <a:defRPr sz="1600" kern="1200">
          <a:solidFill>
            <a:srgbClr val="535756"/>
          </a:solidFill>
          <a:latin typeface="+mn-lt"/>
          <a:ea typeface="+mn-ea"/>
          <a:cs typeface="+mn-cs"/>
        </a:defRPr>
      </a:lvl2pPr>
      <a:lvl3pPr marL="504000" indent="-2520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535756"/>
          </a:solidFill>
          <a:latin typeface="+mn-lt"/>
          <a:ea typeface="+mn-ea"/>
          <a:cs typeface="+mn-cs"/>
        </a:defRPr>
      </a:lvl3pPr>
      <a:lvl4pPr marL="18000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rgbClr val="535756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993">
          <p15:clr>
            <a:srgbClr val="F26B43"/>
          </p15:clr>
        </p15:guide>
        <p15:guide id="2" pos="295">
          <p15:clr>
            <a:srgbClr val="F26B43"/>
          </p15:clr>
        </p15:guide>
        <p15:guide id="3" pos="5465">
          <p15:clr>
            <a:srgbClr val="F26B43"/>
          </p15:clr>
        </p15:guide>
        <p15:guide id="4" orient="horz" pos="4020">
          <p15:clr>
            <a:srgbClr val="F26B43"/>
          </p15:clr>
        </p15:guide>
        <p15:guide id="5" orient="horz" pos="709">
          <p15:clr>
            <a:srgbClr val="F26B43"/>
          </p15:clr>
        </p15:guide>
        <p15:guide id="6" orient="horz" pos="51">
          <p15:clr>
            <a:srgbClr val="F26B43"/>
          </p15:clr>
        </p15:guide>
        <p15:guide id="7" orient="horz" pos="3929">
          <p15:clr>
            <a:srgbClr val="F26B43"/>
          </p15:clr>
        </p15:guide>
        <p15:guide id="8" pos="2767">
          <p15:clr>
            <a:srgbClr val="F26B43"/>
          </p15:clr>
        </p15:guide>
        <p15:guide id="9" orient="horz" pos="232">
          <p15:clr>
            <a:srgbClr val="F26B43"/>
          </p15:clr>
        </p15:guide>
        <p15:guide id="10" orient="horz" pos="346">
          <p15:clr>
            <a:srgbClr val="F26B43"/>
          </p15:clr>
        </p15:guide>
        <p15:guide id="11" orient="horz" pos="527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310" y="6381917"/>
            <a:ext cx="1482372" cy="289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692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9" r:id="rId2"/>
    <p:sldLayoutId id="2147484000" r:id="rId3"/>
    <p:sldLayoutId id="2147484001" r:id="rId4"/>
    <p:sldLayoutId id="2147484002" r:id="rId5"/>
    <p:sldLayoutId id="2147484003" r:id="rId6"/>
    <p:sldLayoutId id="2147484004" r:id="rId7"/>
    <p:sldLayoutId id="2147484005" r:id="rId8"/>
    <p:sldLayoutId id="2147484006" r:id="rId9"/>
    <p:sldLayoutId id="2147484007" r:id="rId10"/>
    <p:sldLayoutId id="2147484008" r:id="rId11"/>
    <p:sldLayoutId id="2147484009" r:id="rId12"/>
    <p:sldLayoutId id="214748401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8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13.xml"/><Relationship Id="rId4" Type="http://schemas.openxmlformats.org/officeDocument/2006/relationships/image" Target="../media/image4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1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2.xml"/><Relationship Id="rId4" Type="http://schemas.openxmlformats.org/officeDocument/2006/relationships/image" Target="../media/image14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2.xml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2.xml"/><Relationship Id="rId6" Type="http://schemas.openxmlformats.org/officeDocument/2006/relationships/image" Target="../media/image20.pn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2.xml"/><Relationship Id="rId4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2.xml"/><Relationship Id="rId4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6.png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11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7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3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w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4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7334884" y="2886076"/>
            <a:ext cx="1720214" cy="2135505"/>
          </a:xfrm>
          <a:custGeom>
            <a:avLst/>
            <a:gdLst/>
            <a:ahLst/>
            <a:cxnLst/>
            <a:rect l="l" t="t" r="r" b="b"/>
            <a:pathLst>
              <a:path w="1720215" h="2135504">
                <a:moveTo>
                  <a:pt x="1639824" y="0"/>
                </a:moveTo>
                <a:lnTo>
                  <a:pt x="1629918" y="0"/>
                </a:lnTo>
                <a:lnTo>
                  <a:pt x="471297" y="41655"/>
                </a:lnTo>
                <a:lnTo>
                  <a:pt x="420497" y="46482"/>
                </a:lnTo>
                <a:lnTo>
                  <a:pt x="376174" y="57530"/>
                </a:lnTo>
                <a:lnTo>
                  <a:pt x="337947" y="74167"/>
                </a:lnTo>
                <a:lnTo>
                  <a:pt x="306197" y="96012"/>
                </a:lnTo>
                <a:lnTo>
                  <a:pt x="273939" y="129794"/>
                </a:lnTo>
                <a:lnTo>
                  <a:pt x="268350" y="136905"/>
                </a:lnTo>
                <a:lnTo>
                  <a:pt x="246761" y="178180"/>
                </a:lnTo>
                <a:lnTo>
                  <a:pt x="243840" y="186816"/>
                </a:lnTo>
                <a:lnTo>
                  <a:pt x="240792" y="195579"/>
                </a:lnTo>
                <a:lnTo>
                  <a:pt x="238633" y="204724"/>
                </a:lnTo>
                <a:lnTo>
                  <a:pt x="236093" y="213867"/>
                </a:lnTo>
                <a:lnTo>
                  <a:pt x="3429" y="1500886"/>
                </a:lnTo>
                <a:lnTo>
                  <a:pt x="2159" y="1510283"/>
                </a:lnTo>
                <a:lnTo>
                  <a:pt x="1270" y="1519808"/>
                </a:lnTo>
                <a:lnTo>
                  <a:pt x="0" y="1529333"/>
                </a:lnTo>
                <a:lnTo>
                  <a:pt x="0" y="1557147"/>
                </a:lnTo>
                <a:lnTo>
                  <a:pt x="1270" y="1566291"/>
                </a:lnTo>
                <a:lnTo>
                  <a:pt x="2159" y="1575054"/>
                </a:lnTo>
                <a:lnTo>
                  <a:pt x="3429" y="1584198"/>
                </a:lnTo>
                <a:lnTo>
                  <a:pt x="5588" y="1593214"/>
                </a:lnTo>
                <a:lnTo>
                  <a:pt x="8255" y="1601216"/>
                </a:lnTo>
                <a:lnTo>
                  <a:pt x="11175" y="1610360"/>
                </a:lnTo>
                <a:lnTo>
                  <a:pt x="14605" y="1618233"/>
                </a:lnTo>
                <a:lnTo>
                  <a:pt x="18034" y="1626616"/>
                </a:lnTo>
                <a:lnTo>
                  <a:pt x="21971" y="1634870"/>
                </a:lnTo>
                <a:lnTo>
                  <a:pt x="49530" y="1672970"/>
                </a:lnTo>
                <a:lnTo>
                  <a:pt x="88646" y="1706372"/>
                </a:lnTo>
                <a:lnTo>
                  <a:pt x="140208" y="1734058"/>
                </a:lnTo>
                <a:lnTo>
                  <a:pt x="1245997" y="2129663"/>
                </a:lnTo>
                <a:lnTo>
                  <a:pt x="1273556" y="2135251"/>
                </a:lnTo>
                <a:lnTo>
                  <a:pt x="1282954" y="2135251"/>
                </a:lnTo>
                <a:lnTo>
                  <a:pt x="1324737" y="2124075"/>
                </a:lnTo>
                <a:lnTo>
                  <a:pt x="1352677" y="2094738"/>
                </a:lnTo>
                <a:lnTo>
                  <a:pt x="1354836" y="2090801"/>
                </a:lnTo>
                <a:lnTo>
                  <a:pt x="1718564" y="82169"/>
                </a:lnTo>
                <a:lnTo>
                  <a:pt x="1718945" y="78104"/>
                </a:lnTo>
                <a:lnTo>
                  <a:pt x="1719834" y="73405"/>
                </a:lnTo>
                <a:lnTo>
                  <a:pt x="1719834" y="69087"/>
                </a:lnTo>
                <a:lnTo>
                  <a:pt x="1718945" y="65024"/>
                </a:lnTo>
                <a:lnTo>
                  <a:pt x="1718564" y="61087"/>
                </a:lnTo>
                <a:lnTo>
                  <a:pt x="1718056" y="56769"/>
                </a:lnTo>
                <a:lnTo>
                  <a:pt x="1716786" y="53212"/>
                </a:lnTo>
                <a:lnTo>
                  <a:pt x="1715516" y="49149"/>
                </a:lnTo>
                <a:lnTo>
                  <a:pt x="1714246" y="45592"/>
                </a:lnTo>
                <a:lnTo>
                  <a:pt x="1709928" y="38480"/>
                </a:lnTo>
                <a:lnTo>
                  <a:pt x="1708150" y="34925"/>
                </a:lnTo>
                <a:lnTo>
                  <a:pt x="1675511" y="8762"/>
                </a:lnTo>
                <a:lnTo>
                  <a:pt x="1649349" y="762"/>
                </a:lnTo>
                <a:lnTo>
                  <a:pt x="1639824" y="0"/>
                </a:lnTo>
                <a:close/>
              </a:path>
            </a:pathLst>
          </a:custGeom>
          <a:solidFill>
            <a:srgbClr val="FBC817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" name="object 3"/>
          <p:cNvSpPr/>
          <p:nvPr/>
        </p:nvSpPr>
        <p:spPr>
          <a:xfrm>
            <a:off x="9231883" y="4125979"/>
            <a:ext cx="674370" cy="1425575"/>
          </a:xfrm>
          <a:custGeom>
            <a:avLst/>
            <a:gdLst/>
            <a:ahLst/>
            <a:cxnLst/>
            <a:rect l="l" t="t" r="r" b="b"/>
            <a:pathLst>
              <a:path w="674370" h="1425575">
                <a:moveTo>
                  <a:pt x="674116" y="0"/>
                </a:moveTo>
                <a:lnTo>
                  <a:pt x="254381" y="58293"/>
                </a:lnTo>
                <a:lnTo>
                  <a:pt x="214757" y="67818"/>
                </a:lnTo>
                <a:lnTo>
                  <a:pt x="178689" y="82550"/>
                </a:lnTo>
                <a:lnTo>
                  <a:pt x="162433" y="92075"/>
                </a:lnTo>
                <a:lnTo>
                  <a:pt x="154177" y="96774"/>
                </a:lnTo>
                <a:lnTo>
                  <a:pt x="146939" y="102362"/>
                </a:lnTo>
                <a:lnTo>
                  <a:pt x="139192" y="107950"/>
                </a:lnTo>
                <a:lnTo>
                  <a:pt x="132334" y="114681"/>
                </a:lnTo>
                <a:lnTo>
                  <a:pt x="101346" y="149987"/>
                </a:lnTo>
                <a:lnTo>
                  <a:pt x="82931" y="185038"/>
                </a:lnTo>
                <a:lnTo>
                  <a:pt x="67818" y="237362"/>
                </a:lnTo>
                <a:lnTo>
                  <a:pt x="64008" y="272796"/>
                </a:lnTo>
                <a:lnTo>
                  <a:pt x="0" y="1342136"/>
                </a:lnTo>
                <a:lnTo>
                  <a:pt x="0" y="1351280"/>
                </a:lnTo>
                <a:lnTo>
                  <a:pt x="762" y="1359662"/>
                </a:lnTo>
                <a:lnTo>
                  <a:pt x="18034" y="1398143"/>
                </a:lnTo>
                <a:lnTo>
                  <a:pt x="51943" y="1421892"/>
                </a:lnTo>
                <a:lnTo>
                  <a:pt x="64897" y="1424686"/>
                </a:lnTo>
                <a:lnTo>
                  <a:pt x="69596" y="1425575"/>
                </a:lnTo>
                <a:lnTo>
                  <a:pt x="83312" y="1425575"/>
                </a:lnTo>
                <a:lnTo>
                  <a:pt x="88011" y="1425067"/>
                </a:lnTo>
                <a:lnTo>
                  <a:pt x="674116" y="1343660"/>
                </a:lnTo>
                <a:lnTo>
                  <a:pt x="674116" y="0"/>
                </a:lnTo>
                <a:close/>
              </a:path>
            </a:pathLst>
          </a:custGeom>
          <a:solidFill>
            <a:srgbClr val="FBC817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/>
          <p:nvPr/>
        </p:nvSpPr>
        <p:spPr>
          <a:xfrm>
            <a:off x="8905113" y="5940467"/>
            <a:ext cx="1001394" cy="917575"/>
          </a:xfrm>
          <a:custGeom>
            <a:avLst/>
            <a:gdLst/>
            <a:ahLst/>
            <a:cxnLst/>
            <a:rect l="l" t="t" r="r" b="b"/>
            <a:pathLst>
              <a:path w="1001395" h="917575">
                <a:moveTo>
                  <a:pt x="1000886" y="0"/>
                </a:moveTo>
                <a:lnTo>
                  <a:pt x="65404" y="235153"/>
                </a:lnTo>
                <a:lnTo>
                  <a:pt x="24891" y="256209"/>
                </a:lnTo>
                <a:lnTo>
                  <a:pt x="2539" y="290372"/>
                </a:lnTo>
                <a:lnTo>
                  <a:pt x="1650" y="293941"/>
                </a:lnTo>
                <a:lnTo>
                  <a:pt x="380" y="297916"/>
                </a:lnTo>
                <a:lnTo>
                  <a:pt x="0" y="301891"/>
                </a:lnTo>
                <a:lnTo>
                  <a:pt x="0" y="313804"/>
                </a:lnTo>
                <a:lnTo>
                  <a:pt x="380" y="317779"/>
                </a:lnTo>
                <a:lnTo>
                  <a:pt x="1650" y="322148"/>
                </a:lnTo>
                <a:lnTo>
                  <a:pt x="2539" y="326123"/>
                </a:lnTo>
                <a:lnTo>
                  <a:pt x="3809" y="330492"/>
                </a:lnTo>
                <a:lnTo>
                  <a:pt x="5968" y="334060"/>
                </a:lnTo>
                <a:lnTo>
                  <a:pt x="8127" y="338035"/>
                </a:lnTo>
                <a:lnTo>
                  <a:pt x="326389" y="917580"/>
                </a:lnTo>
                <a:lnTo>
                  <a:pt x="1000886" y="917580"/>
                </a:lnTo>
                <a:lnTo>
                  <a:pt x="1000886" y="0"/>
                </a:lnTo>
                <a:close/>
              </a:path>
            </a:pathLst>
          </a:custGeom>
          <a:solidFill>
            <a:srgbClr val="FBC817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object 5"/>
          <p:cNvSpPr/>
          <p:nvPr/>
        </p:nvSpPr>
        <p:spPr>
          <a:xfrm>
            <a:off x="7248912" y="6127750"/>
            <a:ext cx="1390015" cy="730250"/>
          </a:xfrm>
          <a:custGeom>
            <a:avLst/>
            <a:gdLst/>
            <a:ahLst/>
            <a:cxnLst/>
            <a:rect l="l" t="t" r="r" b="b"/>
            <a:pathLst>
              <a:path w="1390015" h="730250">
                <a:moveTo>
                  <a:pt x="837946" y="0"/>
                </a:moveTo>
                <a:lnTo>
                  <a:pt x="828928" y="0"/>
                </a:lnTo>
                <a:lnTo>
                  <a:pt x="825119" y="406"/>
                </a:lnTo>
                <a:lnTo>
                  <a:pt x="820801" y="1193"/>
                </a:lnTo>
                <a:lnTo>
                  <a:pt x="816483" y="1587"/>
                </a:lnTo>
                <a:lnTo>
                  <a:pt x="812165" y="2781"/>
                </a:lnTo>
                <a:lnTo>
                  <a:pt x="808354" y="3975"/>
                </a:lnTo>
                <a:lnTo>
                  <a:pt x="804037" y="5168"/>
                </a:lnTo>
                <a:lnTo>
                  <a:pt x="800100" y="7150"/>
                </a:lnTo>
                <a:lnTo>
                  <a:pt x="796290" y="8737"/>
                </a:lnTo>
                <a:lnTo>
                  <a:pt x="791972" y="11112"/>
                </a:lnTo>
                <a:lnTo>
                  <a:pt x="788543" y="13893"/>
                </a:lnTo>
                <a:lnTo>
                  <a:pt x="784733" y="16675"/>
                </a:lnTo>
                <a:lnTo>
                  <a:pt x="781176" y="19456"/>
                </a:lnTo>
                <a:lnTo>
                  <a:pt x="0" y="730255"/>
                </a:lnTo>
                <a:lnTo>
                  <a:pt x="1389634" y="730255"/>
                </a:lnTo>
                <a:lnTo>
                  <a:pt x="905001" y="38900"/>
                </a:lnTo>
                <a:lnTo>
                  <a:pt x="862965" y="5956"/>
                </a:lnTo>
                <a:lnTo>
                  <a:pt x="855218" y="3175"/>
                </a:lnTo>
                <a:lnTo>
                  <a:pt x="837946" y="0"/>
                </a:lnTo>
                <a:close/>
              </a:path>
            </a:pathLst>
          </a:custGeom>
          <a:solidFill>
            <a:srgbClr val="FBC817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" name="object 6"/>
          <p:cNvSpPr/>
          <p:nvPr/>
        </p:nvSpPr>
        <p:spPr>
          <a:xfrm>
            <a:off x="5510148" y="4397417"/>
            <a:ext cx="2425066" cy="1976755"/>
          </a:xfrm>
          <a:custGeom>
            <a:avLst/>
            <a:gdLst/>
            <a:ahLst/>
            <a:cxnLst/>
            <a:rect l="l" t="t" r="r" b="b"/>
            <a:pathLst>
              <a:path w="2425065" h="1976754">
                <a:moveTo>
                  <a:pt x="406780" y="0"/>
                </a:moveTo>
                <a:lnTo>
                  <a:pt x="402463" y="0"/>
                </a:lnTo>
                <a:lnTo>
                  <a:pt x="393446" y="762"/>
                </a:lnTo>
                <a:lnTo>
                  <a:pt x="389636" y="1143"/>
                </a:lnTo>
                <a:lnTo>
                  <a:pt x="385317" y="2412"/>
                </a:lnTo>
                <a:lnTo>
                  <a:pt x="377189" y="4318"/>
                </a:lnTo>
                <a:lnTo>
                  <a:pt x="342264" y="28956"/>
                </a:lnTo>
                <a:lnTo>
                  <a:pt x="12953" y="1090676"/>
                </a:lnTo>
                <a:lnTo>
                  <a:pt x="2159" y="1137031"/>
                </a:lnTo>
                <a:lnTo>
                  <a:pt x="508" y="1158494"/>
                </a:lnTo>
                <a:lnTo>
                  <a:pt x="0" y="1168781"/>
                </a:lnTo>
                <a:lnTo>
                  <a:pt x="508" y="1179576"/>
                </a:lnTo>
                <a:lnTo>
                  <a:pt x="888" y="1189101"/>
                </a:lnTo>
                <a:lnTo>
                  <a:pt x="1777" y="1198562"/>
                </a:lnTo>
                <a:lnTo>
                  <a:pt x="3555" y="1208493"/>
                </a:lnTo>
                <a:lnTo>
                  <a:pt x="5714" y="1217612"/>
                </a:lnTo>
                <a:lnTo>
                  <a:pt x="7747" y="1226743"/>
                </a:lnTo>
                <a:lnTo>
                  <a:pt x="10795" y="1235481"/>
                </a:lnTo>
                <a:lnTo>
                  <a:pt x="14224" y="1244206"/>
                </a:lnTo>
                <a:lnTo>
                  <a:pt x="18541" y="1252537"/>
                </a:lnTo>
                <a:lnTo>
                  <a:pt x="22478" y="1260881"/>
                </a:lnTo>
                <a:lnTo>
                  <a:pt x="26670" y="1268818"/>
                </a:lnTo>
                <a:lnTo>
                  <a:pt x="31876" y="1276756"/>
                </a:lnTo>
                <a:lnTo>
                  <a:pt x="37464" y="1283893"/>
                </a:lnTo>
                <a:lnTo>
                  <a:pt x="42672" y="1291043"/>
                </a:lnTo>
                <a:lnTo>
                  <a:pt x="76962" y="1323581"/>
                </a:lnTo>
                <a:lnTo>
                  <a:pt x="109220" y="1345412"/>
                </a:lnTo>
                <a:lnTo>
                  <a:pt x="127762" y="1354543"/>
                </a:lnTo>
                <a:lnTo>
                  <a:pt x="1374140" y="1949056"/>
                </a:lnTo>
                <a:lnTo>
                  <a:pt x="1411985" y="1964537"/>
                </a:lnTo>
                <a:lnTo>
                  <a:pt x="1440815" y="1971675"/>
                </a:lnTo>
                <a:lnTo>
                  <a:pt x="1450721" y="1973668"/>
                </a:lnTo>
                <a:lnTo>
                  <a:pt x="1470025" y="1976043"/>
                </a:lnTo>
                <a:lnTo>
                  <a:pt x="1479550" y="1976437"/>
                </a:lnTo>
                <a:lnTo>
                  <a:pt x="1498853" y="1976437"/>
                </a:lnTo>
                <a:lnTo>
                  <a:pt x="1537589" y="1970887"/>
                </a:lnTo>
                <a:lnTo>
                  <a:pt x="1575434" y="1957793"/>
                </a:lnTo>
                <a:lnTo>
                  <a:pt x="1584832" y="1953818"/>
                </a:lnTo>
                <a:lnTo>
                  <a:pt x="1593850" y="1948662"/>
                </a:lnTo>
                <a:lnTo>
                  <a:pt x="1603375" y="1943506"/>
                </a:lnTo>
                <a:lnTo>
                  <a:pt x="1621408" y="1931593"/>
                </a:lnTo>
                <a:lnTo>
                  <a:pt x="1657096" y="1901037"/>
                </a:lnTo>
                <a:lnTo>
                  <a:pt x="1665224" y="1892300"/>
                </a:lnTo>
                <a:lnTo>
                  <a:pt x="1674241" y="1883181"/>
                </a:lnTo>
                <a:lnTo>
                  <a:pt x="2403855" y="1050925"/>
                </a:lnTo>
                <a:lnTo>
                  <a:pt x="2409952" y="1044194"/>
                </a:lnTo>
                <a:lnTo>
                  <a:pt x="2414651" y="1036193"/>
                </a:lnTo>
                <a:lnTo>
                  <a:pt x="2418460" y="1028700"/>
                </a:lnTo>
                <a:lnTo>
                  <a:pt x="2421508" y="1020826"/>
                </a:lnTo>
                <a:lnTo>
                  <a:pt x="2423286" y="1012444"/>
                </a:lnTo>
                <a:lnTo>
                  <a:pt x="2424937" y="1004443"/>
                </a:lnTo>
                <a:lnTo>
                  <a:pt x="2424937" y="996188"/>
                </a:lnTo>
                <a:lnTo>
                  <a:pt x="2412492" y="958469"/>
                </a:lnTo>
                <a:lnTo>
                  <a:pt x="2406904" y="952500"/>
                </a:lnTo>
                <a:lnTo>
                  <a:pt x="2403855" y="949325"/>
                </a:lnTo>
                <a:lnTo>
                  <a:pt x="2400934" y="946531"/>
                </a:lnTo>
                <a:lnTo>
                  <a:pt x="2397505" y="943737"/>
                </a:lnTo>
                <a:lnTo>
                  <a:pt x="2393569" y="941451"/>
                </a:lnTo>
                <a:lnTo>
                  <a:pt x="2389251" y="939038"/>
                </a:lnTo>
                <a:lnTo>
                  <a:pt x="2385441" y="936625"/>
                </a:lnTo>
                <a:lnTo>
                  <a:pt x="437768" y="8000"/>
                </a:lnTo>
                <a:lnTo>
                  <a:pt x="433070" y="5587"/>
                </a:lnTo>
                <a:lnTo>
                  <a:pt x="428751" y="3937"/>
                </a:lnTo>
                <a:lnTo>
                  <a:pt x="424052" y="2793"/>
                </a:lnTo>
                <a:lnTo>
                  <a:pt x="420115" y="1650"/>
                </a:lnTo>
                <a:lnTo>
                  <a:pt x="415798" y="762"/>
                </a:lnTo>
                <a:lnTo>
                  <a:pt x="406780" y="0"/>
                </a:lnTo>
                <a:close/>
              </a:path>
            </a:pathLst>
          </a:custGeom>
          <a:solidFill>
            <a:srgbClr val="FBC817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9" name="object 9"/>
          <p:cNvSpPr txBox="1">
            <a:spLocks noGrp="1"/>
          </p:cNvSpPr>
          <p:nvPr>
            <p:ph type="sldNum" sz="quarter" idx="4294967295"/>
          </p:nvPr>
        </p:nvSpPr>
        <p:spPr>
          <a:xfrm>
            <a:off x="9626600" y="6367463"/>
            <a:ext cx="279400" cy="298450"/>
          </a:xfrm>
          <a:prstGeom prst="rect">
            <a:avLst/>
          </a:prstGeom>
        </p:spPr>
        <p:txBody>
          <a:bodyPr vert="horz" wrap="square" lIns="0" tIns="130149" rIns="0" bIns="0" rtlCol="0">
            <a:spAutoFit/>
          </a:bodyPr>
          <a:lstStyle/>
          <a:p>
            <a:pPr marL="25400">
              <a:lnSpc>
                <a:spcPts val="1310"/>
              </a:lnSpc>
            </a:pPr>
            <a:fld id="{81D60167-4931-47E6-BA6A-407CBD079E47}" type="slidenum">
              <a:rPr spc="-5" dirty="0">
                <a:solidFill>
                  <a:prstClr val="black"/>
                </a:solidFill>
              </a:rPr>
              <a:pPr marL="25400">
                <a:lnSpc>
                  <a:spcPts val="1310"/>
                </a:lnSpc>
              </a:pPr>
              <a:t>1</a:t>
            </a:fld>
            <a:endParaRPr spc="-5" dirty="0">
              <a:solidFill>
                <a:prstClr val="black"/>
              </a:solidFill>
            </a:endParaRPr>
          </a:p>
        </p:txBody>
      </p:sp>
      <p:sp>
        <p:nvSpPr>
          <p:cNvPr id="10" name="Text Placeholder 1"/>
          <p:cNvSpPr txBox="1">
            <a:spLocks/>
          </p:cNvSpPr>
          <p:nvPr/>
        </p:nvSpPr>
        <p:spPr bwMode="gray">
          <a:xfrm>
            <a:off x="712182" y="1986194"/>
            <a:ext cx="8188037" cy="12142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r>
              <a:rPr lang="ru-RU" altLang="ru-RU" sz="2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сторождения группы компаний </a:t>
            </a:r>
          </a:p>
          <a:p>
            <a:pPr algn="ctr">
              <a:spcBef>
                <a:spcPct val="50000"/>
              </a:spcBef>
              <a:defRPr/>
            </a:pPr>
            <a:r>
              <a:rPr lang="ru-RU" altLang="ru-RU" sz="2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ЛЮС</a:t>
            </a:r>
            <a:endParaRPr lang="ru-RU" sz="2400" b="1" dirty="0" smtClean="0">
              <a:solidFill>
                <a:schemeClr val="bg1"/>
              </a:solidFill>
              <a:latin typeface="Calibri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9802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99B19C1-649F-475A-B071-CFFAEF88A230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52529" y="338758"/>
            <a:ext cx="9400794" cy="429768"/>
          </a:xfrm>
        </p:spPr>
        <p:txBody>
          <a:bodyPr/>
          <a:lstStyle/>
          <a:p>
            <a:r>
              <a:rPr lang="ru-RU" sz="2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изические свойства пород </a:t>
            </a:r>
            <a:r>
              <a:rPr lang="ru-RU" sz="24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сторождений </a:t>
            </a:r>
            <a:r>
              <a:rPr lang="ru-RU" sz="2400" dirty="0" err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ухоложского</a:t>
            </a:r>
            <a:r>
              <a:rPr lang="ru-RU" sz="24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рудного поля</a:t>
            </a:r>
            <a:endParaRPr lang="ru-RU" sz="24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/>
          <a:srcRect l="6729" t="7970" r="3555" b="3174"/>
          <a:stretch/>
        </p:blipFill>
        <p:spPr>
          <a:xfrm>
            <a:off x="381000" y="1371600"/>
            <a:ext cx="3374571" cy="236220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/>
          <a:srcRect l="1289" t="4177" r="693" b="1810"/>
          <a:stretch/>
        </p:blipFill>
        <p:spPr>
          <a:xfrm>
            <a:off x="3780971" y="1524000"/>
            <a:ext cx="5791201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60155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5"/>
          <p:cNvSpPr txBox="1">
            <a:spLocks/>
          </p:cNvSpPr>
          <p:nvPr/>
        </p:nvSpPr>
        <p:spPr>
          <a:xfrm>
            <a:off x="6838950" y="6356352"/>
            <a:ext cx="20574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0636AAC-79AD-4DF8-B487-79BCDEFFC817}" type="slidenum">
              <a:rPr lang="ru-RU">
                <a:solidFill>
                  <a:prstClr val="black"/>
                </a:solidFill>
              </a:rPr>
              <a:pPr algn="r"/>
              <a:t>11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6" name="Rectangle 7"/>
          <p:cNvSpPr/>
          <p:nvPr/>
        </p:nvSpPr>
        <p:spPr bwMode="gray">
          <a:xfrm>
            <a:off x="619124" y="61013"/>
            <a:ext cx="8906492" cy="733534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eaLnBrk="0" hangingPunct="0">
              <a:lnSpc>
                <a:spcPts val="2500"/>
              </a:lnSpc>
              <a:spcBef>
                <a:spcPts val="600"/>
              </a:spcBef>
              <a:defRPr/>
            </a:pPr>
            <a:r>
              <a:rPr lang="ru-RU" sz="2400" b="1" dirty="0" err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талкинское</a:t>
            </a:r>
            <a:r>
              <a:rPr lang="ru-RU" sz="24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4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сторождение. Геология и структура. </a:t>
            </a:r>
            <a:r>
              <a:rPr lang="ru-RU" sz="16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ресурсы 1000 т)</a:t>
            </a:r>
            <a:endParaRPr lang="en-US" sz="24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Rectangle 38"/>
          <p:cNvSpPr>
            <a:spLocks noChangeArrowheads="1"/>
          </p:cNvSpPr>
          <p:nvPr/>
        </p:nvSpPr>
        <p:spPr bwMode="gray">
          <a:xfrm>
            <a:off x="4603962" y="1010749"/>
            <a:ext cx="5149638" cy="2836072"/>
          </a:xfrm>
          <a:prstGeom prst="rect">
            <a:avLst/>
          </a:prstGeom>
          <a:solidFill>
            <a:schemeClr val="bg2"/>
          </a:solidFill>
          <a:ln w="9525" algn="ctr">
            <a:noFill/>
            <a:round/>
            <a:headEnd/>
            <a:tailEnd/>
          </a:ln>
        </p:spPr>
        <p:txBody>
          <a:bodyPr lIns="0" tIns="36000" rIns="91440" bIns="0"/>
          <a:lstStyle/>
          <a:p>
            <a:pPr marL="266700" lvl="1" indent="-171450" algn="just">
              <a:spcBef>
                <a:spcPts val="300"/>
              </a:spcBef>
              <a:buClr>
                <a:srgbClr val="535756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Месторождение </a:t>
            </a:r>
            <a:r>
              <a:rPr lang="ru-RU" sz="1200" dirty="0" err="1" smtClean="0">
                <a:solidFill>
                  <a:schemeClr val="tx1">
                    <a:lumMod val="85000"/>
                    <a:lumOff val="15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орогенное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в зонах смятия осадочных и вулканогенно-осадочных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пород, между двумя региональными сдвигами.</a:t>
            </a: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66700" lvl="1" indent="-171450" algn="just">
              <a:spcBef>
                <a:spcPts val="300"/>
              </a:spcBef>
              <a:buClr>
                <a:srgbClr val="535756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Вмещающие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породы: Терригенные породы с примесью вулканогенного материала (</a:t>
            </a:r>
            <a:r>
              <a:rPr lang="ru-RU" sz="1200" dirty="0" err="1">
                <a:solidFill>
                  <a:schemeClr val="tx1">
                    <a:lumMod val="85000"/>
                    <a:lumOff val="15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пермь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), в различной степени </a:t>
            </a:r>
            <a:r>
              <a:rPr lang="ru-RU" sz="1200" dirty="0" err="1" smtClean="0">
                <a:solidFill>
                  <a:schemeClr val="tx1">
                    <a:lumMod val="85000"/>
                    <a:lumOff val="15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пиритизированы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и </a:t>
            </a:r>
            <a:r>
              <a:rPr lang="ru-RU" sz="1200" dirty="0" err="1" smtClean="0">
                <a:solidFill>
                  <a:schemeClr val="tx1">
                    <a:lumMod val="85000"/>
                    <a:lumOff val="15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углефицированы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66700" lvl="1" indent="-171450" algn="just">
              <a:spcBef>
                <a:spcPts val="300"/>
              </a:spcBef>
              <a:buClr>
                <a:srgbClr val="535756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Интрузии: дайки основного и кислого составов Позднеюрского-раннемелового возраста</a:t>
            </a:r>
          </a:p>
          <a:p>
            <a:pPr marL="266700" lvl="1" indent="-171450" algn="just">
              <a:spcBef>
                <a:spcPts val="300"/>
              </a:spcBef>
              <a:buClr>
                <a:srgbClr val="535756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Рудовмещающая структура протяженностью 4500м имеет северо-западное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простирание.</a:t>
            </a:r>
          </a:p>
          <a:p>
            <a:pPr marL="266700" lvl="1" indent="-171450" algn="just">
              <a:spcBef>
                <a:spcPts val="300"/>
              </a:spcBef>
              <a:buClr>
                <a:srgbClr val="535756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Рудные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залежи представлены сближенными линейными жилоподобными  зонами окварцевания с резкими границами и зонами кварцевого и кварц-карбонатного прожилкования, имеющих морфологию линейного штокверка</a:t>
            </a:r>
          </a:p>
          <a:p>
            <a:pPr marL="266700" lvl="1" indent="-171450" algn="just">
              <a:spcBef>
                <a:spcPts val="300"/>
              </a:spcBef>
              <a:buClr>
                <a:srgbClr val="535756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Возраст минерализации – раннемеловой</a:t>
            </a:r>
            <a:r>
              <a:rPr lang="ru-RU" sz="1050" dirty="0">
                <a:solidFill>
                  <a:schemeClr val="tx1">
                    <a:lumMod val="85000"/>
                    <a:lumOff val="15000"/>
                  </a:scheme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152400" y="1012939"/>
            <a:ext cx="4267200" cy="2833882"/>
            <a:chOff x="152400" y="1012939"/>
            <a:chExt cx="4267200" cy="2833882"/>
          </a:xfrm>
        </p:grpSpPr>
        <p:pic>
          <p:nvPicPr>
            <p:cNvPr id="12" name="Рисунок 11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2400" y="1012939"/>
              <a:ext cx="4267200" cy="2833882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8" name="Стрелка вверх 17"/>
            <p:cNvSpPr/>
            <p:nvPr/>
          </p:nvSpPr>
          <p:spPr>
            <a:xfrm rot="8501380">
              <a:off x="1453571" y="2360637"/>
              <a:ext cx="196693" cy="1070293"/>
            </a:xfrm>
            <a:prstGeom prst="up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8" name="Стрелка вверх 37"/>
            <p:cNvSpPr/>
            <p:nvPr/>
          </p:nvSpPr>
          <p:spPr>
            <a:xfrm rot="19120995">
              <a:off x="3621243" y="1075939"/>
              <a:ext cx="222059" cy="1127749"/>
            </a:xfrm>
            <a:prstGeom prst="up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9" name="Прямоугольник 18"/>
          <p:cNvSpPr/>
          <p:nvPr/>
        </p:nvSpPr>
        <p:spPr>
          <a:xfrm>
            <a:off x="1513148" y="-4704750"/>
            <a:ext cx="8860903" cy="14003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 fontAlgn="base">
              <a:spcAft>
                <a:spcPct val="0"/>
              </a:spcAft>
              <a:buSzPct val="120000"/>
              <a:buFont typeface="Arial" panose="020B0604020202020204" pitchFamily="34" charset="0"/>
              <a:buChar char="•"/>
              <a:defRPr/>
            </a:pPr>
            <a:r>
              <a:rPr lang="ru-RU" sz="1700" dirty="0"/>
              <a:t>Историческая подземная добыча около 24 </a:t>
            </a:r>
            <a:r>
              <a:rPr lang="ru-RU" sz="1700" dirty="0" err="1"/>
              <a:t>млн.т</a:t>
            </a:r>
            <a:r>
              <a:rPr lang="ru-RU" sz="1700" dirty="0"/>
              <a:t>. </a:t>
            </a:r>
          </a:p>
          <a:p>
            <a:pPr marL="342900" indent="-342900" algn="just" fontAlgn="base">
              <a:spcAft>
                <a:spcPct val="0"/>
              </a:spcAft>
              <a:buSzPct val="120000"/>
              <a:buFont typeface="Arial" panose="020B0604020202020204" pitchFamily="34" charset="0"/>
              <a:buChar char="•"/>
              <a:defRPr/>
            </a:pPr>
            <a:r>
              <a:rPr lang="ru-RU" sz="1700" dirty="0"/>
              <a:t>Подземные горные выработки достигли горизонта 650 м, </a:t>
            </a:r>
          </a:p>
          <a:p>
            <a:pPr marL="342900" indent="-342900" algn="just" fontAlgn="base">
              <a:spcAft>
                <a:spcPct val="0"/>
              </a:spcAft>
              <a:buSzPct val="120000"/>
              <a:buFont typeface="Arial" panose="020B0604020202020204" pitchFamily="34" charset="0"/>
              <a:buChar char="•"/>
              <a:defRPr/>
            </a:pPr>
            <a:r>
              <a:rPr lang="ru-RU" sz="1700" dirty="0"/>
              <a:t>Самый глубокий участок карьера на горизонте 735 м. </a:t>
            </a:r>
            <a:endParaRPr lang="ru-RU" sz="1700" dirty="0" smtClean="0"/>
          </a:p>
          <a:p>
            <a:pPr marL="342900" indent="-342900" algn="just" fontAlgn="base">
              <a:spcAft>
                <a:spcPct val="0"/>
              </a:spcAft>
              <a:buSzPct val="120000"/>
              <a:buFont typeface="Arial" panose="020B0604020202020204" pitchFamily="34" charset="0"/>
              <a:buChar char="•"/>
              <a:defRPr/>
            </a:pPr>
            <a:r>
              <a:rPr lang="ru-RU" sz="1700" dirty="0" smtClean="0"/>
              <a:t>Осложнения при добычи (тоннаж, содержания) будут продолжаться, пока карьер не пройдет подземный рудник.</a:t>
            </a:r>
            <a:endParaRPr lang="en-US" sz="1700" dirty="0"/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0" y="3858643"/>
            <a:ext cx="9144000" cy="2497709"/>
          </a:xfrm>
          <a:prstGeom prst="rect">
            <a:avLst/>
          </a:prstGeom>
        </p:spPr>
      </p:pic>
      <p:cxnSp>
        <p:nvCxnSpPr>
          <p:cNvPr id="22" name="Прямая соединительная линия 21"/>
          <p:cNvCxnSpPr/>
          <p:nvPr/>
        </p:nvCxnSpPr>
        <p:spPr>
          <a:xfrm flipH="1" flipV="1">
            <a:off x="6495068" y="4119513"/>
            <a:ext cx="2291" cy="960800"/>
          </a:xfrm>
          <a:prstGeom prst="line">
            <a:avLst/>
          </a:prstGeom>
          <a:ln w="28575">
            <a:solidFill>
              <a:srgbClr val="C000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6160396" y="3767658"/>
            <a:ext cx="7184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err="1" smtClean="0"/>
              <a:t>пр</a:t>
            </a:r>
            <a:r>
              <a:rPr lang="ru-RU" b="1" dirty="0" smtClean="0"/>
              <a:t> 50</a:t>
            </a:r>
            <a:endParaRPr lang="ru-RU" b="1" dirty="0"/>
          </a:p>
        </p:txBody>
      </p:sp>
      <p:cxnSp>
        <p:nvCxnSpPr>
          <p:cNvPr id="24" name="Прямая соединительная линия 23"/>
          <p:cNvCxnSpPr>
            <a:endCxn id="25" idx="2"/>
          </p:cNvCxnSpPr>
          <p:nvPr/>
        </p:nvCxnSpPr>
        <p:spPr>
          <a:xfrm flipV="1">
            <a:off x="5080491" y="4170745"/>
            <a:ext cx="0" cy="943323"/>
          </a:xfrm>
          <a:prstGeom prst="line">
            <a:avLst/>
          </a:prstGeom>
          <a:ln w="28575">
            <a:solidFill>
              <a:srgbClr val="C000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4721258" y="3801413"/>
            <a:ext cx="7184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err="1" smtClean="0"/>
              <a:t>пр</a:t>
            </a:r>
            <a:r>
              <a:rPr lang="ru-RU" b="1" dirty="0" smtClean="0"/>
              <a:t> 10</a:t>
            </a:r>
            <a:endParaRPr lang="ru-RU" b="1" dirty="0"/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 flipH="1" flipV="1">
            <a:off x="3787306" y="4230277"/>
            <a:ext cx="4149" cy="875123"/>
          </a:xfrm>
          <a:prstGeom prst="line">
            <a:avLst/>
          </a:prstGeom>
          <a:ln w="28575">
            <a:solidFill>
              <a:srgbClr val="C000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3265637" y="3786470"/>
            <a:ext cx="9332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err="1" smtClean="0"/>
              <a:t>пр</a:t>
            </a:r>
            <a:r>
              <a:rPr lang="ru-RU" b="1" dirty="0" smtClean="0"/>
              <a:t> (-15)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1175954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2528073" y="1784797"/>
            <a:ext cx="3861416" cy="8463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400" b="1" i="1" u="sng" dirty="0" smtClean="0">
                <a:latin typeface="Calibri" panose="020F0502020204030204" pitchFamily="34" charset="0"/>
              </a:rPr>
              <a:t>Добыча </a:t>
            </a:r>
            <a:r>
              <a:rPr lang="ru-RU" sz="1400" b="1" i="1" u="sng" dirty="0">
                <a:latin typeface="Calibri" panose="020F0502020204030204" pitchFamily="34" charset="0"/>
              </a:rPr>
              <a:t>П</a:t>
            </a:r>
            <a:r>
              <a:rPr lang="ru-RU" sz="1400" b="1" i="1" u="sng" dirty="0" smtClean="0">
                <a:latin typeface="Calibri" panose="020F0502020204030204" pitchFamily="34" charset="0"/>
              </a:rPr>
              <a:t>одземным способом </a:t>
            </a:r>
            <a:r>
              <a:rPr lang="ru-RU" sz="1200" b="1" i="1" u="sng" dirty="0" smtClean="0">
                <a:latin typeface="Calibri" panose="020F0502020204030204" pitchFamily="34" charset="0"/>
              </a:rPr>
              <a:t>-  </a:t>
            </a:r>
            <a:r>
              <a:rPr lang="ru-RU" sz="1400" b="1" i="1" u="sng" dirty="0" smtClean="0">
                <a:latin typeface="Calibri" panose="020F0502020204030204" pitchFamily="34" charset="0"/>
              </a:rPr>
              <a:t>с </a:t>
            </a:r>
            <a:r>
              <a:rPr lang="ru-RU" sz="1400" b="1" i="1" u="sng" dirty="0">
                <a:latin typeface="Calibri" panose="020F0502020204030204" pitchFamily="34" charset="0"/>
              </a:rPr>
              <a:t>1945-2004гг </a:t>
            </a:r>
            <a:endParaRPr lang="ru-RU" sz="1200" b="1" i="1" u="sng" dirty="0" smtClean="0">
              <a:latin typeface="Calibri" panose="020F0502020204030204" pitchFamily="34" charset="0"/>
            </a:endParaRPr>
          </a:p>
          <a:p>
            <a:r>
              <a:rPr lang="ru-RU" sz="1200" dirty="0" smtClean="0">
                <a:latin typeface="Calibri" panose="020F0502020204030204" pitchFamily="34" charset="0"/>
              </a:rPr>
              <a:t>Общая протяженность подземных выработок </a:t>
            </a:r>
            <a:r>
              <a:rPr lang="ru-RU" sz="1200" b="1" dirty="0"/>
              <a:t>≈</a:t>
            </a:r>
            <a:r>
              <a:rPr lang="ru-RU" sz="1200" b="1" dirty="0" smtClean="0">
                <a:latin typeface="Calibri" panose="020F0502020204030204" pitchFamily="34" charset="0"/>
              </a:rPr>
              <a:t> </a:t>
            </a:r>
            <a:r>
              <a:rPr lang="ru-RU" sz="14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150км</a:t>
            </a:r>
          </a:p>
          <a:p>
            <a:r>
              <a:rPr lang="ru-RU" sz="1200" dirty="0" smtClean="0">
                <a:latin typeface="Calibri" panose="020F0502020204030204" pitchFamily="34" charset="0"/>
              </a:rPr>
              <a:t>Отметка нижнего горизонта </a:t>
            </a:r>
            <a:r>
              <a:rPr lang="ru-RU" sz="1200" b="1" dirty="0" smtClean="0">
                <a:latin typeface="Calibri" panose="020F0502020204030204" pitchFamily="34" charset="0"/>
              </a:rPr>
              <a:t>– </a:t>
            </a:r>
            <a:r>
              <a:rPr lang="ru-RU" sz="1400" b="1" dirty="0" smtClean="0">
                <a:latin typeface="Calibri" panose="020F0502020204030204" pitchFamily="34" charset="0"/>
              </a:rPr>
              <a:t>550.0м</a:t>
            </a: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56823" y="4272682"/>
            <a:ext cx="4978769" cy="2266307"/>
          </a:xfrm>
          <a:prstGeom prst="rect">
            <a:avLst/>
          </a:prstGeom>
        </p:spPr>
      </p:pic>
      <p:pic>
        <p:nvPicPr>
          <p:cNvPr id="26626" name="Рисунок 1" descr="image00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46" t="7893"/>
          <a:stretch/>
        </p:blipFill>
        <p:spPr bwMode="auto">
          <a:xfrm>
            <a:off x="51776" y="2955427"/>
            <a:ext cx="4391311" cy="3792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51776" y="960066"/>
            <a:ext cx="972580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ru-RU" sz="1600" b="1" dirty="0" smtClean="0"/>
              <a:t>Главной особенностью </a:t>
            </a:r>
            <a:r>
              <a:rPr lang="ru-RU" sz="1600" b="1" dirty="0"/>
              <a:t>повторной открытой отработки Наталкинского месторождения является то, что контур проектируемого карьера </a:t>
            </a:r>
            <a:r>
              <a:rPr lang="ru-RU" sz="1600" b="1" dirty="0" smtClean="0"/>
              <a:t>включает </a:t>
            </a:r>
            <a:r>
              <a:rPr lang="ru-RU" sz="1600" b="1" dirty="0"/>
              <a:t>в </a:t>
            </a:r>
            <a:r>
              <a:rPr lang="ru-RU" sz="1600" b="1" dirty="0" smtClean="0"/>
              <a:t>себя 90% всего пространства </a:t>
            </a:r>
            <a:r>
              <a:rPr lang="ru-RU" sz="1600" b="1" dirty="0"/>
              <a:t>подземного рудника с </a:t>
            </a:r>
            <a:r>
              <a:rPr lang="ru-RU" sz="1600" b="1" u="sng" dirty="0"/>
              <a:t>капитальными, подготовительно-нарезными и очистными </a:t>
            </a:r>
            <a:r>
              <a:rPr lang="ru-RU" sz="1600" b="1" u="sng" dirty="0" smtClean="0"/>
              <a:t>выработками.</a:t>
            </a:r>
            <a:endParaRPr lang="ru-RU" sz="1200" b="1" i="1" u="sng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Rectangle 7"/>
          <p:cNvSpPr/>
          <p:nvPr/>
        </p:nvSpPr>
        <p:spPr bwMode="gray">
          <a:xfrm>
            <a:off x="411984" y="72240"/>
            <a:ext cx="9267109" cy="830997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algn="ctr" defTabSz="742950" eaLnBrk="0" hangingPunct="0">
              <a:spcBef>
                <a:spcPct val="50000"/>
              </a:spcBef>
              <a:defRPr/>
            </a:pPr>
            <a:r>
              <a:rPr lang="ru-RU" sz="2400" b="1" dirty="0" smtClean="0">
                <a:solidFill>
                  <a:srgbClr val="FFC000">
                    <a:lumMod val="40000"/>
                    <a:lumOff val="60000"/>
                  </a:srgbClr>
                </a:solidFill>
                <a:latin typeface="Calibri" panose="020F0502020204030204"/>
                <a:ea typeface="Verdana" panose="020B0604030504040204" pitchFamily="34" charset="0"/>
                <a:cs typeface="Verdana" panose="020B0604030504040204" pitchFamily="34" charset="0"/>
              </a:rPr>
              <a:t>Влияние подземных горных выработок (ПГВ) на работу карьера «Наталкинский»</a:t>
            </a:r>
            <a:endParaRPr lang="ru-RU" sz="2400" b="1" dirty="0">
              <a:solidFill>
                <a:srgbClr val="FFC000">
                  <a:lumMod val="40000"/>
                  <a:lumOff val="60000"/>
                </a:srgbClr>
              </a:solidFill>
              <a:latin typeface="Calibri" panose="020F0502020204030204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4969877" y="5664998"/>
            <a:ext cx="2916000" cy="0"/>
          </a:xfrm>
          <a:prstGeom prst="line">
            <a:avLst/>
          </a:prstGeom>
          <a:ln w="28575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4756962" y="5458914"/>
            <a:ext cx="73490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solidFill>
                  <a:schemeClr val="accent2"/>
                </a:solidFill>
              </a:rPr>
              <a:t>г</a:t>
            </a:r>
            <a:r>
              <a:rPr lang="ru-RU" sz="1000" b="1" dirty="0" smtClean="0">
                <a:solidFill>
                  <a:schemeClr val="accent2"/>
                </a:solidFill>
              </a:rPr>
              <a:t>ор. 600м</a:t>
            </a:r>
            <a:endParaRPr lang="ru-RU" sz="1000" b="1" dirty="0">
              <a:solidFill>
                <a:schemeClr val="accent2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448187" y="6101455"/>
            <a:ext cx="19778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solidFill>
                  <a:srgbClr val="FF0000"/>
                </a:solidFill>
              </a:rPr>
              <a:t>Конечный </a:t>
            </a:r>
          </a:p>
          <a:p>
            <a:pPr algn="ctr"/>
            <a:r>
              <a:rPr lang="ru-RU" sz="1000" b="1" dirty="0" smtClean="0">
                <a:solidFill>
                  <a:srgbClr val="FF0000"/>
                </a:solidFill>
              </a:rPr>
              <a:t>контур карьера</a:t>
            </a:r>
            <a:endParaRPr lang="ru-RU" sz="1000" b="1" dirty="0">
              <a:solidFill>
                <a:srgbClr val="FF0000"/>
              </a:solidFill>
            </a:endParaRPr>
          </a:p>
        </p:txBody>
      </p:sp>
      <p:sp>
        <p:nvSpPr>
          <p:cNvPr id="13" name="Стрелка вправо 12"/>
          <p:cNvSpPr/>
          <p:nvPr/>
        </p:nvSpPr>
        <p:spPr>
          <a:xfrm rot="13372043">
            <a:off x="7844591" y="5934164"/>
            <a:ext cx="318347" cy="112701"/>
          </a:xfrm>
          <a:prstGeom prst="rightArrow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6389489" y="1791063"/>
            <a:ext cx="3516511" cy="8463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400" b="1" i="1" u="sng" dirty="0" smtClean="0">
                <a:latin typeface="Calibri" panose="020F0502020204030204" pitchFamily="34" charset="0"/>
              </a:rPr>
              <a:t>Добыча Открытым способом </a:t>
            </a:r>
            <a:r>
              <a:rPr lang="ru-RU" sz="1200" b="1" i="1" u="sng" dirty="0" smtClean="0">
                <a:latin typeface="Calibri" panose="020F0502020204030204" pitchFamily="34" charset="0"/>
              </a:rPr>
              <a:t>-  </a:t>
            </a:r>
            <a:r>
              <a:rPr lang="ru-RU" sz="1400" b="1" i="1" u="sng" dirty="0" smtClean="0">
                <a:latin typeface="Calibri" panose="020F0502020204030204" pitchFamily="34" charset="0"/>
              </a:rPr>
              <a:t>с 2013 – …</a:t>
            </a:r>
          </a:p>
          <a:p>
            <a:r>
              <a:rPr lang="ru-RU" sz="1200" dirty="0">
                <a:latin typeface="Calibri" panose="020F0502020204030204" pitchFamily="34" charset="0"/>
              </a:rPr>
              <a:t>Объем незаполненных пустот</a:t>
            </a:r>
            <a:r>
              <a:rPr lang="ru-RU" sz="1200" b="1" dirty="0">
                <a:latin typeface="Calibri" panose="020F0502020204030204" pitchFamily="34" charset="0"/>
              </a:rPr>
              <a:t>  </a:t>
            </a:r>
            <a:r>
              <a:rPr lang="ru-RU" sz="1400" b="1" dirty="0"/>
              <a:t>≈ </a:t>
            </a:r>
            <a:r>
              <a:rPr lang="ru-RU" sz="1400" b="1" dirty="0">
                <a:solidFill>
                  <a:srgbClr val="FF0000"/>
                </a:solidFill>
              </a:rPr>
              <a:t>400 тыс. м3</a:t>
            </a:r>
          </a:p>
          <a:p>
            <a:r>
              <a:rPr lang="ru-RU" sz="1200" dirty="0" smtClean="0">
                <a:latin typeface="Calibri" panose="020F0502020204030204" pitchFamily="34" charset="0"/>
              </a:rPr>
              <a:t>Проектная отметка нижнего горизонта - </a:t>
            </a:r>
            <a:r>
              <a:rPr lang="ru-RU" sz="1400" b="1" dirty="0" smtClean="0">
                <a:latin typeface="Calibri" panose="020F0502020204030204" pitchFamily="34" charset="0"/>
              </a:rPr>
              <a:t>435.0м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776" y="1847892"/>
            <a:ext cx="2294609" cy="1432687"/>
          </a:xfrm>
          <a:prstGeom prst="rect">
            <a:avLst/>
          </a:prstGeom>
        </p:spPr>
      </p:pic>
      <p:sp>
        <p:nvSpPr>
          <p:cNvPr id="20" name="Стрелка вправо 19"/>
          <p:cNvSpPr/>
          <p:nvPr/>
        </p:nvSpPr>
        <p:spPr>
          <a:xfrm rot="13202909">
            <a:off x="8277920" y="5203931"/>
            <a:ext cx="318347" cy="112701"/>
          </a:xfrm>
          <a:prstGeom prst="rightArrow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1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273131" y="5310553"/>
            <a:ext cx="12753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solidFill>
                  <a:schemeClr val="accent1"/>
                </a:solidFill>
              </a:rPr>
              <a:t>Контур на </a:t>
            </a:r>
          </a:p>
          <a:p>
            <a:pPr algn="ctr"/>
            <a:r>
              <a:rPr lang="ru-RU" sz="1000" b="1" dirty="0" smtClean="0">
                <a:solidFill>
                  <a:schemeClr val="accent1"/>
                </a:solidFill>
              </a:rPr>
              <a:t>конец 2020г</a:t>
            </a:r>
            <a:endParaRPr lang="ru-RU" sz="1000" b="1" dirty="0">
              <a:solidFill>
                <a:schemeClr val="accent1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4021431" y="2955427"/>
            <a:ext cx="5884569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400" b="1" i="1" u="sng" dirty="0" smtClean="0">
                <a:latin typeface="Calibri" panose="020F0502020204030204" pitchFamily="34" charset="0"/>
              </a:rPr>
              <a:t>Способ обнаружения пустых выработанных пространств:</a:t>
            </a:r>
          </a:p>
          <a:p>
            <a:pPr>
              <a:lnSpc>
                <a:spcPct val="150000"/>
              </a:lnSpc>
            </a:pPr>
            <a:r>
              <a:rPr lang="ru-RU" sz="1200" dirty="0" smtClean="0">
                <a:latin typeface="Calibri" panose="020F0502020204030204" pitchFamily="34" charset="0"/>
              </a:rPr>
              <a:t>Опережающее бурение сеткой 10х20м на глубину 15 метров + данные ОЭР и ГРР.</a:t>
            </a:r>
            <a:endParaRPr lang="ru-RU" sz="1400" b="1" dirty="0" smtClean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3862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99B19C1-649F-475A-B071-CFFAEF88A230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505206" y="228600"/>
            <a:ext cx="9400794" cy="429768"/>
          </a:xfrm>
        </p:spPr>
        <p:txBody>
          <a:bodyPr/>
          <a:lstStyle/>
          <a:p>
            <a:r>
              <a:rPr lang="ru-RU" sz="2400" dirty="0" err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спективны</a:t>
            </a:r>
            <a:r>
              <a:rPr lang="ru-RU" sz="24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объекты Полюса.</a:t>
            </a:r>
            <a:br>
              <a:rPr lang="ru-RU" sz="24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20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олото-</a:t>
            </a:r>
            <a:r>
              <a:rPr lang="ru-RU" sz="2000" dirty="0" err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днопорфировые</a:t>
            </a:r>
            <a:r>
              <a:rPr lang="ru-RU" sz="20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</a:t>
            </a:r>
            <a:endParaRPr lang="ru-RU" sz="20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999835"/>
            <a:ext cx="4562094" cy="4020093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2286001" y="5019928"/>
            <a:ext cx="7467600" cy="17927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8288" indent="-268288" algn="just">
              <a:spcBef>
                <a:spcPts val="300"/>
              </a:spcBef>
              <a:buFont typeface="+mj-lt"/>
              <a:buAutoNum type="arabicPeriod"/>
            </a:pPr>
            <a:r>
              <a:rPr lang="ru-RU" sz="105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знаки золото-</a:t>
            </a:r>
            <a:r>
              <a:rPr lang="ru-RU" sz="1050" dirty="0" err="1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днопорфировой</a:t>
            </a:r>
            <a:r>
              <a:rPr lang="ru-RU" sz="105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5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истемы:</a:t>
            </a:r>
          </a:p>
          <a:p>
            <a:pPr marL="803275" algn="just">
              <a:spcBef>
                <a:spcPts val="300"/>
              </a:spcBef>
            </a:pPr>
            <a:r>
              <a:rPr lang="ru-RU" sz="105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рфировая интрузия, как правило - многофазная</a:t>
            </a:r>
            <a:endParaRPr lang="ru-RU" sz="105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803275" algn="just">
              <a:spcBef>
                <a:spcPts val="300"/>
              </a:spcBef>
            </a:pPr>
            <a:r>
              <a:rPr lang="ru-RU" sz="105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Штокверковая, прожилково-вкрапленная, с сульфидами, минерализация. </a:t>
            </a:r>
          </a:p>
          <a:p>
            <a:pPr marL="803275" algn="just">
              <a:spcBef>
                <a:spcPts val="300"/>
              </a:spcBef>
            </a:pPr>
            <a:r>
              <a:rPr lang="ru-RU" sz="105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льшие поля метасоматических изменений с характерной зональностью. </a:t>
            </a:r>
          </a:p>
          <a:p>
            <a:pPr algn="just">
              <a:spcBef>
                <a:spcPts val="300"/>
              </a:spcBef>
            </a:pPr>
            <a:r>
              <a:rPr lang="ru-RU" sz="105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 С </a:t>
            </a:r>
            <a:r>
              <a:rPr lang="ru-RU" sz="105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олото-</a:t>
            </a:r>
            <a:r>
              <a:rPr lang="ru-RU" sz="105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днопорфировым</a:t>
            </a:r>
            <a:r>
              <a:rPr lang="ru-RU" sz="105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5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руденением</a:t>
            </a:r>
            <a:r>
              <a:rPr lang="ru-RU" sz="105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чаще всего ассоциирует </a:t>
            </a:r>
            <a:r>
              <a:rPr lang="ru-RU" sz="105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карновое</a:t>
            </a:r>
            <a:r>
              <a:rPr lang="ru-RU" sz="105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и </a:t>
            </a:r>
            <a:r>
              <a:rPr lang="ru-RU" sz="105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питермальное</a:t>
            </a:r>
            <a:r>
              <a:rPr lang="ru-RU" sz="105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</a:t>
            </a:r>
            <a:r>
              <a:rPr lang="en-US" sz="105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S</a:t>
            </a:r>
            <a:r>
              <a:rPr lang="en-US" sz="105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endParaRPr lang="ru-RU" sz="1050" dirty="0" smtClean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>
              <a:spcBef>
                <a:spcPts val="300"/>
              </a:spcBef>
            </a:pPr>
            <a:r>
              <a:rPr lang="ru-RU" sz="105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. Объекты </a:t>
            </a:r>
            <a:r>
              <a:rPr lang="ru-RU" sz="105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руппируются в кластеры или линейные зоны. </a:t>
            </a:r>
          </a:p>
          <a:p>
            <a:pPr algn="just">
              <a:spcBef>
                <a:spcPts val="300"/>
              </a:spcBef>
            </a:pPr>
            <a:r>
              <a:rPr lang="ru-RU" sz="105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. Все </a:t>
            </a:r>
            <a:r>
              <a:rPr lang="ru-RU" sz="105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следние крупные открытия </a:t>
            </a:r>
            <a:r>
              <a:rPr lang="ru-RU" sz="105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сположены </a:t>
            </a:r>
            <a:r>
              <a:rPr lang="ru-RU" sz="105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1-3 км от ранее известных </a:t>
            </a:r>
            <a:r>
              <a:rPr lang="ru-RU" sz="105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сторождений</a:t>
            </a:r>
          </a:p>
          <a:p>
            <a:pPr algn="just">
              <a:spcBef>
                <a:spcPts val="300"/>
              </a:spcBef>
            </a:pPr>
            <a:r>
              <a:rPr lang="ru-RU" sz="105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. На сегодняшний день в </a:t>
            </a:r>
            <a:r>
              <a:rPr lang="ru-RU" sz="105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ировой добыче </a:t>
            </a:r>
            <a:r>
              <a:rPr lang="ru-RU" sz="105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олото-</a:t>
            </a:r>
            <a:r>
              <a:rPr lang="ru-RU" sz="1050" dirty="0" err="1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днопорфировые</a:t>
            </a:r>
            <a:r>
              <a:rPr lang="ru-RU" sz="105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05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сторождения занимают ведущее место.</a:t>
            </a:r>
          </a:p>
          <a:p>
            <a:pPr marL="268288" indent="-268288" algn="just">
              <a:buFont typeface="+mj-lt"/>
              <a:buAutoNum type="arabicPeriod"/>
            </a:pPr>
            <a:endParaRPr lang="ru-RU" sz="900" dirty="0" smtClean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2" t="6665" r="8366" b="5556"/>
          <a:stretch/>
        </p:blipFill>
        <p:spPr>
          <a:xfrm>
            <a:off x="4638294" y="999835"/>
            <a:ext cx="5181600" cy="40200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47115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Slide Number Placeholder 8"/>
          <p:cNvSpPr>
            <a:spLocks noGrp="1"/>
          </p:cNvSpPr>
          <p:nvPr>
            <p:ph type="sldNum" sz="quarter" idx="4294967295"/>
          </p:nvPr>
        </p:nvSpPr>
        <p:spPr bwMode="gray">
          <a:xfrm>
            <a:off x="9214974" y="6443316"/>
            <a:ext cx="428229" cy="28917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C05F1482-BC98-4127-A333-8481AF6BE516}" type="slidenum">
              <a:rPr lang="en-US" sz="1200"/>
              <a:pPr algn="r"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sz="1200" dirty="0"/>
          </a:p>
        </p:txBody>
      </p:sp>
      <p:sp>
        <p:nvSpPr>
          <p:cNvPr id="94" name="Text Placeholder 1"/>
          <p:cNvSpPr txBox="1">
            <a:spLocks/>
          </p:cNvSpPr>
          <p:nvPr/>
        </p:nvSpPr>
        <p:spPr bwMode="gray">
          <a:xfrm>
            <a:off x="455118" y="90408"/>
            <a:ext cx="8894688" cy="8304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ts val="600"/>
              </a:spcBef>
              <a:defRPr/>
            </a:pPr>
            <a:r>
              <a:rPr lang="ru-RU" sz="24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ЛЮС. </a:t>
            </a:r>
          </a:p>
          <a:p>
            <a:pPr>
              <a:spcBef>
                <a:spcPts val="600"/>
              </a:spcBef>
              <a:defRPr/>
            </a:pPr>
            <a:r>
              <a:rPr lang="ru-RU" sz="24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 месторождений  - 5 </a:t>
            </a:r>
            <a:r>
              <a:rPr lang="ru-RU" sz="2400" b="1" dirty="0" err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.т</a:t>
            </a:r>
            <a:r>
              <a:rPr lang="ru-RU" sz="24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ресурсов</a:t>
            </a:r>
            <a:endParaRPr lang="en-US" sz="24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0870" y="1179663"/>
            <a:ext cx="6829819" cy="4352212"/>
          </a:xfrm>
          <a:prstGeom prst="rect">
            <a:avLst/>
          </a:prstGeom>
        </p:spPr>
      </p:pic>
      <p:sp>
        <p:nvSpPr>
          <p:cNvPr id="6" name="Овал 5"/>
          <p:cNvSpPr/>
          <p:nvPr/>
        </p:nvSpPr>
        <p:spPr>
          <a:xfrm rot="5040585">
            <a:off x="7790313" y="3760323"/>
            <a:ext cx="260187" cy="338560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7" name="Овал 6"/>
          <p:cNvSpPr/>
          <p:nvPr/>
        </p:nvSpPr>
        <p:spPr>
          <a:xfrm rot="21222600">
            <a:off x="6212518" y="3599633"/>
            <a:ext cx="325096" cy="537729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8" name="Овал 7"/>
          <p:cNvSpPr/>
          <p:nvPr/>
        </p:nvSpPr>
        <p:spPr>
          <a:xfrm rot="8538203">
            <a:off x="7318776" y="3833612"/>
            <a:ext cx="258393" cy="413952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9" name="Овал 8"/>
          <p:cNvSpPr/>
          <p:nvPr/>
        </p:nvSpPr>
        <p:spPr>
          <a:xfrm>
            <a:off x="8404524" y="2580007"/>
            <a:ext cx="429585" cy="511427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10" name="Овал 9"/>
          <p:cNvSpPr>
            <a:spLocks noChangeAspect="1"/>
          </p:cNvSpPr>
          <p:nvPr/>
        </p:nvSpPr>
        <p:spPr>
          <a:xfrm>
            <a:off x="7811005" y="3832352"/>
            <a:ext cx="150700" cy="150700"/>
          </a:xfrm>
          <a:prstGeom prst="ellipse">
            <a:avLst/>
          </a:prstGeom>
          <a:solidFill>
            <a:srgbClr val="FFFF00"/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11" name="Овал 10"/>
          <p:cNvSpPr>
            <a:spLocks noChangeAspect="1"/>
          </p:cNvSpPr>
          <p:nvPr/>
        </p:nvSpPr>
        <p:spPr>
          <a:xfrm>
            <a:off x="7372971" y="3948846"/>
            <a:ext cx="183233" cy="183233"/>
          </a:xfrm>
          <a:prstGeom prst="ellipse">
            <a:avLst/>
          </a:prstGeom>
          <a:solidFill>
            <a:srgbClr val="FFFF00"/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12" name="Овал 11"/>
          <p:cNvSpPr>
            <a:spLocks noChangeAspect="1"/>
          </p:cNvSpPr>
          <p:nvPr/>
        </p:nvSpPr>
        <p:spPr>
          <a:xfrm>
            <a:off x="7404398" y="3980273"/>
            <a:ext cx="119198" cy="11919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13" name="Овал 12"/>
          <p:cNvSpPr>
            <a:spLocks noChangeAspect="1"/>
          </p:cNvSpPr>
          <p:nvPr/>
        </p:nvSpPr>
        <p:spPr>
          <a:xfrm>
            <a:off x="7841091" y="3861096"/>
            <a:ext cx="89398" cy="8939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14" name="Овал 13"/>
          <p:cNvSpPr>
            <a:spLocks noChangeAspect="1"/>
          </p:cNvSpPr>
          <p:nvPr/>
        </p:nvSpPr>
        <p:spPr>
          <a:xfrm>
            <a:off x="8532219" y="2787131"/>
            <a:ext cx="89398" cy="8939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16" name="Овал 15"/>
          <p:cNvSpPr>
            <a:spLocks noChangeAspect="1"/>
          </p:cNvSpPr>
          <p:nvPr/>
        </p:nvSpPr>
        <p:spPr>
          <a:xfrm>
            <a:off x="7830449" y="4133898"/>
            <a:ext cx="89398" cy="89398"/>
          </a:xfrm>
          <a:prstGeom prst="ellipse">
            <a:avLst/>
          </a:prstGeom>
          <a:solidFill>
            <a:srgbClr val="FFFF00"/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17" name="Овал 16"/>
          <p:cNvSpPr>
            <a:spLocks noChangeAspect="1"/>
          </p:cNvSpPr>
          <p:nvPr/>
        </p:nvSpPr>
        <p:spPr>
          <a:xfrm>
            <a:off x="8488344" y="2743256"/>
            <a:ext cx="89398" cy="89398"/>
          </a:xfrm>
          <a:prstGeom prst="ellipse">
            <a:avLst/>
          </a:prstGeom>
          <a:solidFill>
            <a:srgbClr val="FFFF00"/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18" name="Овал 17"/>
          <p:cNvSpPr>
            <a:spLocks noChangeAspect="1"/>
          </p:cNvSpPr>
          <p:nvPr/>
        </p:nvSpPr>
        <p:spPr>
          <a:xfrm>
            <a:off x="6248280" y="3809561"/>
            <a:ext cx="194403" cy="194403"/>
          </a:xfrm>
          <a:prstGeom prst="ellipse">
            <a:avLst/>
          </a:prstGeom>
          <a:solidFill>
            <a:srgbClr val="FFFF00"/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20" name="Овал 19"/>
          <p:cNvSpPr>
            <a:spLocks noChangeAspect="1"/>
          </p:cNvSpPr>
          <p:nvPr/>
        </p:nvSpPr>
        <p:spPr>
          <a:xfrm>
            <a:off x="6286500" y="3846471"/>
            <a:ext cx="119198" cy="11919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21" name="Овал 20"/>
          <p:cNvSpPr>
            <a:spLocks noChangeAspect="1"/>
          </p:cNvSpPr>
          <p:nvPr/>
        </p:nvSpPr>
        <p:spPr>
          <a:xfrm>
            <a:off x="7012341" y="5784117"/>
            <a:ext cx="196463" cy="196463"/>
          </a:xfrm>
          <a:prstGeom prst="ellipse">
            <a:avLst/>
          </a:prstGeom>
          <a:solidFill>
            <a:srgbClr val="FFFF00"/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22" name="Овал 21"/>
          <p:cNvSpPr>
            <a:spLocks noChangeAspect="1"/>
          </p:cNvSpPr>
          <p:nvPr/>
        </p:nvSpPr>
        <p:spPr>
          <a:xfrm>
            <a:off x="7050343" y="5616362"/>
            <a:ext cx="120461" cy="120461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23" name="Овал 22"/>
          <p:cNvSpPr/>
          <p:nvPr/>
        </p:nvSpPr>
        <p:spPr>
          <a:xfrm rot="21078603">
            <a:off x="8823635" y="3938463"/>
            <a:ext cx="226409" cy="91514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24" name="Овал 23"/>
          <p:cNvSpPr/>
          <p:nvPr/>
        </p:nvSpPr>
        <p:spPr>
          <a:xfrm rot="5040585">
            <a:off x="4968887" y="5004128"/>
            <a:ext cx="200384" cy="314036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25" name="Овал 24"/>
          <p:cNvSpPr/>
          <p:nvPr/>
        </p:nvSpPr>
        <p:spPr>
          <a:xfrm rot="5874321">
            <a:off x="4777096" y="4148543"/>
            <a:ext cx="200384" cy="245447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26" name="Овал 25"/>
          <p:cNvSpPr/>
          <p:nvPr/>
        </p:nvSpPr>
        <p:spPr>
          <a:xfrm rot="8055915">
            <a:off x="5158754" y="4560183"/>
            <a:ext cx="200383" cy="245447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27" name="TextBox 26"/>
          <p:cNvSpPr txBox="1"/>
          <p:nvPr/>
        </p:nvSpPr>
        <p:spPr>
          <a:xfrm>
            <a:off x="5353058" y="3537737"/>
            <a:ext cx="921539" cy="246927"/>
          </a:xfrm>
          <a:prstGeom prst="rect">
            <a:avLst/>
          </a:prstGeom>
          <a:solidFill>
            <a:schemeClr val="accent1">
              <a:lumMod val="40000"/>
              <a:lumOff val="60000"/>
              <a:alpha val="44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975" dirty="0"/>
              <a:t>Красноярск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644041" y="4198878"/>
            <a:ext cx="739891" cy="246927"/>
          </a:xfrm>
          <a:prstGeom prst="rect">
            <a:avLst/>
          </a:prstGeom>
          <a:solidFill>
            <a:schemeClr val="accent1">
              <a:lumMod val="40000"/>
              <a:lumOff val="60000"/>
              <a:alpha val="44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975" dirty="0"/>
              <a:t>Бодайбо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7614511" y="3579839"/>
            <a:ext cx="585815" cy="24692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rtlCol="0">
            <a:spAutoFit/>
          </a:bodyPr>
          <a:lstStyle/>
          <a:p>
            <a:r>
              <a:rPr lang="ru-RU" sz="975" b="1" dirty="0">
                <a:latin typeface="Arial" panose="020B0604020202020204" pitchFamily="34" charset="0"/>
                <a:cs typeface="Arial" panose="020B0604020202020204" pitchFamily="34" charset="0"/>
              </a:rPr>
              <a:t>Алдан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7762962" y="2898377"/>
            <a:ext cx="710697" cy="246927"/>
          </a:xfrm>
          <a:prstGeom prst="rect">
            <a:avLst/>
          </a:prstGeom>
          <a:solidFill>
            <a:schemeClr val="accent1">
              <a:lumMod val="40000"/>
              <a:lumOff val="60000"/>
              <a:alpha val="44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975" dirty="0"/>
              <a:t>Магадан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7649833" y="4231092"/>
            <a:ext cx="722050" cy="246927"/>
          </a:xfrm>
          <a:prstGeom prst="rect">
            <a:avLst/>
          </a:prstGeom>
          <a:solidFill>
            <a:schemeClr val="accent1">
              <a:lumMod val="40000"/>
              <a:lumOff val="60000"/>
              <a:alpha val="44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975" dirty="0" err="1"/>
              <a:t>Бамское</a:t>
            </a:r>
            <a:endParaRPr lang="ru-RU" sz="975" dirty="0"/>
          </a:p>
        </p:txBody>
      </p:sp>
      <p:sp>
        <p:nvSpPr>
          <p:cNvPr id="32" name="TextBox 31"/>
          <p:cNvSpPr txBox="1"/>
          <p:nvPr/>
        </p:nvSpPr>
        <p:spPr>
          <a:xfrm>
            <a:off x="8264951" y="1714521"/>
            <a:ext cx="835580" cy="246927"/>
          </a:xfrm>
          <a:prstGeom prst="rect">
            <a:avLst/>
          </a:prstGeom>
          <a:solidFill>
            <a:schemeClr val="accent1">
              <a:lumMod val="40000"/>
              <a:lumOff val="60000"/>
              <a:alpha val="44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975" dirty="0" err="1"/>
              <a:t>Бургахчан</a:t>
            </a:r>
            <a:endParaRPr lang="ru-RU" sz="975" dirty="0"/>
          </a:p>
        </p:txBody>
      </p:sp>
      <p:sp>
        <p:nvSpPr>
          <p:cNvPr id="33" name="TextBox 32"/>
          <p:cNvSpPr txBox="1"/>
          <p:nvPr/>
        </p:nvSpPr>
        <p:spPr>
          <a:xfrm>
            <a:off x="3915373" y="4313316"/>
            <a:ext cx="814497" cy="246927"/>
          </a:xfrm>
          <a:prstGeom prst="rect">
            <a:avLst/>
          </a:prstGeom>
          <a:solidFill>
            <a:schemeClr val="accent1">
              <a:lumMod val="40000"/>
              <a:lumOff val="60000"/>
              <a:alpha val="67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975" dirty="0"/>
              <a:t>Казахстан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3072365" y="5058928"/>
            <a:ext cx="895589" cy="246927"/>
          </a:xfrm>
          <a:prstGeom prst="rect">
            <a:avLst/>
          </a:prstGeom>
          <a:solidFill>
            <a:schemeClr val="accent1">
              <a:lumMod val="40000"/>
              <a:lumOff val="60000"/>
              <a:alpha val="44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975" dirty="0"/>
              <a:t>Узбекистан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8682741" y="4818568"/>
            <a:ext cx="738269" cy="399787"/>
          </a:xfrm>
          <a:prstGeom prst="rect">
            <a:avLst/>
          </a:prstGeom>
          <a:solidFill>
            <a:schemeClr val="accent1">
              <a:lumMod val="40000"/>
              <a:lumOff val="60000"/>
              <a:alpha val="67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975" dirty="0"/>
              <a:t>Дальний</a:t>
            </a:r>
          </a:p>
          <a:p>
            <a:r>
              <a:rPr lang="ru-RU" sz="975" dirty="0"/>
              <a:t>Восток</a:t>
            </a:r>
          </a:p>
        </p:txBody>
      </p:sp>
      <p:sp>
        <p:nvSpPr>
          <p:cNvPr id="37" name="Овал 36"/>
          <p:cNvSpPr/>
          <p:nvPr/>
        </p:nvSpPr>
        <p:spPr>
          <a:xfrm rot="5692743">
            <a:off x="7028639" y="5957152"/>
            <a:ext cx="174297" cy="376783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38" name="TextBox 37"/>
          <p:cNvSpPr txBox="1"/>
          <p:nvPr/>
        </p:nvSpPr>
        <p:spPr>
          <a:xfrm>
            <a:off x="7514214" y="5500627"/>
            <a:ext cx="2184964" cy="7819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ru-RU" sz="975" dirty="0"/>
              <a:t>Действующие производства</a:t>
            </a:r>
          </a:p>
          <a:p>
            <a:pPr>
              <a:lnSpc>
                <a:spcPct val="150000"/>
              </a:lnSpc>
            </a:pPr>
            <a:r>
              <a:rPr lang="ru-RU" sz="975" dirty="0"/>
              <a:t>Существующие поисковые Лицензии</a:t>
            </a:r>
          </a:p>
          <a:p>
            <a:pPr>
              <a:lnSpc>
                <a:spcPct val="150000"/>
              </a:lnSpc>
            </a:pPr>
            <a:r>
              <a:rPr lang="ru-RU" sz="975" dirty="0"/>
              <a:t>Регионы поискового интереса</a:t>
            </a:r>
            <a:endParaRPr lang="ru-RU" sz="1463" dirty="0"/>
          </a:p>
        </p:txBody>
      </p:sp>
      <p:sp>
        <p:nvSpPr>
          <p:cNvPr id="39" name="Прямоугольник 38"/>
          <p:cNvSpPr/>
          <p:nvPr/>
        </p:nvSpPr>
        <p:spPr>
          <a:xfrm>
            <a:off x="2997332" y="5595031"/>
            <a:ext cx="4117297" cy="7332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244"/>
              </a:spcBef>
            </a:pPr>
            <a:r>
              <a:rPr lang="ru-RU" altLang="ru-RU" sz="894" dirty="0">
                <a:latin typeface="Arial" panose="020B0604020202020204" pitchFamily="34" charset="0"/>
                <a:cs typeface="Arial" panose="020B0604020202020204" pitchFamily="34" charset="0"/>
              </a:rPr>
              <a:t>В РФ 27 основных </a:t>
            </a:r>
            <a:r>
              <a:rPr lang="ru-RU" altLang="ru-RU" sz="894" dirty="0" err="1">
                <a:latin typeface="Arial" panose="020B0604020202020204" pitchFamily="34" charset="0"/>
                <a:cs typeface="Arial" panose="020B0604020202020204" pitchFamily="34" charset="0"/>
              </a:rPr>
              <a:t>минерагенических</a:t>
            </a:r>
            <a:r>
              <a:rPr lang="ru-RU" altLang="ru-RU" sz="894" dirty="0">
                <a:latin typeface="Arial" panose="020B0604020202020204" pitchFamily="34" charset="0"/>
                <a:cs typeface="Arial" panose="020B0604020202020204" pitchFamily="34" charset="0"/>
              </a:rPr>
              <a:t> провинций.</a:t>
            </a:r>
          </a:p>
          <a:p>
            <a:pPr marL="139303" indent="-139303" algn="just">
              <a:spcBef>
                <a:spcPts val="244"/>
              </a:spcBef>
              <a:buFont typeface="Arial" panose="020B0604020202020204" pitchFamily="34" charset="0"/>
              <a:buChar char="•"/>
            </a:pPr>
            <a:r>
              <a:rPr lang="ru-RU" altLang="ru-RU" sz="894" dirty="0">
                <a:latin typeface="Arial" panose="020B0604020202020204" pitchFamily="34" charset="0"/>
                <a:cs typeface="Arial" panose="020B0604020202020204" pitchFamily="34" charset="0"/>
              </a:rPr>
              <a:t>343 </a:t>
            </a:r>
            <a:r>
              <a:rPr lang="ru-RU" altLang="ru-RU" sz="894" dirty="0" err="1">
                <a:latin typeface="Arial" panose="020B0604020202020204" pitchFamily="34" charset="0"/>
                <a:cs typeface="Arial" panose="020B0604020202020204" pitchFamily="34" charset="0"/>
              </a:rPr>
              <a:t>минерагенических</a:t>
            </a:r>
            <a:r>
              <a:rPr lang="ru-RU" altLang="ru-RU" sz="894" dirty="0">
                <a:latin typeface="Arial" panose="020B0604020202020204" pitchFamily="34" charset="0"/>
                <a:cs typeface="Arial" panose="020B0604020202020204" pitchFamily="34" charset="0"/>
              </a:rPr>
              <a:t> зон</a:t>
            </a:r>
          </a:p>
          <a:p>
            <a:pPr marL="139303" indent="-139303" algn="just">
              <a:spcBef>
                <a:spcPts val="244"/>
              </a:spcBef>
              <a:buFont typeface="Arial" panose="020B0604020202020204" pitchFamily="34" charset="0"/>
              <a:buChar char="•"/>
            </a:pPr>
            <a:r>
              <a:rPr lang="ru-RU" altLang="ru-RU" sz="894" dirty="0">
                <a:latin typeface="Arial" panose="020B0604020202020204" pitchFamily="34" charset="0"/>
                <a:cs typeface="Arial" panose="020B0604020202020204" pitchFamily="34" charset="0"/>
              </a:rPr>
              <a:t>542 рудных районов   (ПОЛЮС работает в 6 точках)</a:t>
            </a:r>
          </a:p>
          <a:p>
            <a:pPr marL="139303" indent="-139303" algn="just">
              <a:spcBef>
                <a:spcPts val="244"/>
              </a:spcBef>
              <a:buFont typeface="Arial" panose="020B0604020202020204" pitchFamily="34" charset="0"/>
              <a:buChar char="•"/>
            </a:pPr>
            <a:r>
              <a:rPr lang="ru-RU" altLang="ru-RU" sz="894" dirty="0">
                <a:latin typeface="Arial" panose="020B0604020202020204" pitchFamily="34" charset="0"/>
                <a:cs typeface="Arial" panose="020B0604020202020204" pitchFamily="34" charset="0"/>
              </a:rPr>
              <a:t>474 рудных узла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2970870" y="1179662"/>
            <a:ext cx="6829819" cy="5263654"/>
          </a:xfrm>
          <a:prstGeom prst="rect">
            <a:avLst/>
          </a:prstGeom>
          <a:noFill/>
          <a:ln w="317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41" name="TextBox 40"/>
          <p:cNvSpPr txBox="1"/>
          <p:nvPr/>
        </p:nvSpPr>
        <p:spPr>
          <a:xfrm>
            <a:off x="77369" y="1059843"/>
            <a:ext cx="2893485" cy="20226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244"/>
              </a:spcBef>
              <a:spcAft>
                <a:spcPts val="244"/>
              </a:spcAft>
            </a:pPr>
            <a:r>
              <a:rPr lang="ru-RU" sz="121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меющиеся </a:t>
            </a:r>
            <a:r>
              <a:rPr lang="ru-RU" sz="1219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исковые Лицензии</a:t>
            </a:r>
            <a:r>
              <a:rPr lang="ru-RU" sz="1219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</a:p>
          <a:p>
            <a:pPr marL="232172" indent="-232172">
              <a:spcBef>
                <a:spcPts val="81"/>
              </a:spcBef>
              <a:spcAft>
                <a:spcPts val="81"/>
              </a:spcAft>
              <a:buFont typeface="Arial" panose="020B0604020202020204" pitchFamily="34" charset="0"/>
              <a:buChar char="•"/>
            </a:pPr>
            <a:r>
              <a:rPr lang="ru-RU" sz="1138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ланги месторождений:</a:t>
            </a:r>
          </a:p>
          <a:p>
            <a:pPr>
              <a:spcBef>
                <a:spcPts val="81"/>
              </a:spcBef>
              <a:spcAft>
                <a:spcPts val="81"/>
              </a:spcAft>
            </a:pPr>
            <a:r>
              <a:rPr lang="ru-RU" sz="1138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кдекан</a:t>
            </a:r>
            <a:r>
              <a:rPr lang="ru-RU" sz="1138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138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мское</a:t>
            </a:r>
            <a:r>
              <a:rPr lang="ru-RU" sz="1138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138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анимба</a:t>
            </a:r>
            <a:r>
              <a:rPr lang="ru-RU" sz="1138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138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дольненский</a:t>
            </a:r>
            <a:r>
              <a:rPr lang="ru-RU" sz="1138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рудный узел, </a:t>
            </a:r>
            <a:r>
              <a:rPr lang="ru-RU" sz="1138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лимпиаднинская</a:t>
            </a:r>
            <a:r>
              <a:rPr lang="ru-RU" sz="1138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3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исковая </a:t>
            </a:r>
            <a:r>
              <a:rPr lang="ru-RU" sz="1138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лощадь, Куранах</a:t>
            </a:r>
          </a:p>
          <a:p>
            <a:pPr marL="232172" indent="-232172">
              <a:spcBef>
                <a:spcPts val="81"/>
              </a:spcBef>
              <a:spcAft>
                <a:spcPts val="81"/>
              </a:spcAft>
              <a:buFont typeface="Arial" panose="020B0604020202020204" pitchFamily="34" charset="0"/>
              <a:buChar char="•"/>
            </a:pPr>
            <a:r>
              <a:rPr lang="ru-RU" sz="1138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исковые Лицензии:</a:t>
            </a:r>
          </a:p>
          <a:p>
            <a:pPr>
              <a:spcBef>
                <a:spcPts val="81"/>
              </a:spcBef>
              <a:spcAft>
                <a:spcPts val="81"/>
              </a:spcAft>
            </a:pPr>
            <a:r>
              <a:rPr lang="ru-RU" sz="1138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ри </a:t>
            </a:r>
            <a:r>
              <a:rPr lang="ru-RU" sz="1138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екта Бургахчан</a:t>
            </a:r>
            <a:r>
              <a:rPr lang="ru-RU" sz="1138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>
              <a:spcBef>
                <a:spcPts val="81"/>
              </a:spcBef>
              <a:spcAft>
                <a:spcPts val="81"/>
              </a:spcAft>
            </a:pPr>
            <a:r>
              <a:rPr lang="ru-RU" sz="1138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дайбинский</a:t>
            </a:r>
            <a:r>
              <a:rPr lang="ru-RU" sz="1138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район, </a:t>
            </a:r>
          </a:p>
          <a:p>
            <a:pPr>
              <a:spcBef>
                <a:spcPts val="81"/>
              </a:spcBef>
              <a:spcAft>
                <a:spcPts val="81"/>
              </a:spcAft>
            </a:pPr>
            <a:r>
              <a:rPr lang="ru-RU" sz="1138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веро-</a:t>
            </a:r>
            <a:r>
              <a:rPr lang="ru-RU" sz="1138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нийское</a:t>
            </a:r>
            <a:r>
              <a:rPr lang="ru-RU" sz="1138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ru-RU" sz="13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2" name="Овал 41"/>
          <p:cNvSpPr/>
          <p:nvPr/>
        </p:nvSpPr>
        <p:spPr>
          <a:xfrm rot="1548714">
            <a:off x="8729304" y="1971288"/>
            <a:ext cx="201269" cy="250079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15" name="Овал 14"/>
          <p:cNvSpPr>
            <a:spLocks noChangeAspect="1"/>
          </p:cNvSpPr>
          <p:nvPr/>
        </p:nvSpPr>
        <p:spPr>
          <a:xfrm>
            <a:off x="8785240" y="2057911"/>
            <a:ext cx="89398" cy="89398"/>
          </a:xfrm>
          <a:prstGeom prst="ellipse">
            <a:avLst/>
          </a:prstGeom>
          <a:solidFill>
            <a:srgbClr val="FFFF00"/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43" name="Овал 42"/>
          <p:cNvSpPr>
            <a:spLocks noChangeAspect="1"/>
          </p:cNvSpPr>
          <p:nvPr/>
        </p:nvSpPr>
        <p:spPr>
          <a:xfrm>
            <a:off x="8895796" y="4382738"/>
            <a:ext cx="142761" cy="142761"/>
          </a:xfrm>
          <a:prstGeom prst="ellipse">
            <a:avLst/>
          </a:prstGeom>
          <a:solidFill>
            <a:srgbClr val="FFFF00"/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44" name="Овал 43"/>
          <p:cNvSpPr/>
          <p:nvPr/>
        </p:nvSpPr>
        <p:spPr>
          <a:xfrm rot="7525749">
            <a:off x="4228973" y="4800529"/>
            <a:ext cx="142978" cy="425271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6868" y="3170266"/>
            <a:ext cx="2703443" cy="3078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4112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Text Placeholder 1"/>
          <p:cNvSpPr txBox="1">
            <a:spLocks/>
          </p:cNvSpPr>
          <p:nvPr/>
        </p:nvSpPr>
        <p:spPr bwMode="gray">
          <a:xfrm>
            <a:off x="457200" y="152400"/>
            <a:ext cx="889468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ts val="600"/>
              </a:spcBef>
              <a:defRPr/>
            </a:pPr>
            <a:r>
              <a:rPr lang="ru-RU" sz="2400" b="1" dirty="0" err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лимпиаднинское</a:t>
            </a:r>
            <a:r>
              <a:rPr lang="ru-RU" sz="24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месторождение</a:t>
            </a:r>
          </a:p>
          <a:p>
            <a:pPr>
              <a:spcBef>
                <a:spcPts val="600"/>
              </a:spcBef>
              <a:defRPr/>
            </a:pPr>
            <a:r>
              <a:rPr lang="ru-RU" sz="16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ресурсы 1300 т)</a:t>
            </a:r>
            <a:endParaRPr lang="en-US" sz="24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13" name="Группа 12"/>
          <p:cNvGrpSpPr/>
          <p:nvPr/>
        </p:nvGrpSpPr>
        <p:grpSpPr>
          <a:xfrm>
            <a:off x="76200" y="990600"/>
            <a:ext cx="9857450" cy="5831556"/>
            <a:chOff x="76200" y="990600"/>
            <a:chExt cx="9857450" cy="5831556"/>
          </a:xfrm>
        </p:grpSpPr>
        <p:grpSp>
          <p:nvGrpSpPr>
            <p:cNvPr id="6" name="Группа 5"/>
            <p:cNvGrpSpPr/>
            <p:nvPr/>
          </p:nvGrpSpPr>
          <p:grpSpPr>
            <a:xfrm>
              <a:off x="76200" y="5824517"/>
              <a:ext cx="5486400" cy="997639"/>
              <a:chOff x="1752600" y="5845693"/>
              <a:chExt cx="5486400" cy="997639"/>
            </a:xfrm>
          </p:grpSpPr>
          <p:pic>
            <p:nvPicPr>
              <p:cNvPr id="31" name="Рисунок 30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8644" t="84627" r="20339"/>
              <a:stretch/>
            </p:blipFill>
            <p:spPr>
              <a:xfrm>
                <a:off x="1752600" y="5943600"/>
                <a:ext cx="5486400" cy="899732"/>
              </a:xfrm>
              <a:prstGeom prst="rect">
                <a:avLst/>
              </a:prstGeom>
            </p:spPr>
          </p:pic>
          <p:sp>
            <p:nvSpPr>
              <p:cNvPr id="12" name="Полилиния 11"/>
              <p:cNvSpPr/>
              <p:nvPr/>
            </p:nvSpPr>
            <p:spPr>
              <a:xfrm>
                <a:off x="4633878" y="6162342"/>
                <a:ext cx="1286904" cy="590928"/>
              </a:xfrm>
              <a:custGeom>
                <a:avLst/>
                <a:gdLst>
                  <a:gd name="connsiteX0" fmla="*/ 80998 w 1255964"/>
                  <a:gd name="connsiteY0" fmla="*/ 334 h 499102"/>
                  <a:gd name="connsiteX1" fmla="*/ 181011 w 1255964"/>
                  <a:gd name="connsiteY1" fmla="*/ 33672 h 499102"/>
                  <a:gd name="connsiteX2" fmla="*/ 304836 w 1255964"/>
                  <a:gd name="connsiteY2" fmla="*/ 28909 h 499102"/>
                  <a:gd name="connsiteX3" fmla="*/ 419136 w 1255964"/>
                  <a:gd name="connsiteY3" fmla="*/ 14622 h 499102"/>
                  <a:gd name="connsiteX4" fmla="*/ 495336 w 1255964"/>
                  <a:gd name="connsiteY4" fmla="*/ 5097 h 499102"/>
                  <a:gd name="connsiteX5" fmla="*/ 504861 w 1255964"/>
                  <a:gd name="connsiteY5" fmla="*/ 19384 h 499102"/>
                  <a:gd name="connsiteX6" fmla="*/ 614398 w 1255964"/>
                  <a:gd name="connsiteY6" fmla="*/ 67009 h 499102"/>
                  <a:gd name="connsiteX7" fmla="*/ 723936 w 1255964"/>
                  <a:gd name="connsiteY7" fmla="*/ 138447 h 499102"/>
                  <a:gd name="connsiteX8" fmla="*/ 819186 w 1255964"/>
                  <a:gd name="connsiteY8" fmla="*/ 157497 h 499102"/>
                  <a:gd name="connsiteX9" fmla="*/ 904911 w 1255964"/>
                  <a:gd name="connsiteY9" fmla="*/ 228934 h 499102"/>
                  <a:gd name="connsiteX10" fmla="*/ 1033498 w 1255964"/>
                  <a:gd name="connsiteY10" fmla="*/ 243222 h 499102"/>
                  <a:gd name="connsiteX11" fmla="*/ 1138273 w 1255964"/>
                  <a:gd name="connsiteY11" fmla="*/ 319422 h 499102"/>
                  <a:gd name="connsiteX12" fmla="*/ 1219236 w 1255964"/>
                  <a:gd name="connsiteY12" fmla="*/ 409909 h 499102"/>
                  <a:gd name="connsiteX13" fmla="*/ 1247811 w 1255964"/>
                  <a:gd name="connsiteY13" fmla="*/ 471822 h 499102"/>
                  <a:gd name="connsiteX14" fmla="*/ 1076361 w 1255964"/>
                  <a:gd name="connsiteY14" fmla="*/ 495634 h 499102"/>
                  <a:gd name="connsiteX15" fmla="*/ 904911 w 1255964"/>
                  <a:gd name="connsiteY15" fmla="*/ 400384 h 499102"/>
                  <a:gd name="connsiteX16" fmla="*/ 719173 w 1255964"/>
                  <a:gd name="connsiteY16" fmla="*/ 390859 h 499102"/>
                  <a:gd name="connsiteX17" fmla="*/ 542961 w 1255964"/>
                  <a:gd name="connsiteY17" fmla="*/ 319422 h 499102"/>
                  <a:gd name="connsiteX18" fmla="*/ 419136 w 1255964"/>
                  <a:gd name="connsiteY18" fmla="*/ 214647 h 499102"/>
                  <a:gd name="connsiteX19" fmla="*/ 371511 w 1255964"/>
                  <a:gd name="connsiteY19" fmla="*/ 128922 h 499102"/>
                  <a:gd name="connsiteX20" fmla="*/ 219111 w 1255964"/>
                  <a:gd name="connsiteY20" fmla="*/ 105109 h 499102"/>
                  <a:gd name="connsiteX21" fmla="*/ 85761 w 1255964"/>
                  <a:gd name="connsiteY21" fmla="*/ 109872 h 499102"/>
                  <a:gd name="connsiteX22" fmla="*/ 36 w 1255964"/>
                  <a:gd name="connsiteY22" fmla="*/ 62247 h 499102"/>
                  <a:gd name="connsiteX23" fmla="*/ 95286 w 1255964"/>
                  <a:gd name="connsiteY23" fmla="*/ 57484 h 499102"/>
                  <a:gd name="connsiteX24" fmla="*/ 80998 w 1255964"/>
                  <a:gd name="connsiteY24" fmla="*/ 334 h 499102"/>
                  <a:gd name="connsiteX0" fmla="*/ 80998 w 1255964"/>
                  <a:gd name="connsiteY0" fmla="*/ 334 h 499102"/>
                  <a:gd name="connsiteX1" fmla="*/ 181011 w 1255964"/>
                  <a:gd name="connsiteY1" fmla="*/ 33672 h 499102"/>
                  <a:gd name="connsiteX2" fmla="*/ 304836 w 1255964"/>
                  <a:gd name="connsiteY2" fmla="*/ 28909 h 499102"/>
                  <a:gd name="connsiteX3" fmla="*/ 419136 w 1255964"/>
                  <a:gd name="connsiteY3" fmla="*/ 14622 h 499102"/>
                  <a:gd name="connsiteX4" fmla="*/ 495336 w 1255964"/>
                  <a:gd name="connsiteY4" fmla="*/ 5097 h 499102"/>
                  <a:gd name="connsiteX5" fmla="*/ 559629 w 1255964"/>
                  <a:gd name="connsiteY5" fmla="*/ 31291 h 499102"/>
                  <a:gd name="connsiteX6" fmla="*/ 614398 w 1255964"/>
                  <a:gd name="connsiteY6" fmla="*/ 67009 h 499102"/>
                  <a:gd name="connsiteX7" fmla="*/ 723936 w 1255964"/>
                  <a:gd name="connsiteY7" fmla="*/ 138447 h 499102"/>
                  <a:gd name="connsiteX8" fmla="*/ 819186 w 1255964"/>
                  <a:gd name="connsiteY8" fmla="*/ 157497 h 499102"/>
                  <a:gd name="connsiteX9" fmla="*/ 904911 w 1255964"/>
                  <a:gd name="connsiteY9" fmla="*/ 228934 h 499102"/>
                  <a:gd name="connsiteX10" fmla="*/ 1033498 w 1255964"/>
                  <a:gd name="connsiteY10" fmla="*/ 243222 h 499102"/>
                  <a:gd name="connsiteX11" fmla="*/ 1138273 w 1255964"/>
                  <a:gd name="connsiteY11" fmla="*/ 319422 h 499102"/>
                  <a:gd name="connsiteX12" fmla="*/ 1219236 w 1255964"/>
                  <a:gd name="connsiteY12" fmla="*/ 409909 h 499102"/>
                  <a:gd name="connsiteX13" fmla="*/ 1247811 w 1255964"/>
                  <a:gd name="connsiteY13" fmla="*/ 471822 h 499102"/>
                  <a:gd name="connsiteX14" fmla="*/ 1076361 w 1255964"/>
                  <a:gd name="connsiteY14" fmla="*/ 495634 h 499102"/>
                  <a:gd name="connsiteX15" fmla="*/ 904911 w 1255964"/>
                  <a:gd name="connsiteY15" fmla="*/ 400384 h 499102"/>
                  <a:gd name="connsiteX16" fmla="*/ 719173 w 1255964"/>
                  <a:gd name="connsiteY16" fmla="*/ 390859 h 499102"/>
                  <a:gd name="connsiteX17" fmla="*/ 542961 w 1255964"/>
                  <a:gd name="connsiteY17" fmla="*/ 319422 h 499102"/>
                  <a:gd name="connsiteX18" fmla="*/ 419136 w 1255964"/>
                  <a:gd name="connsiteY18" fmla="*/ 214647 h 499102"/>
                  <a:gd name="connsiteX19" fmla="*/ 371511 w 1255964"/>
                  <a:gd name="connsiteY19" fmla="*/ 128922 h 499102"/>
                  <a:gd name="connsiteX20" fmla="*/ 219111 w 1255964"/>
                  <a:gd name="connsiteY20" fmla="*/ 105109 h 499102"/>
                  <a:gd name="connsiteX21" fmla="*/ 85761 w 1255964"/>
                  <a:gd name="connsiteY21" fmla="*/ 109872 h 499102"/>
                  <a:gd name="connsiteX22" fmla="*/ 36 w 1255964"/>
                  <a:gd name="connsiteY22" fmla="*/ 62247 h 499102"/>
                  <a:gd name="connsiteX23" fmla="*/ 95286 w 1255964"/>
                  <a:gd name="connsiteY23" fmla="*/ 57484 h 499102"/>
                  <a:gd name="connsiteX24" fmla="*/ 80998 w 1255964"/>
                  <a:gd name="connsiteY24" fmla="*/ 334 h 499102"/>
                  <a:gd name="connsiteX0" fmla="*/ 80998 w 1255964"/>
                  <a:gd name="connsiteY0" fmla="*/ 334 h 499102"/>
                  <a:gd name="connsiteX1" fmla="*/ 181011 w 1255964"/>
                  <a:gd name="connsiteY1" fmla="*/ 33672 h 499102"/>
                  <a:gd name="connsiteX2" fmla="*/ 304836 w 1255964"/>
                  <a:gd name="connsiteY2" fmla="*/ 28909 h 499102"/>
                  <a:gd name="connsiteX3" fmla="*/ 419136 w 1255964"/>
                  <a:gd name="connsiteY3" fmla="*/ 14622 h 499102"/>
                  <a:gd name="connsiteX4" fmla="*/ 476286 w 1255964"/>
                  <a:gd name="connsiteY4" fmla="*/ 7478 h 499102"/>
                  <a:gd name="connsiteX5" fmla="*/ 559629 w 1255964"/>
                  <a:gd name="connsiteY5" fmla="*/ 31291 h 499102"/>
                  <a:gd name="connsiteX6" fmla="*/ 614398 w 1255964"/>
                  <a:gd name="connsiteY6" fmla="*/ 67009 h 499102"/>
                  <a:gd name="connsiteX7" fmla="*/ 723936 w 1255964"/>
                  <a:gd name="connsiteY7" fmla="*/ 138447 h 499102"/>
                  <a:gd name="connsiteX8" fmla="*/ 819186 w 1255964"/>
                  <a:gd name="connsiteY8" fmla="*/ 157497 h 499102"/>
                  <a:gd name="connsiteX9" fmla="*/ 904911 w 1255964"/>
                  <a:gd name="connsiteY9" fmla="*/ 228934 h 499102"/>
                  <a:gd name="connsiteX10" fmla="*/ 1033498 w 1255964"/>
                  <a:gd name="connsiteY10" fmla="*/ 243222 h 499102"/>
                  <a:gd name="connsiteX11" fmla="*/ 1138273 w 1255964"/>
                  <a:gd name="connsiteY11" fmla="*/ 319422 h 499102"/>
                  <a:gd name="connsiteX12" fmla="*/ 1219236 w 1255964"/>
                  <a:gd name="connsiteY12" fmla="*/ 409909 h 499102"/>
                  <a:gd name="connsiteX13" fmla="*/ 1247811 w 1255964"/>
                  <a:gd name="connsiteY13" fmla="*/ 471822 h 499102"/>
                  <a:gd name="connsiteX14" fmla="*/ 1076361 w 1255964"/>
                  <a:gd name="connsiteY14" fmla="*/ 495634 h 499102"/>
                  <a:gd name="connsiteX15" fmla="*/ 904911 w 1255964"/>
                  <a:gd name="connsiteY15" fmla="*/ 400384 h 499102"/>
                  <a:gd name="connsiteX16" fmla="*/ 719173 w 1255964"/>
                  <a:gd name="connsiteY16" fmla="*/ 390859 h 499102"/>
                  <a:gd name="connsiteX17" fmla="*/ 542961 w 1255964"/>
                  <a:gd name="connsiteY17" fmla="*/ 319422 h 499102"/>
                  <a:gd name="connsiteX18" fmla="*/ 419136 w 1255964"/>
                  <a:gd name="connsiteY18" fmla="*/ 214647 h 499102"/>
                  <a:gd name="connsiteX19" fmla="*/ 371511 w 1255964"/>
                  <a:gd name="connsiteY19" fmla="*/ 128922 h 499102"/>
                  <a:gd name="connsiteX20" fmla="*/ 219111 w 1255964"/>
                  <a:gd name="connsiteY20" fmla="*/ 105109 h 499102"/>
                  <a:gd name="connsiteX21" fmla="*/ 85761 w 1255964"/>
                  <a:gd name="connsiteY21" fmla="*/ 109872 h 499102"/>
                  <a:gd name="connsiteX22" fmla="*/ 36 w 1255964"/>
                  <a:gd name="connsiteY22" fmla="*/ 62247 h 499102"/>
                  <a:gd name="connsiteX23" fmla="*/ 95286 w 1255964"/>
                  <a:gd name="connsiteY23" fmla="*/ 57484 h 499102"/>
                  <a:gd name="connsiteX24" fmla="*/ 80998 w 1255964"/>
                  <a:gd name="connsiteY24" fmla="*/ 334 h 499102"/>
                  <a:gd name="connsiteX0" fmla="*/ 80998 w 1270951"/>
                  <a:gd name="connsiteY0" fmla="*/ 334 h 566987"/>
                  <a:gd name="connsiteX1" fmla="*/ 181011 w 1270951"/>
                  <a:gd name="connsiteY1" fmla="*/ 33672 h 566987"/>
                  <a:gd name="connsiteX2" fmla="*/ 304836 w 1270951"/>
                  <a:gd name="connsiteY2" fmla="*/ 28909 h 566987"/>
                  <a:gd name="connsiteX3" fmla="*/ 419136 w 1270951"/>
                  <a:gd name="connsiteY3" fmla="*/ 14622 h 566987"/>
                  <a:gd name="connsiteX4" fmla="*/ 476286 w 1270951"/>
                  <a:gd name="connsiteY4" fmla="*/ 7478 h 566987"/>
                  <a:gd name="connsiteX5" fmla="*/ 559629 w 1270951"/>
                  <a:gd name="connsiteY5" fmla="*/ 31291 h 566987"/>
                  <a:gd name="connsiteX6" fmla="*/ 614398 w 1270951"/>
                  <a:gd name="connsiteY6" fmla="*/ 67009 h 566987"/>
                  <a:gd name="connsiteX7" fmla="*/ 723936 w 1270951"/>
                  <a:gd name="connsiteY7" fmla="*/ 138447 h 566987"/>
                  <a:gd name="connsiteX8" fmla="*/ 819186 w 1270951"/>
                  <a:gd name="connsiteY8" fmla="*/ 157497 h 566987"/>
                  <a:gd name="connsiteX9" fmla="*/ 904911 w 1270951"/>
                  <a:gd name="connsiteY9" fmla="*/ 228934 h 566987"/>
                  <a:gd name="connsiteX10" fmla="*/ 1033498 w 1270951"/>
                  <a:gd name="connsiteY10" fmla="*/ 243222 h 566987"/>
                  <a:gd name="connsiteX11" fmla="*/ 1138273 w 1270951"/>
                  <a:gd name="connsiteY11" fmla="*/ 319422 h 566987"/>
                  <a:gd name="connsiteX12" fmla="*/ 1219236 w 1270951"/>
                  <a:gd name="connsiteY12" fmla="*/ 409909 h 566987"/>
                  <a:gd name="connsiteX13" fmla="*/ 1264480 w 1270951"/>
                  <a:gd name="connsiteY13" fmla="*/ 564691 h 566987"/>
                  <a:gd name="connsiteX14" fmla="*/ 1076361 w 1270951"/>
                  <a:gd name="connsiteY14" fmla="*/ 495634 h 566987"/>
                  <a:gd name="connsiteX15" fmla="*/ 904911 w 1270951"/>
                  <a:gd name="connsiteY15" fmla="*/ 400384 h 566987"/>
                  <a:gd name="connsiteX16" fmla="*/ 719173 w 1270951"/>
                  <a:gd name="connsiteY16" fmla="*/ 390859 h 566987"/>
                  <a:gd name="connsiteX17" fmla="*/ 542961 w 1270951"/>
                  <a:gd name="connsiteY17" fmla="*/ 319422 h 566987"/>
                  <a:gd name="connsiteX18" fmla="*/ 419136 w 1270951"/>
                  <a:gd name="connsiteY18" fmla="*/ 214647 h 566987"/>
                  <a:gd name="connsiteX19" fmla="*/ 371511 w 1270951"/>
                  <a:gd name="connsiteY19" fmla="*/ 128922 h 566987"/>
                  <a:gd name="connsiteX20" fmla="*/ 219111 w 1270951"/>
                  <a:gd name="connsiteY20" fmla="*/ 105109 h 566987"/>
                  <a:gd name="connsiteX21" fmla="*/ 85761 w 1270951"/>
                  <a:gd name="connsiteY21" fmla="*/ 109872 h 566987"/>
                  <a:gd name="connsiteX22" fmla="*/ 36 w 1270951"/>
                  <a:gd name="connsiteY22" fmla="*/ 62247 h 566987"/>
                  <a:gd name="connsiteX23" fmla="*/ 95286 w 1270951"/>
                  <a:gd name="connsiteY23" fmla="*/ 57484 h 566987"/>
                  <a:gd name="connsiteX24" fmla="*/ 80998 w 1270951"/>
                  <a:gd name="connsiteY24" fmla="*/ 334 h 566987"/>
                  <a:gd name="connsiteX0" fmla="*/ 80998 w 1286503"/>
                  <a:gd name="connsiteY0" fmla="*/ 334 h 587936"/>
                  <a:gd name="connsiteX1" fmla="*/ 181011 w 1286503"/>
                  <a:gd name="connsiteY1" fmla="*/ 33672 h 587936"/>
                  <a:gd name="connsiteX2" fmla="*/ 304836 w 1286503"/>
                  <a:gd name="connsiteY2" fmla="*/ 28909 h 587936"/>
                  <a:gd name="connsiteX3" fmla="*/ 419136 w 1286503"/>
                  <a:gd name="connsiteY3" fmla="*/ 14622 h 587936"/>
                  <a:gd name="connsiteX4" fmla="*/ 476286 w 1286503"/>
                  <a:gd name="connsiteY4" fmla="*/ 7478 h 587936"/>
                  <a:gd name="connsiteX5" fmla="*/ 559629 w 1286503"/>
                  <a:gd name="connsiteY5" fmla="*/ 31291 h 587936"/>
                  <a:gd name="connsiteX6" fmla="*/ 614398 w 1286503"/>
                  <a:gd name="connsiteY6" fmla="*/ 67009 h 587936"/>
                  <a:gd name="connsiteX7" fmla="*/ 723936 w 1286503"/>
                  <a:gd name="connsiteY7" fmla="*/ 138447 h 587936"/>
                  <a:gd name="connsiteX8" fmla="*/ 819186 w 1286503"/>
                  <a:gd name="connsiteY8" fmla="*/ 157497 h 587936"/>
                  <a:gd name="connsiteX9" fmla="*/ 904911 w 1286503"/>
                  <a:gd name="connsiteY9" fmla="*/ 228934 h 587936"/>
                  <a:gd name="connsiteX10" fmla="*/ 1033498 w 1286503"/>
                  <a:gd name="connsiteY10" fmla="*/ 243222 h 587936"/>
                  <a:gd name="connsiteX11" fmla="*/ 1138273 w 1286503"/>
                  <a:gd name="connsiteY11" fmla="*/ 319422 h 587936"/>
                  <a:gd name="connsiteX12" fmla="*/ 1219236 w 1286503"/>
                  <a:gd name="connsiteY12" fmla="*/ 409909 h 587936"/>
                  <a:gd name="connsiteX13" fmla="*/ 1281148 w 1286503"/>
                  <a:gd name="connsiteY13" fmla="*/ 586122 h 587936"/>
                  <a:gd name="connsiteX14" fmla="*/ 1076361 w 1286503"/>
                  <a:gd name="connsiteY14" fmla="*/ 495634 h 587936"/>
                  <a:gd name="connsiteX15" fmla="*/ 904911 w 1286503"/>
                  <a:gd name="connsiteY15" fmla="*/ 400384 h 587936"/>
                  <a:gd name="connsiteX16" fmla="*/ 719173 w 1286503"/>
                  <a:gd name="connsiteY16" fmla="*/ 390859 h 587936"/>
                  <a:gd name="connsiteX17" fmla="*/ 542961 w 1286503"/>
                  <a:gd name="connsiteY17" fmla="*/ 319422 h 587936"/>
                  <a:gd name="connsiteX18" fmla="*/ 419136 w 1286503"/>
                  <a:gd name="connsiteY18" fmla="*/ 214647 h 587936"/>
                  <a:gd name="connsiteX19" fmla="*/ 371511 w 1286503"/>
                  <a:gd name="connsiteY19" fmla="*/ 128922 h 587936"/>
                  <a:gd name="connsiteX20" fmla="*/ 219111 w 1286503"/>
                  <a:gd name="connsiteY20" fmla="*/ 105109 h 587936"/>
                  <a:gd name="connsiteX21" fmla="*/ 85761 w 1286503"/>
                  <a:gd name="connsiteY21" fmla="*/ 109872 h 587936"/>
                  <a:gd name="connsiteX22" fmla="*/ 36 w 1286503"/>
                  <a:gd name="connsiteY22" fmla="*/ 62247 h 587936"/>
                  <a:gd name="connsiteX23" fmla="*/ 95286 w 1286503"/>
                  <a:gd name="connsiteY23" fmla="*/ 57484 h 587936"/>
                  <a:gd name="connsiteX24" fmla="*/ 80998 w 1286503"/>
                  <a:gd name="connsiteY24" fmla="*/ 334 h 587936"/>
                  <a:gd name="connsiteX0" fmla="*/ 80998 w 1286904"/>
                  <a:gd name="connsiteY0" fmla="*/ 334 h 590928"/>
                  <a:gd name="connsiteX1" fmla="*/ 181011 w 1286904"/>
                  <a:gd name="connsiteY1" fmla="*/ 33672 h 590928"/>
                  <a:gd name="connsiteX2" fmla="*/ 304836 w 1286904"/>
                  <a:gd name="connsiteY2" fmla="*/ 28909 h 590928"/>
                  <a:gd name="connsiteX3" fmla="*/ 419136 w 1286904"/>
                  <a:gd name="connsiteY3" fmla="*/ 14622 h 590928"/>
                  <a:gd name="connsiteX4" fmla="*/ 476286 w 1286904"/>
                  <a:gd name="connsiteY4" fmla="*/ 7478 h 590928"/>
                  <a:gd name="connsiteX5" fmla="*/ 559629 w 1286904"/>
                  <a:gd name="connsiteY5" fmla="*/ 31291 h 590928"/>
                  <a:gd name="connsiteX6" fmla="*/ 614398 w 1286904"/>
                  <a:gd name="connsiteY6" fmla="*/ 67009 h 590928"/>
                  <a:gd name="connsiteX7" fmla="*/ 723936 w 1286904"/>
                  <a:gd name="connsiteY7" fmla="*/ 138447 h 590928"/>
                  <a:gd name="connsiteX8" fmla="*/ 819186 w 1286904"/>
                  <a:gd name="connsiteY8" fmla="*/ 157497 h 590928"/>
                  <a:gd name="connsiteX9" fmla="*/ 904911 w 1286904"/>
                  <a:gd name="connsiteY9" fmla="*/ 228934 h 590928"/>
                  <a:gd name="connsiteX10" fmla="*/ 1033498 w 1286904"/>
                  <a:gd name="connsiteY10" fmla="*/ 243222 h 590928"/>
                  <a:gd name="connsiteX11" fmla="*/ 1138273 w 1286904"/>
                  <a:gd name="connsiteY11" fmla="*/ 319422 h 590928"/>
                  <a:gd name="connsiteX12" fmla="*/ 1219236 w 1286904"/>
                  <a:gd name="connsiteY12" fmla="*/ 409909 h 590928"/>
                  <a:gd name="connsiteX13" fmla="*/ 1281148 w 1286904"/>
                  <a:gd name="connsiteY13" fmla="*/ 586122 h 590928"/>
                  <a:gd name="connsiteX14" fmla="*/ 1069218 w 1286904"/>
                  <a:gd name="connsiteY14" fmla="*/ 528972 h 590928"/>
                  <a:gd name="connsiteX15" fmla="*/ 904911 w 1286904"/>
                  <a:gd name="connsiteY15" fmla="*/ 400384 h 590928"/>
                  <a:gd name="connsiteX16" fmla="*/ 719173 w 1286904"/>
                  <a:gd name="connsiteY16" fmla="*/ 390859 h 590928"/>
                  <a:gd name="connsiteX17" fmla="*/ 542961 w 1286904"/>
                  <a:gd name="connsiteY17" fmla="*/ 319422 h 590928"/>
                  <a:gd name="connsiteX18" fmla="*/ 419136 w 1286904"/>
                  <a:gd name="connsiteY18" fmla="*/ 214647 h 590928"/>
                  <a:gd name="connsiteX19" fmla="*/ 371511 w 1286904"/>
                  <a:gd name="connsiteY19" fmla="*/ 128922 h 590928"/>
                  <a:gd name="connsiteX20" fmla="*/ 219111 w 1286904"/>
                  <a:gd name="connsiteY20" fmla="*/ 105109 h 590928"/>
                  <a:gd name="connsiteX21" fmla="*/ 85761 w 1286904"/>
                  <a:gd name="connsiteY21" fmla="*/ 109872 h 590928"/>
                  <a:gd name="connsiteX22" fmla="*/ 36 w 1286904"/>
                  <a:gd name="connsiteY22" fmla="*/ 62247 h 590928"/>
                  <a:gd name="connsiteX23" fmla="*/ 95286 w 1286904"/>
                  <a:gd name="connsiteY23" fmla="*/ 57484 h 590928"/>
                  <a:gd name="connsiteX24" fmla="*/ 80998 w 1286904"/>
                  <a:gd name="connsiteY24" fmla="*/ 334 h 590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286904" h="590928">
                    <a:moveTo>
                      <a:pt x="80998" y="334"/>
                    </a:moveTo>
                    <a:cubicBezTo>
                      <a:pt x="95285" y="-3635"/>
                      <a:pt x="143705" y="28910"/>
                      <a:pt x="181011" y="33672"/>
                    </a:cubicBezTo>
                    <a:cubicBezTo>
                      <a:pt x="218317" y="38435"/>
                      <a:pt x="265149" y="32084"/>
                      <a:pt x="304836" y="28909"/>
                    </a:cubicBezTo>
                    <a:cubicBezTo>
                      <a:pt x="344523" y="25734"/>
                      <a:pt x="390561" y="18194"/>
                      <a:pt x="419136" y="14622"/>
                    </a:cubicBezTo>
                    <a:cubicBezTo>
                      <a:pt x="447711" y="11050"/>
                      <a:pt x="452871" y="4700"/>
                      <a:pt x="476286" y="7478"/>
                    </a:cubicBezTo>
                    <a:cubicBezTo>
                      <a:pt x="499702" y="10256"/>
                      <a:pt x="536610" y="21369"/>
                      <a:pt x="559629" y="31291"/>
                    </a:cubicBezTo>
                    <a:cubicBezTo>
                      <a:pt x="582648" y="41213"/>
                      <a:pt x="587014" y="49150"/>
                      <a:pt x="614398" y="67009"/>
                    </a:cubicBezTo>
                    <a:cubicBezTo>
                      <a:pt x="641782" y="84868"/>
                      <a:pt x="689805" y="123366"/>
                      <a:pt x="723936" y="138447"/>
                    </a:cubicBezTo>
                    <a:cubicBezTo>
                      <a:pt x="758067" y="153528"/>
                      <a:pt x="789024" y="142416"/>
                      <a:pt x="819186" y="157497"/>
                    </a:cubicBezTo>
                    <a:cubicBezTo>
                      <a:pt x="849348" y="172578"/>
                      <a:pt x="869192" y="214647"/>
                      <a:pt x="904911" y="228934"/>
                    </a:cubicBezTo>
                    <a:cubicBezTo>
                      <a:pt x="940630" y="243221"/>
                      <a:pt x="994604" y="228141"/>
                      <a:pt x="1033498" y="243222"/>
                    </a:cubicBezTo>
                    <a:cubicBezTo>
                      <a:pt x="1072392" y="258303"/>
                      <a:pt x="1107317" y="291641"/>
                      <a:pt x="1138273" y="319422"/>
                    </a:cubicBezTo>
                    <a:cubicBezTo>
                      <a:pt x="1169229" y="347203"/>
                      <a:pt x="1195424" y="365459"/>
                      <a:pt x="1219236" y="409909"/>
                    </a:cubicBezTo>
                    <a:cubicBezTo>
                      <a:pt x="1243048" y="454359"/>
                      <a:pt x="1306151" y="566278"/>
                      <a:pt x="1281148" y="586122"/>
                    </a:cubicBezTo>
                    <a:cubicBezTo>
                      <a:pt x="1256145" y="605966"/>
                      <a:pt x="1131924" y="559928"/>
                      <a:pt x="1069218" y="528972"/>
                    </a:cubicBezTo>
                    <a:cubicBezTo>
                      <a:pt x="1006512" y="498016"/>
                      <a:pt x="963252" y="423403"/>
                      <a:pt x="904911" y="400384"/>
                    </a:cubicBezTo>
                    <a:cubicBezTo>
                      <a:pt x="846570" y="377365"/>
                      <a:pt x="779498" y="404353"/>
                      <a:pt x="719173" y="390859"/>
                    </a:cubicBezTo>
                    <a:cubicBezTo>
                      <a:pt x="658848" y="377365"/>
                      <a:pt x="592967" y="348791"/>
                      <a:pt x="542961" y="319422"/>
                    </a:cubicBezTo>
                    <a:cubicBezTo>
                      <a:pt x="492955" y="290053"/>
                      <a:pt x="447711" y="246397"/>
                      <a:pt x="419136" y="214647"/>
                    </a:cubicBezTo>
                    <a:cubicBezTo>
                      <a:pt x="390561" y="182897"/>
                      <a:pt x="404849" y="147178"/>
                      <a:pt x="371511" y="128922"/>
                    </a:cubicBezTo>
                    <a:cubicBezTo>
                      <a:pt x="338173" y="110666"/>
                      <a:pt x="266736" y="108284"/>
                      <a:pt x="219111" y="105109"/>
                    </a:cubicBezTo>
                    <a:cubicBezTo>
                      <a:pt x="171486" y="101934"/>
                      <a:pt x="122274" y="117016"/>
                      <a:pt x="85761" y="109872"/>
                    </a:cubicBezTo>
                    <a:cubicBezTo>
                      <a:pt x="49248" y="102728"/>
                      <a:pt x="-1552" y="70978"/>
                      <a:pt x="36" y="62247"/>
                    </a:cubicBezTo>
                    <a:cubicBezTo>
                      <a:pt x="1624" y="53516"/>
                      <a:pt x="86555" y="66215"/>
                      <a:pt x="95286" y="57484"/>
                    </a:cubicBezTo>
                    <a:cubicBezTo>
                      <a:pt x="104017" y="48753"/>
                      <a:pt x="66711" y="4303"/>
                      <a:pt x="80998" y="334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solidFill>
                  <a:srgbClr val="FFFF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4" name="TextBox 33"/>
              <p:cNvSpPr txBox="1">
                <a:spLocks noChangeAspect="1"/>
              </p:cNvSpPr>
              <p:nvPr/>
            </p:nvSpPr>
            <p:spPr>
              <a:xfrm>
                <a:off x="6858000" y="5845693"/>
                <a:ext cx="183311" cy="195814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lIns="36000" tIns="36000" rIns="36000" bIns="36000" rtlCol="0">
                <a:spAutoFit/>
              </a:bodyPr>
              <a:lstStyle/>
              <a:p>
                <a:r>
                  <a:rPr lang="ru-RU" sz="800" dirty="0" smtClean="0"/>
                  <a:t>А2</a:t>
                </a:r>
                <a:endParaRPr lang="ru-RU" sz="1600" dirty="0"/>
              </a:p>
            </p:txBody>
          </p:sp>
        </p:grpSp>
        <p:pic>
          <p:nvPicPr>
            <p:cNvPr id="2" name="Рисунок 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7288" b="15373"/>
            <a:stretch/>
          </p:blipFill>
          <p:spPr>
            <a:xfrm>
              <a:off x="76200" y="990600"/>
              <a:ext cx="5334000" cy="4988057"/>
            </a:xfrm>
            <a:prstGeom prst="rect">
              <a:avLst/>
            </a:prstGeom>
          </p:spPr>
        </p:pic>
        <p:grpSp>
          <p:nvGrpSpPr>
            <p:cNvPr id="14" name="Группа 13"/>
            <p:cNvGrpSpPr/>
            <p:nvPr/>
          </p:nvGrpSpPr>
          <p:grpSpPr>
            <a:xfrm>
              <a:off x="797010" y="2985823"/>
              <a:ext cx="3838208" cy="2211946"/>
              <a:chOff x="838199" y="2971800"/>
              <a:chExt cx="4057534" cy="2196400"/>
            </a:xfrm>
          </p:grpSpPr>
          <p:sp>
            <p:nvSpPr>
              <p:cNvPr id="7" name="Полилиния 6"/>
              <p:cNvSpPr/>
              <p:nvPr/>
            </p:nvSpPr>
            <p:spPr>
              <a:xfrm>
                <a:off x="838199" y="4553456"/>
                <a:ext cx="640684" cy="178256"/>
              </a:xfrm>
              <a:custGeom>
                <a:avLst/>
                <a:gdLst>
                  <a:gd name="connsiteX0" fmla="*/ 34672 w 544539"/>
                  <a:gd name="connsiteY0" fmla="*/ 56564 h 174062"/>
                  <a:gd name="connsiteX1" fmla="*/ 263272 w 544539"/>
                  <a:gd name="connsiteY1" fmla="*/ 75614 h 174062"/>
                  <a:gd name="connsiteX2" fmla="*/ 339472 w 544539"/>
                  <a:gd name="connsiteY2" fmla="*/ 8939 h 174062"/>
                  <a:gd name="connsiteX3" fmla="*/ 515684 w 544539"/>
                  <a:gd name="connsiteY3" fmla="*/ 8939 h 174062"/>
                  <a:gd name="connsiteX4" fmla="*/ 525209 w 544539"/>
                  <a:gd name="connsiteY4" fmla="*/ 85139 h 174062"/>
                  <a:gd name="connsiteX5" fmla="*/ 325184 w 544539"/>
                  <a:gd name="connsiteY5" fmla="*/ 161339 h 174062"/>
                  <a:gd name="connsiteX6" fmla="*/ 191834 w 544539"/>
                  <a:gd name="connsiteY6" fmla="*/ 170864 h 174062"/>
                  <a:gd name="connsiteX7" fmla="*/ 58484 w 544539"/>
                  <a:gd name="connsiteY7" fmla="*/ 128001 h 174062"/>
                  <a:gd name="connsiteX8" fmla="*/ 6097 w 544539"/>
                  <a:gd name="connsiteY8" fmla="*/ 99426 h 174062"/>
                  <a:gd name="connsiteX9" fmla="*/ 34672 w 544539"/>
                  <a:gd name="connsiteY9" fmla="*/ 56564 h 174062"/>
                  <a:gd name="connsiteX0" fmla="*/ 34672 w 541183"/>
                  <a:gd name="connsiteY0" fmla="*/ 56564 h 181507"/>
                  <a:gd name="connsiteX1" fmla="*/ 263272 w 541183"/>
                  <a:gd name="connsiteY1" fmla="*/ 75614 h 181507"/>
                  <a:gd name="connsiteX2" fmla="*/ 339472 w 541183"/>
                  <a:gd name="connsiteY2" fmla="*/ 8939 h 181507"/>
                  <a:gd name="connsiteX3" fmla="*/ 515684 w 541183"/>
                  <a:gd name="connsiteY3" fmla="*/ 8939 h 181507"/>
                  <a:gd name="connsiteX4" fmla="*/ 525209 w 541183"/>
                  <a:gd name="connsiteY4" fmla="*/ 85139 h 181507"/>
                  <a:gd name="connsiteX5" fmla="*/ 373459 w 541183"/>
                  <a:gd name="connsiteY5" fmla="*/ 174271 h 181507"/>
                  <a:gd name="connsiteX6" fmla="*/ 191834 w 541183"/>
                  <a:gd name="connsiteY6" fmla="*/ 170864 h 181507"/>
                  <a:gd name="connsiteX7" fmla="*/ 58484 w 541183"/>
                  <a:gd name="connsiteY7" fmla="*/ 128001 h 181507"/>
                  <a:gd name="connsiteX8" fmla="*/ 6097 w 541183"/>
                  <a:gd name="connsiteY8" fmla="*/ 99426 h 181507"/>
                  <a:gd name="connsiteX9" fmla="*/ 34672 w 541183"/>
                  <a:gd name="connsiteY9" fmla="*/ 56564 h 181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41183" h="181507">
                    <a:moveTo>
                      <a:pt x="34672" y="56564"/>
                    </a:moveTo>
                    <a:cubicBezTo>
                      <a:pt x="77534" y="52595"/>
                      <a:pt x="212472" y="83552"/>
                      <a:pt x="263272" y="75614"/>
                    </a:cubicBezTo>
                    <a:cubicBezTo>
                      <a:pt x="314072" y="67676"/>
                      <a:pt x="297403" y="20051"/>
                      <a:pt x="339472" y="8939"/>
                    </a:cubicBezTo>
                    <a:cubicBezTo>
                      <a:pt x="381541" y="-2173"/>
                      <a:pt x="484728" y="-3761"/>
                      <a:pt x="515684" y="8939"/>
                    </a:cubicBezTo>
                    <a:cubicBezTo>
                      <a:pt x="546640" y="21639"/>
                      <a:pt x="548913" y="57584"/>
                      <a:pt x="525209" y="85139"/>
                    </a:cubicBezTo>
                    <a:cubicBezTo>
                      <a:pt x="501505" y="112694"/>
                      <a:pt x="429022" y="159984"/>
                      <a:pt x="373459" y="174271"/>
                    </a:cubicBezTo>
                    <a:cubicBezTo>
                      <a:pt x="317897" y="188559"/>
                      <a:pt x="244330" y="178576"/>
                      <a:pt x="191834" y="170864"/>
                    </a:cubicBezTo>
                    <a:cubicBezTo>
                      <a:pt x="139338" y="163152"/>
                      <a:pt x="89440" y="139907"/>
                      <a:pt x="58484" y="128001"/>
                    </a:cubicBezTo>
                    <a:cubicBezTo>
                      <a:pt x="27528" y="116095"/>
                      <a:pt x="14828" y="112126"/>
                      <a:pt x="6097" y="99426"/>
                    </a:cubicBezTo>
                    <a:cubicBezTo>
                      <a:pt x="-2634" y="86726"/>
                      <a:pt x="-8190" y="60533"/>
                      <a:pt x="34672" y="56564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solidFill>
                  <a:srgbClr val="FFFF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" name="Полилиния 7"/>
              <p:cNvSpPr/>
              <p:nvPr/>
            </p:nvSpPr>
            <p:spPr>
              <a:xfrm>
                <a:off x="3107445" y="4114718"/>
                <a:ext cx="829409" cy="278930"/>
              </a:xfrm>
              <a:custGeom>
                <a:avLst/>
                <a:gdLst>
                  <a:gd name="connsiteX0" fmla="*/ 2460 w 757840"/>
                  <a:gd name="connsiteY0" fmla="*/ 70137 h 260828"/>
                  <a:gd name="connsiteX1" fmla="*/ 192960 w 757840"/>
                  <a:gd name="connsiteY1" fmla="*/ 165387 h 260828"/>
                  <a:gd name="connsiteX2" fmla="*/ 373935 w 757840"/>
                  <a:gd name="connsiteY2" fmla="*/ 189200 h 260828"/>
                  <a:gd name="connsiteX3" fmla="*/ 545385 w 757840"/>
                  <a:gd name="connsiteY3" fmla="*/ 246350 h 260828"/>
                  <a:gd name="connsiteX4" fmla="*/ 678735 w 757840"/>
                  <a:gd name="connsiteY4" fmla="*/ 255875 h 260828"/>
                  <a:gd name="connsiteX5" fmla="*/ 735885 w 757840"/>
                  <a:gd name="connsiteY5" fmla="*/ 179675 h 260828"/>
                  <a:gd name="connsiteX6" fmla="*/ 754935 w 757840"/>
                  <a:gd name="connsiteY6" fmla="*/ 79662 h 260828"/>
                  <a:gd name="connsiteX7" fmla="*/ 678735 w 757840"/>
                  <a:gd name="connsiteY7" fmla="*/ 3462 h 260828"/>
                  <a:gd name="connsiteX8" fmla="*/ 512048 w 757840"/>
                  <a:gd name="connsiteY8" fmla="*/ 12987 h 260828"/>
                  <a:gd name="connsiteX9" fmla="*/ 412035 w 757840"/>
                  <a:gd name="connsiteY9" fmla="*/ 12987 h 260828"/>
                  <a:gd name="connsiteX10" fmla="*/ 373935 w 757840"/>
                  <a:gd name="connsiteY10" fmla="*/ 41562 h 260828"/>
                  <a:gd name="connsiteX11" fmla="*/ 483473 w 757840"/>
                  <a:gd name="connsiteY11" fmla="*/ 65375 h 260828"/>
                  <a:gd name="connsiteX12" fmla="*/ 583485 w 757840"/>
                  <a:gd name="connsiteY12" fmla="*/ 108237 h 260828"/>
                  <a:gd name="connsiteX13" fmla="*/ 616823 w 757840"/>
                  <a:gd name="connsiteY13" fmla="*/ 174912 h 260828"/>
                  <a:gd name="connsiteX14" fmla="*/ 473948 w 757840"/>
                  <a:gd name="connsiteY14" fmla="*/ 146337 h 260828"/>
                  <a:gd name="connsiteX15" fmla="*/ 350123 w 757840"/>
                  <a:gd name="connsiteY15" fmla="*/ 93950 h 260828"/>
                  <a:gd name="connsiteX16" fmla="*/ 231060 w 757840"/>
                  <a:gd name="connsiteY16" fmla="*/ 74900 h 260828"/>
                  <a:gd name="connsiteX17" fmla="*/ 92948 w 757840"/>
                  <a:gd name="connsiteY17" fmla="*/ 51087 h 260828"/>
                  <a:gd name="connsiteX18" fmla="*/ 2460 w 757840"/>
                  <a:gd name="connsiteY18" fmla="*/ 70137 h 260828"/>
                  <a:gd name="connsiteX0" fmla="*/ 2460 w 757840"/>
                  <a:gd name="connsiteY0" fmla="*/ 70137 h 260828"/>
                  <a:gd name="connsiteX1" fmla="*/ 192960 w 757840"/>
                  <a:gd name="connsiteY1" fmla="*/ 165387 h 260828"/>
                  <a:gd name="connsiteX2" fmla="*/ 373935 w 757840"/>
                  <a:gd name="connsiteY2" fmla="*/ 189200 h 260828"/>
                  <a:gd name="connsiteX3" fmla="*/ 545385 w 757840"/>
                  <a:gd name="connsiteY3" fmla="*/ 246350 h 260828"/>
                  <a:gd name="connsiteX4" fmla="*/ 678735 w 757840"/>
                  <a:gd name="connsiteY4" fmla="*/ 255875 h 260828"/>
                  <a:gd name="connsiteX5" fmla="*/ 735885 w 757840"/>
                  <a:gd name="connsiteY5" fmla="*/ 179675 h 260828"/>
                  <a:gd name="connsiteX6" fmla="*/ 754935 w 757840"/>
                  <a:gd name="connsiteY6" fmla="*/ 79662 h 260828"/>
                  <a:gd name="connsiteX7" fmla="*/ 678735 w 757840"/>
                  <a:gd name="connsiteY7" fmla="*/ 3462 h 260828"/>
                  <a:gd name="connsiteX8" fmla="*/ 512048 w 757840"/>
                  <a:gd name="connsiteY8" fmla="*/ 12987 h 260828"/>
                  <a:gd name="connsiteX9" fmla="*/ 412035 w 757840"/>
                  <a:gd name="connsiteY9" fmla="*/ 12987 h 260828"/>
                  <a:gd name="connsiteX10" fmla="*/ 335835 w 757840"/>
                  <a:gd name="connsiteY10" fmla="*/ 39181 h 260828"/>
                  <a:gd name="connsiteX11" fmla="*/ 483473 w 757840"/>
                  <a:gd name="connsiteY11" fmla="*/ 65375 h 260828"/>
                  <a:gd name="connsiteX12" fmla="*/ 583485 w 757840"/>
                  <a:gd name="connsiteY12" fmla="*/ 108237 h 260828"/>
                  <a:gd name="connsiteX13" fmla="*/ 616823 w 757840"/>
                  <a:gd name="connsiteY13" fmla="*/ 174912 h 260828"/>
                  <a:gd name="connsiteX14" fmla="*/ 473948 w 757840"/>
                  <a:gd name="connsiteY14" fmla="*/ 146337 h 260828"/>
                  <a:gd name="connsiteX15" fmla="*/ 350123 w 757840"/>
                  <a:gd name="connsiteY15" fmla="*/ 93950 h 260828"/>
                  <a:gd name="connsiteX16" fmla="*/ 231060 w 757840"/>
                  <a:gd name="connsiteY16" fmla="*/ 74900 h 260828"/>
                  <a:gd name="connsiteX17" fmla="*/ 92948 w 757840"/>
                  <a:gd name="connsiteY17" fmla="*/ 51087 h 260828"/>
                  <a:gd name="connsiteX18" fmla="*/ 2460 w 757840"/>
                  <a:gd name="connsiteY18" fmla="*/ 70137 h 260828"/>
                  <a:gd name="connsiteX0" fmla="*/ 2460 w 757840"/>
                  <a:gd name="connsiteY0" fmla="*/ 70092 h 260783"/>
                  <a:gd name="connsiteX1" fmla="*/ 192960 w 757840"/>
                  <a:gd name="connsiteY1" fmla="*/ 165342 h 260783"/>
                  <a:gd name="connsiteX2" fmla="*/ 373935 w 757840"/>
                  <a:gd name="connsiteY2" fmla="*/ 189155 h 260783"/>
                  <a:gd name="connsiteX3" fmla="*/ 545385 w 757840"/>
                  <a:gd name="connsiteY3" fmla="*/ 246305 h 260783"/>
                  <a:gd name="connsiteX4" fmla="*/ 678735 w 757840"/>
                  <a:gd name="connsiteY4" fmla="*/ 255830 h 260783"/>
                  <a:gd name="connsiteX5" fmla="*/ 735885 w 757840"/>
                  <a:gd name="connsiteY5" fmla="*/ 179630 h 260783"/>
                  <a:gd name="connsiteX6" fmla="*/ 754935 w 757840"/>
                  <a:gd name="connsiteY6" fmla="*/ 79617 h 260783"/>
                  <a:gd name="connsiteX7" fmla="*/ 678735 w 757840"/>
                  <a:gd name="connsiteY7" fmla="*/ 3417 h 260783"/>
                  <a:gd name="connsiteX8" fmla="*/ 512048 w 757840"/>
                  <a:gd name="connsiteY8" fmla="*/ 12942 h 260783"/>
                  <a:gd name="connsiteX9" fmla="*/ 392985 w 757840"/>
                  <a:gd name="connsiteY9" fmla="*/ 10561 h 260783"/>
                  <a:gd name="connsiteX10" fmla="*/ 335835 w 757840"/>
                  <a:gd name="connsiteY10" fmla="*/ 39136 h 260783"/>
                  <a:gd name="connsiteX11" fmla="*/ 483473 w 757840"/>
                  <a:gd name="connsiteY11" fmla="*/ 65330 h 260783"/>
                  <a:gd name="connsiteX12" fmla="*/ 583485 w 757840"/>
                  <a:gd name="connsiteY12" fmla="*/ 108192 h 260783"/>
                  <a:gd name="connsiteX13" fmla="*/ 616823 w 757840"/>
                  <a:gd name="connsiteY13" fmla="*/ 174867 h 260783"/>
                  <a:gd name="connsiteX14" fmla="*/ 473948 w 757840"/>
                  <a:gd name="connsiteY14" fmla="*/ 146292 h 260783"/>
                  <a:gd name="connsiteX15" fmla="*/ 350123 w 757840"/>
                  <a:gd name="connsiteY15" fmla="*/ 93905 h 260783"/>
                  <a:gd name="connsiteX16" fmla="*/ 231060 w 757840"/>
                  <a:gd name="connsiteY16" fmla="*/ 74855 h 260783"/>
                  <a:gd name="connsiteX17" fmla="*/ 92948 w 757840"/>
                  <a:gd name="connsiteY17" fmla="*/ 51042 h 260783"/>
                  <a:gd name="connsiteX18" fmla="*/ 2460 w 757840"/>
                  <a:gd name="connsiteY18" fmla="*/ 70092 h 260783"/>
                  <a:gd name="connsiteX0" fmla="*/ 416 w 755796"/>
                  <a:gd name="connsiteY0" fmla="*/ 70092 h 260783"/>
                  <a:gd name="connsiteX1" fmla="*/ 127266 w 755796"/>
                  <a:gd name="connsiteY1" fmla="*/ 165342 h 260783"/>
                  <a:gd name="connsiteX2" fmla="*/ 371891 w 755796"/>
                  <a:gd name="connsiteY2" fmla="*/ 189155 h 260783"/>
                  <a:gd name="connsiteX3" fmla="*/ 543341 w 755796"/>
                  <a:gd name="connsiteY3" fmla="*/ 246305 h 260783"/>
                  <a:gd name="connsiteX4" fmla="*/ 676691 w 755796"/>
                  <a:gd name="connsiteY4" fmla="*/ 255830 h 260783"/>
                  <a:gd name="connsiteX5" fmla="*/ 733841 w 755796"/>
                  <a:gd name="connsiteY5" fmla="*/ 179630 h 260783"/>
                  <a:gd name="connsiteX6" fmla="*/ 752891 w 755796"/>
                  <a:gd name="connsiteY6" fmla="*/ 79617 h 260783"/>
                  <a:gd name="connsiteX7" fmla="*/ 676691 w 755796"/>
                  <a:gd name="connsiteY7" fmla="*/ 3417 h 260783"/>
                  <a:gd name="connsiteX8" fmla="*/ 510004 w 755796"/>
                  <a:gd name="connsiteY8" fmla="*/ 12942 h 260783"/>
                  <a:gd name="connsiteX9" fmla="*/ 390941 w 755796"/>
                  <a:gd name="connsiteY9" fmla="*/ 10561 h 260783"/>
                  <a:gd name="connsiteX10" fmla="*/ 333791 w 755796"/>
                  <a:gd name="connsiteY10" fmla="*/ 39136 h 260783"/>
                  <a:gd name="connsiteX11" fmla="*/ 481429 w 755796"/>
                  <a:gd name="connsiteY11" fmla="*/ 65330 h 260783"/>
                  <a:gd name="connsiteX12" fmla="*/ 581441 w 755796"/>
                  <a:gd name="connsiteY12" fmla="*/ 108192 h 260783"/>
                  <a:gd name="connsiteX13" fmla="*/ 614779 w 755796"/>
                  <a:gd name="connsiteY13" fmla="*/ 174867 h 260783"/>
                  <a:gd name="connsiteX14" fmla="*/ 471904 w 755796"/>
                  <a:gd name="connsiteY14" fmla="*/ 146292 h 260783"/>
                  <a:gd name="connsiteX15" fmla="*/ 348079 w 755796"/>
                  <a:gd name="connsiteY15" fmla="*/ 93905 h 260783"/>
                  <a:gd name="connsiteX16" fmla="*/ 229016 w 755796"/>
                  <a:gd name="connsiteY16" fmla="*/ 74855 h 260783"/>
                  <a:gd name="connsiteX17" fmla="*/ 90904 w 755796"/>
                  <a:gd name="connsiteY17" fmla="*/ 51042 h 260783"/>
                  <a:gd name="connsiteX18" fmla="*/ 416 w 755796"/>
                  <a:gd name="connsiteY18" fmla="*/ 70092 h 260783"/>
                  <a:gd name="connsiteX0" fmla="*/ 416 w 755796"/>
                  <a:gd name="connsiteY0" fmla="*/ 70092 h 259907"/>
                  <a:gd name="connsiteX1" fmla="*/ 127266 w 755796"/>
                  <a:gd name="connsiteY1" fmla="*/ 165342 h 259907"/>
                  <a:gd name="connsiteX2" fmla="*/ 348745 w 755796"/>
                  <a:gd name="connsiteY2" fmla="*/ 218739 h 259907"/>
                  <a:gd name="connsiteX3" fmla="*/ 543341 w 755796"/>
                  <a:gd name="connsiteY3" fmla="*/ 246305 h 259907"/>
                  <a:gd name="connsiteX4" fmla="*/ 676691 w 755796"/>
                  <a:gd name="connsiteY4" fmla="*/ 255830 h 259907"/>
                  <a:gd name="connsiteX5" fmla="*/ 733841 w 755796"/>
                  <a:gd name="connsiteY5" fmla="*/ 179630 h 259907"/>
                  <a:gd name="connsiteX6" fmla="*/ 752891 w 755796"/>
                  <a:gd name="connsiteY6" fmla="*/ 79617 h 259907"/>
                  <a:gd name="connsiteX7" fmla="*/ 676691 w 755796"/>
                  <a:gd name="connsiteY7" fmla="*/ 3417 h 259907"/>
                  <a:gd name="connsiteX8" fmla="*/ 510004 w 755796"/>
                  <a:gd name="connsiteY8" fmla="*/ 12942 h 259907"/>
                  <a:gd name="connsiteX9" fmla="*/ 390941 w 755796"/>
                  <a:gd name="connsiteY9" fmla="*/ 10561 h 259907"/>
                  <a:gd name="connsiteX10" fmla="*/ 333791 w 755796"/>
                  <a:gd name="connsiteY10" fmla="*/ 39136 h 259907"/>
                  <a:gd name="connsiteX11" fmla="*/ 481429 w 755796"/>
                  <a:gd name="connsiteY11" fmla="*/ 65330 h 259907"/>
                  <a:gd name="connsiteX12" fmla="*/ 581441 w 755796"/>
                  <a:gd name="connsiteY12" fmla="*/ 108192 h 259907"/>
                  <a:gd name="connsiteX13" fmla="*/ 614779 w 755796"/>
                  <a:gd name="connsiteY13" fmla="*/ 174867 h 259907"/>
                  <a:gd name="connsiteX14" fmla="*/ 471904 w 755796"/>
                  <a:gd name="connsiteY14" fmla="*/ 146292 h 259907"/>
                  <a:gd name="connsiteX15" fmla="*/ 348079 w 755796"/>
                  <a:gd name="connsiteY15" fmla="*/ 93905 h 259907"/>
                  <a:gd name="connsiteX16" fmla="*/ 229016 w 755796"/>
                  <a:gd name="connsiteY16" fmla="*/ 74855 h 259907"/>
                  <a:gd name="connsiteX17" fmla="*/ 90904 w 755796"/>
                  <a:gd name="connsiteY17" fmla="*/ 51042 h 259907"/>
                  <a:gd name="connsiteX18" fmla="*/ 416 w 755796"/>
                  <a:gd name="connsiteY18" fmla="*/ 70092 h 259907"/>
                  <a:gd name="connsiteX0" fmla="*/ 416 w 755796"/>
                  <a:gd name="connsiteY0" fmla="*/ 70092 h 259907"/>
                  <a:gd name="connsiteX1" fmla="*/ 127266 w 755796"/>
                  <a:gd name="connsiteY1" fmla="*/ 165342 h 259907"/>
                  <a:gd name="connsiteX2" fmla="*/ 348745 w 755796"/>
                  <a:gd name="connsiteY2" fmla="*/ 218739 h 259907"/>
                  <a:gd name="connsiteX3" fmla="*/ 543341 w 755796"/>
                  <a:gd name="connsiteY3" fmla="*/ 246305 h 259907"/>
                  <a:gd name="connsiteX4" fmla="*/ 676691 w 755796"/>
                  <a:gd name="connsiteY4" fmla="*/ 255830 h 259907"/>
                  <a:gd name="connsiteX5" fmla="*/ 733841 w 755796"/>
                  <a:gd name="connsiteY5" fmla="*/ 179630 h 259907"/>
                  <a:gd name="connsiteX6" fmla="*/ 752891 w 755796"/>
                  <a:gd name="connsiteY6" fmla="*/ 79617 h 259907"/>
                  <a:gd name="connsiteX7" fmla="*/ 676691 w 755796"/>
                  <a:gd name="connsiteY7" fmla="*/ 3417 h 259907"/>
                  <a:gd name="connsiteX8" fmla="*/ 510004 w 755796"/>
                  <a:gd name="connsiteY8" fmla="*/ 12942 h 259907"/>
                  <a:gd name="connsiteX9" fmla="*/ 390941 w 755796"/>
                  <a:gd name="connsiteY9" fmla="*/ 10561 h 259907"/>
                  <a:gd name="connsiteX10" fmla="*/ 333791 w 755796"/>
                  <a:gd name="connsiteY10" fmla="*/ 39136 h 259907"/>
                  <a:gd name="connsiteX11" fmla="*/ 481429 w 755796"/>
                  <a:gd name="connsiteY11" fmla="*/ 65330 h 259907"/>
                  <a:gd name="connsiteX12" fmla="*/ 564082 w 755796"/>
                  <a:gd name="connsiteY12" fmla="*/ 114109 h 259907"/>
                  <a:gd name="connsiteX13" fmla="*/ 614779 w 755796"/>
                  <a:gd name="connsiteY13" fmla="*/ 174867 h 259907"/>
                  <a:gd name="connsiteX14" fmla="*/ 471904 w 755796"/>
                  <a:gd name="connsiteY14" fmla="*/ 146292 h 259907"/>
                  <a:gd name="connsiteX15" fmla="*/ 348079 w 755796"/>
                  <a:gd name="connsiteY15" fmla="*/ 93905 h 259907"/>
                  <a:gd name="connsiteX16" fmla="*/ 229016 w 755796"/>
                  <a:gd name="connsiteY16" fmla="*/ 74855 h 259907"/>
                  <a:gd name="connsiteX17" fmla="*/ 90904 w 755796"/>
                  <a:gd name="connsiteY17" fmla="*/ 51042 h 259907"/>
                  <a:gd name="connsiteX18" fmla="*/ 416 w 755796"/>
                  <a:gd name="connsiteY18" fmla="*/ 70092 h 2599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755796" h="259907">
                    <a:moveTo>
                      <a:pt x="416" y="70092"/>
                    </a:moveTo>
                    <a:cubicBezTo>
                      <a:pt x="6476" y="89142"/>
                      <a:pt x="69211" y="140568"/>
                      <a:pt x="127266" y="165342"/>
                    </a:cubicBezTo>
                    <a:cubicBezTo>
                      <a:pt x="185321" y="190116"/>
                      <a:pt x="279399" y="205245"/>
                      <a:pt x="348745" y="218739"/>
                    </a:cubicBezTo>
                    <a:cubicBezTo>
                      <a:pt x="418091" y="232233"/>
                      <a:pt x="488683" y="240123"/>
                      <a:pt x="543341" y="246305"/>
                    </a:cubicBezTo>
                    <a:cubicBezTo>
                      <a:pt x="597999" y="252487"/>
                      <a:pt x="644941" y="266942"/>
                      <a:pt x="676691" y="255830"/>
                    </a:cubicBezTo>
                    <a:cubicBezTo>
                      <a:pt x="708441" y="244718"/>
                      <a:pt x="721141" y="208999"/>
                      <a:pt x="733841" y="179630"/>
                    </a:cubicBezTo>
                    <a:cubicBezTo>
                      <a:pt x="746541" y="150261"/>
                      <a:pt x="762416" y="108986"/>
                      <a:pt x="752891" y="79617"/>
                    </a:cubicBezTo>
                    <a:cubicBezTo>
                      <a:pt x="743366" y="50248"/>
                      <a:pt x="717172" y="14529"/>
                      <a:pt x="676691" y="3417"/>
                    </a:cubicBezTo>
                    <a:cubicBezTo>
                      <a:pt x="636210" y="-7695"/>
                      <a:pt x="557629" y="11751"/>
                      <a:pt x="510004" y="12942"/>
                    </a:cubicBezTo>
                    <a:cubicBezTo>
                      <a:pt x="462379" y="14133"/>
                      <a:pt x="420310" y="6195"/>
                      <a:pt x="390941" y="10561"/>
                    </a:cubicBezTo>
                    <a:cubicBezTo>
                      <a:pt x="361572" y="14927"/>
                      <a:pt x="318710" y="30008"/>
                      <a:pt x="333791" y="39136"/>
                    </a:cubicBezTo>
                    <a:cubicBezTo>
                      <a:pt x="348872" y="48264"/>
                      <a:pt x="443047" y="52834"/>
                      <a:pt x="481429" y="65330"/>
                    </a:cubicBezTo>
                    <a:cubicBezTo>
                      <a:pt x="519811" y="77826"/>
                      <a:pt x="541857" y="95853"/>
                      <a:pt x="564082" y="114109"/>
                    </a:cubicBezTo>
                    <a:cubicBezTo>
                      <a:pt x="586307" y="132365"/>
                      <a:pt x="630142" y="169503"/>
                      <a:pt x="614779" y="174867"/>
                    </a:cubicBezTo>
                    <a:cubicBezTo>
                      <a:pt x="599416" y="180231"/>
                      <a:pt x="516354" y="159786"/>
                      <a:pt x="471904" y="146292"/>
                    </a:cubicBezTo>
                    <a:cubicBezTo>
                      <a:pt x="427454" y="132798"/>
                      <a:pt x="388560" y="105811"/>
                      <a:pt x="348079" y="93905"/>
                    </a:cubicBezTo>
                    <a:cubicBezTo>
                      <a:pt x="307598" y="81999"/>
                      <a:pt x="229016" y="74855"/>
                      <a:pt x="229016" y="74855"/>
                    </a:cubicBezTo>
                    <a:lnTo>
                      <a:pt x="90904" y="51042"/>
                    </a:lnTo>
                    <a:cubicBezTo>
                      <a:pt x="55979" y="45486"/>
                      <a:pt x="-5644" y="51042"/>
                      <a:pt x="416" y="70092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solidFill>
                  <a:srgbClr val="FFFF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9" name="Полилиния 8"/>
              <p:cNvSpPr/>
              <p:nvPr/>
            </p:nvSpPr>
            <p:spPr>
              <a:xfrm>
                <a:off x="4155786" y="4302010"/>
                <a:ext cx="635053" cy="300909"/>
              </a:xfrm>
              <a:custGeom>
                <a:avLst/>
                <a:gdLst>
                  <a:gd name="connsiteX0" fmla="*/ 0 w 547733"/>
                  <a:gd name="connsiteY0" fmla="*/ 9606 h 312081"/>
                  <a:gd name="connsiteX1" fmla="*/ 195262 w 547733"/>
                  <a:gd name="connsiteY1" fmla="*/ 81 h 312081"/>
                  <a:gd name="connsiteX2" fmla="*/ 404812 w 547733"/>
                  <a:gd name="connsiteY2" fmla="*/ 14369 h 312081"/>
                  <a:gd name="connsiteX3" fmla="*/ 485775 w 547733"/>
                  <a:gd name="connsiteY3" fmla="*/ 14369 h 312081"/>
                  <a:gd name="connsiteX4" fmla="*/ 547687 w 547733"/>
                  <a:gd name="connsiteY4" fmla="*/ 95331 h 312081"/>
                  <a:gd name="connsiteX5" fmla="*/ 476250 w 547733"/>
                  <a:gd name="connsiteY5" fmla="*/ 195344 h 312081"/>
                  <a:gd name="connsiteX6" fmla="*/ 352425 w 547733"/>
                  <a:gd name="connsiteY6" fmla="*/ 276306 h 312081"/>
                  <a:gd name="connsiteX7" fmla="*/ 223837 w 547733"/>
                  <a:gd name="connsiteY7" fmla="*/ 309644 h 312081"/>
                  <a:gd name="connsiteX8" fmla="*/ 242887 w 547733"/>
                  <a:gd name="connsiteY8" fmla="*/ 214394 h 312081"/>
                  <a:gd name="connsiteX9" fmla="*/ 309562 w 547733"/>
                  <a:gd name="connsiteY9" fmla="*/ 128669 h 312081"/>
                  <a:gd name="connsiteX10" fmla="*/ 276225 w 547733"/>
                  <a:gd name="connsiteY10" fmla="*/ 95331 h 312081"/>
                  <a:gd name="connsiteX11" fmla="*/ 104775 w 547733"/>
                  <a:gd name="connsiteY11" fmla="*/ 71519 h 312081"/>
                  <a:gd name="connsiteX12" fmla="*/ 0 w 547733"/>
                  <a:gd name="connsiteY12" fmla="*/ 9606 h 312081"/>
                  <a:gd name="connsiteX0" fmla="*/ 0 w 547733"/>
                  <a:gd name="connsiteY0" fmla="*/ 9606 h 312081"/>
                  <a:gd name="connsiteX1" fmla="*/ 195262 w 547733"/>
                  <a:gd name="connsiteY1" fmla="*/ 81 h 312081"/>
                  <a:gd name="connsiteX2" fmla="*/ 404812 w 547733"/>
                  <a:gd name="connsiteY2" fmla="*/ 14369 h 312081"/>
                  <a:gd name="connsiteX3" fmla="*/ 485775 w 547733"/>
                  <a:gd name="connsiteY3" fmla="*/ 14369 h 312081"/>
                  <a:gd name="connsiteX4" fmla="*/ 547687 w 547733"/>
                  <a:gd name="connsiteY4" fmla="*/ 95331 h 312081"/>
                  <a:gd name="connsiteX5" fmla="*/ 476250 w 547733"/>
                  <a:gd name="connsiteY5" fmla="*/ 195344 h 312081"/>
                  <a:gd name="connsiteX6" fmla="*/ 352425 w 547733"/>
                  <a:gd name="connsiteY6" fmla="*/ 276306 h 312081"/>
                  <a:gd name="connsiteX7" fmla="*/ 223837 w 547733"/>
                  <a:gd name="connsiteY7" fmla="*/ 309644 h 312081"/>
                  <a:gd name="connsiteX8" fmla="*/ 242887 w 547733"/>
                  <a:gd name="connsiteY8" fmla="*/ 214394 h 312081"/>
                  <a:gd name="connsiteX9" fmla="*/ 309562 w 547733"/>
                  <a:gd name="connsiteY9" fmla="*/ 128669 h 312081"/>
                  <a:gd name="connsiteX10" fmla="*/ 276225 w 547733"/>
                  <a:gd name="connsiteY10" fmla="*/ 95331 h 312081"/>
                  <a:gd name="connsiteX11" fmla="*/ 40481 w 547733"/>
                  <a:gd name="connsiteY11" fmla="*/ 66757 h 312081"/>
                  <a:gd name="connsiteX12" fmla="*/ 0 w 547733"/>
                  <a:gd name="connsiteY12" fmla="*/ 9606 h 312081"/>
                  <a:gd name="connsiteX0" fmla="*/ 0 w 578690"/>
                  <a:gd name="connsiteY0" fmla="*/ 31304 h 312348"/>
                  <a:gd name="connsiteX1" fmla="*/ 226219 w 578690"/>
                  <a:gd name="connsiteY1" fmla="*/ 348 h 312348"/>
                  <a:gd name="connsiteX2" fmla="*/ 435769 w 578690"/>
                  <a:gd name="connsiteY2" fmla="*/ 14636 h 312348"/>
                  <a:gd name="connsiteX3" fmla="*/ 516732 w 578690"/>
                  <a:gd name="connsiteY3" fmla="*/ 14636 h 312348"/>
                  <a:gd name="connsiteX4" fmla="*/ 578644 w 578690"/>
                  <a:gd name="connsiteY4" fmla="*/ 95598 h 312348"/>
                  <a:gd name="connsiteX5" fmla="*/ 507207 w 578690"/>
                  <a:gd name="connsiteY5" fmla="*/ 195611 h 312348"/>
                  <a:gd name="connsiteX6" fmla="*/ 383382 w 578690"/>
                  <a:gd name="connsiteY6" fmla="*/ 276573 h 312348"/>
                  <a:gd name="connsiteX7" fmla="*/ 254794 w 578690"/>
                  <a:gd name="connsiteY7" fmla="*/ 309911 h 312348"/>
                  <a:gd name="connsiteX8" fmla="*/ 273844 w 578690"/>
                  <a:gd name="connsiteY8" fmla="*/ 214661 h 312348"/>
                  <a:gd name="connsiteX9" fmla="*/ 340519 w 578690"/>
                  <a:gd name="connsiteY9" fmla="*/ 128936 h 312348"/>
                  <a:gd name="connsiteX10" fmla="*/ 307182 w 578690"/>
                  <a:gd name="connsiteY10" fmla="*/ 95598 h 312348"/>
                  <a:gd name="connsiteX11" fmla="*/ 71438 w 578690"/>
                  <a:gd name="connsiteY11" fmla="*/ 67024 h 312348"/>
                  <a:gd name="connsiteX12" fmla="*/ 0 w 578690"/>
                  <a:gd name="connsiteY12" fmla="*/ 31304 h 312348"/>
                  <a:gd name="connsiteX0" fmla="*/ 0 w 578690"/>
                  <a:gd name="connsiteY0" fmla="*/ 31304 h 313478"/>
                  <a:gd name="connsiteX1" fmla="*/ 226219 w 578690"/>
                  <a:gd name="connsiteY1" fmla="*/ 348 h 313478"/>
                  <a:gd name="connsiteX2" fmla="*/ 435769 w 578690"/>
                  <a:gd name="connsiteY2" fmla="*/ 14636 h 313478"/>
                  <a:gd name="connsiteX3" fmla="*/ 516732 w 578690"/>
                  <a:gd name="connsiteY3" fmla="*/ 14636 h 313478"/>
                  <a:gd name="connsiteX4" fmla="*/ 578644 w 578690"/>
                  <a:gd name="connsiteY4" fmla="*/ 95598 h 313478"/>
                  <a:gd name="connsiteX5" fmla="*/ 507207 w 578690"/>
                  <a:gd name="connsiteY5" fmla="*/ 195611 h 313478"/>
                  <a:gd name="connsiteX6" fmla="*/ 383382 w 578690"/>
                  <a:gd name="connsiteY6" fmla="*/ 276573 h 313478"/>
                  <a:gd name="connsiteX7" fmla="*/ 254794 w 578690"/>
                  <a:gd name="connsiteY7" fmla="*/ 309911 h 313478"/>
                  <a:gd name="connsiteX8" fmla="*/ 252412 w 578690"/>
                  <a:gd name="connsiteY8" fmla="*/ 195611 h 313478"/>
                  <a:gd name="connsiteX9" fmla="*/ 340519 w 578690"/>
                  <a:gd name="connsiteY9" fmla="*/ 128936 h 313478"/>
                  <a:gd name="connsiteX10" fmla="*/ 307182 w 578690"/>
                  <a:gd name="connsiteY10" fmla="*/ 95598 h 313478"/>
                  <a:gd name="connsiteX11" fmla="*/ 71438 w 578690"/>
                  <a:gd name="connsiteY11" fmla="*/ 67024 h 313478"/>
                  <a:gd name="connsiteX12" fmla="*/ 0 w 578690"/>
                  <a:gd name="connsiteY12" fmla="*/ 31304 h 313478"/>
                  <a:gd name="connsiteX0" fmla="*/ 0 w 578690"/>
                  <a:gd name="connsiteY0" fmla="*/ 31304 h 286694"/>
                  <a:gd name="connsiteX1" fmla="*/ 226219 w 578690"/>
                  <a:gd name="connsiteY1" fmla="*/ 348 h 286694"/>
                  <a:gd name="connsiteX2" fmla="*/ 435769 w 578690"/>
                  <a:gd name="connsiteY2" fmla="*/ 14636 h 286694"/>
                  <a:gd name="connsiteX3" fmla="*/ 516732 w 578690"/>
                  <a:gd name="connsiteY3" fmla="*/ 14636 h 286694"/>
                  <a:gd name="connsiteX4" fmla="*/ 578644 w 578690"/>
                  <a:gd name="connsiteY4" fmla="*/ 95598 h 286694"/>
                  <a:gd name="connsiteX5" fmla="*/ 507207 w 578690"/>
                  <a:gd name="connsiteY5" fmla="*/ 195611 h 286694"/>
                  <a:gd name="connsiteX6" fmla="*/ 383382 w 578690"/>
                  <a:gd name="connsiteY6" fmla="*/ 276573 h 286694"/>
                  <a:gd name="connsiteX7" fmla="*/ 202406 w 578690"/>
                  <a:gd name="connsiteY7" fmla="*/ 276574 h 286694"/>
                  <a:gd name="connsiteX8" fmla="*/ 252412 w 578690"/>
                  <a:gd name="connsiteY8" fmla="*/ 195611 h 286694"/>
                  <a:gd name="connsiteX9" fmla="*/ 340519 w 578690"/>
                  <a:gd name="connsiteY9" fmla="*/ 128936 h 286694"/>
                  <a:gd name="connsiteX10" fmla="*/ 307182 w 578690"/>
                  <a:gd name="connsiteY10" fmla="*/ 95598 h 286694"/>
                  <a:gd name="connsiteX11" fmla="*/ 71438 w 578690"/>
                  <a:gd name="connsiteY11" fmla="*/ 67024 h 286694"/>
                  <a:gd name="connsiteX12" fmla="*/ 0 w 578690"/>
                  <a:gd name="connsiteY12" fmla="*/ 31304 h 286694"/>
                  <a:gd name="connsiteX0" fmla="*/ 0 w 578690"/>
                  <a:gd name="connsiteY0" fmla="*/ 31304 h 276678"/>
                  <a:gd name="connsiteX1" fmla="*/ 226219 w 578690"/>
                  <a:gd name="connsiteY1" fmla="*/ 348 h 276678"/>
                  <a:gd name="connsiteX2" fmla="*/ 435769 w 578690"/>
                  <a:gd name="connsiteY2" fmla="*/ 14636 h 276678"/>
                  <a:gd name="connsiteX3" fmla="*/ 516732 w 578690"/>
                  <a:gd name="connsiteY3" fmla="*/ 14636 h 276678"/>
                  <a:gd name="connsiteX4" fmla="*/ 578644 w 578690"/>
                  <a:gd name="connsiteY4" fmla="*/ 95598 h 276678"/>
                  <a:gd name="connsiteX5" fmla="*/ 507207 w 578690"/>
                  <a:gd name="connsiteY5" fmla="*/ 195611 h 276678"/>
                  <a:gd name="connsiteX6" fmla="*/ 373857 w 578690"/>
                  <a:gd name="connsiteY6" fmla="*/ 212279 h 276678"/>
                  <a:gd name="connsiteX7" fmla="*/ 202406 w 578690"/>
                  <a:gd name="connsiteY7" fmla="*/ 276574 h 276678"/>
                  <a:gd name="connsiteX8" fmla="*/ 252412 w 578690"/>
                  <a:gd name="connsiteY8" fmla="*/ 195611 h 276678"/>
                  <a:gd name="connsiteX9" fmla="*/ 340519 w 578690"/>
                  <a:gd name="connsiteY9" fmla="*/ 128936 h 276678"/>
                  <a:gd name="connsiteX10" fmla="*/ 307182 w 578690"/>
                  <a:gd name="connsiteY10" fmla="*/ 95598 h 276678"/>
                  <a:gd name="connsiteX11" fmla="*/ 71438 w 578690"/>
                  <a:gd name="connsiteY11" fmla="*/ 67024 h 276678"/>
                  <a:gd name="connsiteX12" fmla="*/ 0 w 578690"/>
                  <a:gd name="connsiteY12" fmla="*/ 31304 h 276678"/>
                  <a:gd name="connsiteX0" fmla="*/ 0 w 578690"/>
                  <a:gd name="connsiteY0" fmla="*/ 31304 h 280387"/>
                  <a:gd name="connsiteX1" fmla="*/ 226219 w 578690"/>
                  <a:gd name="connsiteY1" fmla="*/ 348 h 280387"/>
                  <a:gd name="connsiteX2" fmla="*/ 435769 w 578690"/>
                  <a:gd name="connsiteY2" fmla="*/ 14636 h 280387"/>
                  <a:gd name="connsiteX3" fmla="*/ 516732 w 578690"/>
                  <a:gd name="connsiteY3" fmla="*/ 14636 h 280387"/>
                  <a:gd name="connsiteX4" fmla="*/ 578644 w 578690"/>
                  <a:gd name="connsiteY4" fmla="*/ 95598 h 280387"/>
                  <a:gd name="connsiteX5" fmla="*/ 507207 w 578690"/>
                  <a:gd name="connsiteY5" fmla="*/ 195611 h 280387"/>
                  <a:gd name="connsiteX6" fmla="*/ 392907 w 578690"/>
                  <a:gd name="connsiteY6" fmla="*/ 259904 h 280387"/>
                  <a:gd name="connsiteX7" fmla="*/ 202406 w 578690"/>
                  <a:gd name="connsiteY7" fmla="*/ 276574 h 280387"/>
                  <a:gd name="connsiteX8" fmla="*/ 252412 w 578690"/>
                  <a:gd name="connsiteY8" fmla="*/ 195611 h 280387"/>
                  <a:gd name="connsiteX9" fmla="*/ 340519 w 578690"/>
                  <a:gd name="connsiteY9" fmla="*/ 128936 h 280387"/>
                  <a:gd name="connsiteX10" fmla="*/ 307182 w 578690"/>
                  <a:gd name="connsiteY10" fmla="*/ 95598 h 280387"/>
                  <a:gd name="connsiteX11" fmla="*/ 71438 w 578690"/>
                  <a:gd name="connsiteY11" fmla="*/ 67024 h 280387"/>
                  <a:gd name="connsiteX12" fmla="*/ 0 w 578690"/>
                  <a:gd name="connsiteY12" fmla="*/ 31304 h 280387"/>
                  <a:gd name="connsiteX0" fmla="*/ 0 w 578690"/>
                  <a:gd name="connsiteY0" fmla="*/ 31304 h 280387"/>
                  <a:gd name="connsiteX1" fmla="*/ 226219 w 578690"/>
                  <a:gd name="connsiteY1" fmla="*/ 348 h 280387"/>
                  <a:gd name="connsiteX2" fmla="*/ 435769 w 578690"/>
                  <a:gd name="connsiteY2" fmla="*/ 14636 h 280387"/>
                  <a:gd name="connsiteX3" fmla="*/ 516732 w 578690"/>
                  <a:gd name="connsiteY3" fmla="*/ 14636 h 280387"/>
                  <a:gd name="connsiteX4" fmla="*/ 578644 w 578690"/>
                  <a:gd name="connsiteY4" fmla="*/ 95598 h 280387"/>
                  <a:gd name="connsiteX5" fmla="*/ 507207 w 578690"/>
                  <a:gd name="connsiteY5" fmla="*/ 195611 h 280387"/>
                  <a:gd name="connsiteX6" fmla="*/ 392907 w 578690"/>
                  <a:gd name="connsiteY6" fmla="*/ 259904 h 280387"/>
                  <a:gd name="connsiteX7" fmla="*/ 127183 w 578690"/>
                  <a:gd name="connsiteY7" fmla="*/ 276574 h 280387"/>
                  <a:gd name="connsiteX8" fmla="*/ 252412 w 578690"/>
                  <a:gd name="connsiteY8" fmla="*/ 195611 h 280387"/>
                  <a:gd name="connsiteX9" fmla="*/ 340519 w 578690"/>
                  <a:gd name="connsiteY9" fmla="*/ 128936 h 280387"/>
                  <a:gd name="connsiteX10" fmla="*/ 307182 w 578690"/>
                  <a:gd name="connsiteY10" fmla="*/ 95598 h 280387"/>
                  <a:gd name="connsiteX11" fmla="*/ 71438 w 578690"/>
                  <a:gd name="connsiteY11" fmla="*/ 67024 h 280387"/>
                  <a:gd name="connsiteX12" fmla="*/ 0 w 578690"/>
                  <a:gd name="connsiteY12" fmla="*/ 31304 h 280387"/>
                  <a:gd name="connsiteX0" fmla="*/ 0 w 578690"/>
                  <a:gd name="connsiteY0" fmla="*/ 31304 h 280387"/>
                  <a:gd name="connsiteX1" fmla="*/ 226219 w 578690"/>
                  <a:gd name="connsiteY1" fmla="*/ 348 h 280387"/>
                  <a:gd name="connsiteX2" fmla="*/ 435769 w 578690"/>
                  <a:gd name="connsiteY2" fmla="*/ 14636 h 280387"/>
                  <a:gd name="connsiteX3" fmla="*/ 516732 w 578690"/>
                  <a:gd name="connsiteY3" fmla="*/ 14636 h 280387"/>
                  <a:gd name="connsiteX4" fmla="*/ 578644 w 578690"/>
                  <a:gd name="connsiteY4" fmla="*/ 95598 h 280387"/>
                  <a:gd name="connsiteX5" fmla="*/ 507207 w 578690"/>
                  <a:gd name="connsiteY5" fmla="*/ 195611 h 280387"/>
                  <a:gd name="connsiteX6" fmla="*/ 392907 w 578690"/>
                  <a:gd name="connsiteY6" fmla="*/ 259904 h 280387"/>
                  <a:gd name="connsiteX7" fmla="*/ 127183 w 578690"/>
                  <a:gd name="connsiteY7" fmla="*/ 276574 h 280387"/>
                  <a:gd name="connsiteX8" fmla="*/ 200334 w 578690"/>
                  <a:gd name="connsiteY8" fmla="*/ 195611 h 280387"/>
                  <a:gd name="connsiteX9" fmla="*/ 340519 w 578690"/>
                  <a:gd name="connsiteY9" fmla="*/ 128936 h 280387"/>
                  <a:gd name="connsiteX10" fmla="*/ 307182 w 578690"/>
                  <a:gd name="connsiteY10" fmla="*/ 95598 h 280387"/>
                  <a:gd name="connsiteX11" fmla="*/ 71438 w 578690"/>
                  <a:gd name="connsiteY11" fmla="*/ 67024 h 280387"/>
                  <a:gd name="connsiteX12" fmla="*/ 0 w 578690"/>
                  <a:gd name="connsiteY12" fmla="*/ 31304 h 280387"/>
                  <a:gd name="connsiteX0" fmla="*/ 0 w 578690"/>
                  <a:gd name="connsiteY0" fmla="*/ 31304 h 280387"/>
                  <a:gd name="connsiteX1" fmla="*/ 226219 w 578690"/>
                  <a:gd name="connsiteY1" fmla="*/ 348 h 280387"/>
                  <a:gd name="connsiteX2" fmla="*/ 435769 w 578690"/>
                  <a:gd name="connsiteY2" fmla="*/ 14636 h 280387"/>
                  <a:gd name="connsiteX3" fmla="*/ 516732 w 578690"/>
                  <a:gd name="connsiteY3" fmla="*/ 14636 h 280387"/>
                  <a:gd name="connsiteX4" fmla="*/ 578644 w 578690"/>
                  <a:gd name="connsiteY4" fmla="*/ 95598 h 280387"/>
                  <a:gd name="connsiteX5" fmla="*/ 507207 w 578690"/>
                  <a:gd name="connsiteY5" fmla="*/ 195611 h 280387"/>
                  <a:gd name="connsiteX6" fmla="*/ 392907 w 578690"/>
                  <a:gd name="connsiteY6" fmla="*/ 259904 h 280387"/>
                  <a:gd name="connsiteX7" fmla="*/ 127183 w 578690"/>
                  <a:gd name="connsiteY7" fmla="*/ 276574 h 280387"/>
                  <a:gd name="connsiteX8" fmla="*/ 200334 w 578690"/>
                  <a:gd name="connsiteY8" fmla="*/ 195611 h 280387"/>
                  <a:gd name="connsiteX9" fmla="*/ 340519 w 578690"/>
                  <a:gd name="connsiteY9" fmla="*/ 128936 h 280387"/>
                  <a:gd name="connsiteX10" fmla="*/ 191454 w 578690"/>
                  <a:gd name="connsiteY10" fmla="*/ 101515 h 280387"/>
                  <a:gd name="connsiteX11" fmla="*/ 71438 w 578690"/>
                  <a:gd name="connsiteY11" fmla="*/ 67024 h 280387"/>
                  <a:gd name="connsiteX12" fmla="*/ 0 w 578690"/>
                  <a:gd name="connsiteY12" fmla="*/ 31304 h 280387"/>
                  <a:gd name="connsiteX0" fmla="*/ 0 w 578690"/>
                  <a:gd name="connsiteY0" fmla="*/ 31304 h 280387"/>
                  <a:gd name="connsiteX1" fmla="*/ 226219 w 578690"/>
                  <a:gd name="connsiteY1" fmla="*/ 348 h 280387"/>
                  <a:gd name="connsiteX2" fmla="*/ 435769 w 578690"/>
                  <a:gd name="connsiteY2" fmla="*/ 14636 h 280387"/>
                  <a:gd name="connsiteX3" fmla="*/ 516732 w 578690"/>
                  <a:gd name="connsiteY3" fmla="*/ 14636 h 280387"/>
                  <a:gd name="connsiteX4" fmla="*/ 578644 w 578690"/>
                  <a:gd name="connsiteY4" fmla="*/ 95598 h 280387"/>
                  <a:gd name="connsiteX5" fmla="*/ 507207 w 578690"/>
                  <a:gd name="connsiteY5" fmla="*/ 195611 h 280387"/>
                  <a:gd name="connsiteX6" fmla="*/ 392907 w 578690"/>
                  <a:gd name="connsiteY6" fmla="*/ 259904 h 280387"/>
                  <a:gd name="connsiteX7" fmla="*/ 127183 w 578690"/>
                  <a:gd name="connsiteY7" fmla="*/ 276574 h 280387"/>
                  <a:gd name="connsiteX8" fmla="*/ 200334 w 578690"/>
                  <a:gd name="connsiteY8" fmla="*/ 195611 h 280387"/>
                  <a:gd name="connsiteX9" fmla="*/ 294228 w 578690"/>
                  <a:gd name="connsiteY9" fmla="*/ 140770 h 280387"/>
                  <a:gd name="connsiteX10" fmla="*/ 191454 w 578690"/>
                  <a:gd name="connsiteY10" fmla="*/ 101515 h 280387"/>
                  <a:gd name="connsiteX11" fmla="*/ 71438 w 578690"/>
                  <a:gd name="connsiteY11" fmla="*/ 67024 h 280387"/>
                  <a:gd name="connsiteX12" fmla="*/ 0 w 578690"/>
                  <a:gd name="connsiteY12" fmla="*/ 31304 h 280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78690" h="280387">
                    <a:moveTo>
                      <a:pt x="0" y="31304"/>
                    </a:moveTo>
                    <a:cubicBezTo>
                      <a:pt x="63896" y="26144"/>
                      <a:pt x="153591" y="3126"/>
                      <a:pt x="226219" y="348"/>
                    </a:cubicBezTo>
                    <a:cubicBezTo>
                      <a:pt x="298847" y="-2430"/>
                      <a:pt x="387350" y="12255"/>
                      <a:pt x="435769" y="14636"/>
                    </a:cubicBezTo>
                    <a:cubicBezTo>
                      <a:pt x="484188" y="17017"/>
                      <a:pt x="492920" y="1142"/>
                      <a:pt x="516732" y="14636"/>
                    </a:cubicBezTo>
                    <a:cubicBezTo>
                      <a:pt x="540545" y="28130"/>
                      <a:pt x="580231" y="65436"/>
                      <a:pt x="578644" y="95598"/>
                    </a:cubicBezTo>
                    <a:cubicBezTo>
                      <a:pt x="577057" y="125760"/>
                      <a:pt x="538163" y="168227"/>
                      <a:pt x="507207" y="195611"/>
                    </a:cubicBezTo>
                    <a:cubicBezTo>
                      <a:pt x="476251" y="222995"/>
                      <a:pt x="456244" y="246410"/>
                      <a:pt x="392907" y="259904"/>
                    </a:cubicBezTo>
                    <a:cubicBezTo>
                      <a:pt x="329570" y="273398"/>
                      <a:pt x="159279" y="287290"/>
                      <a:pt x="127183" y="276574"/>
                    </a:cubicBezTo>
                    <a:cubicBezTo>
                      <a:pt x="95088" y="265859"/>
                      <a:pt x="172493" y="218245"/>
                      <a:pt x="200334" y="195611"/>
                    </a:cubicBezTo>
                    <a:cubicBezTo>
                      <a:pt x="228175" y="172977"/>
                      <a:pt x="295708" y="156453"/>
                      <a:pt x="294228" y="140770"/>
                    </a:cubicBezTo>
                    <a:cubicBezTo>
                      <a:pt x="292748" y="125087"/>
                      <a:pt x="225585" y="111040"/>
                      <a:pt x="191454" y="101515"/>
                    </a:cubicBezTo>
                    <a:lnTo>
                      <a:pt x="71438" y="67024"/>
                    </a:lnTo>
                    <a:lnTo>
                      <a:pt x="0" y="31304"/>
                    </a:lnTo>
                    <a:close/>
                  </a:path>
                </a:pathLst>
              </a:custGeom>
              <a:solidFill>
                <a:srgbClr val="FF0000"/>
              </a:solidFill>
              <a:ln>
                <a:solidFill>
                  <a:srgbClr val="FFFF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0" name="Полилиния 9"/>
              <p:cNvSpPr/>
              <p:nvPr/>
            </p:nvSpPr>
            <p:spPr>
              <a:xfrm>
                <a:off x="3831839" y="4953000"/>
                <a:ext cx="210030" cy="215200"/>
              </a:xfrm>
              <a:custGeom>
                <a:avLst/>
                <a:gdLst>
                  <a:gd name="connsiteX0" fmla="*/ 23 w 191389"/>
                  <a:gd name="connsiteY0" fmla="*/ 193741 h 200523"/>
                  <a:gd name="connsiteX1" fmla="*/ 104798 w 191389"/>
                  <a:gd name="connsiteY1" fmla="*/ 117541 h 200523"/>
                  <a:gd name="connsiteX2" fmla="*/ 152423 w 191389"/>
                  <a:gd name="connsiteY2" fmla="*/ 22291 h 200523"/>
                  <a:gd name="connsiteX3" fmla="*/ 190523 w 191389"/>
                  <a:gd name="connsiteY3" fmla="*/ 12766 h 200523"/>
                  <a:gd name="connsiteX4" fmla="*/ 114323 w 191389"/>
                  <a:gd name="connsiteY4" fmla="*/ 174691 h 200523"/>
                  <a:gd name="connsiteX5" fmla="*/ 23 w 191389"/>
                  <a:gd name="connsiteY5" fmla="*/ 193741 h 2005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1389" h="200523">
                    <a:moveTo>
                      <a:pt x="23" y="193741"/>
                    </a:moveTo>
                    <a:cubicBezTo>
                      <a:pt x="-1565" y="184216"/>
                      <a:pt x="79398" y="146116"/>
                      <a:pt x="104798" y="117541"/>
                    </a:cubicBezTo>
                    <a:cubicBezTo>
                      <a:pt x="130198" y="88966"/>
                      <a:pt x="138136" y="39753"/>
                      <a:pt x="152423" y="22291"/>
                    </a:cubicBezTo>
                    <a:cubicBezTo>
                      <a:pt x="166710" y="4829"/>
                      <a:pt x="196873" y="-12634"/>
                      <a:pt x="190523" y="12766"/>
                    </a:cubicBezTo>
                    <a:cubicBezTo>
                      <a:pt x="184173" y="38166"/>
                      <a:pt x="144486" y="142147"/>
                      <a:pt x="114323" y="174691"/>
                    </a:cubicBezTo>
                    <a:cubicBezTo>
                      <a:pt x="84161" y="207235"/>
                      <a:pt x="1611" y="203266"/>
                      <a:pt x="23" y="193741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solidFill>
                  <a:srgbClr val="FFFF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" name="Полилиния 10"/>
              <p:cNvSpPr/>
              <p:nvPr/>
            </p:nvSpPr>
            <p:spPr>
              <a:xfrm>
                <a:off x="4809889" y="4476385"/>
                <a:ext cx="85844" cy="77071"/>
              </a:xfrm>
              <a:custGeom>
                <a:avLst/>
                <a:gdLst>
                  <a:gd name="connsiteX0" fmla="*/ 1624 w 78225"/>
                  <a:gd name="connsiteY0" fmla="*/ 8 h 71815"/>
                  <a:gd name="connsiteX1" fmla="*/ 77824 w 78225"/>
                  <a:gd name="connsiteY1" fmla="*/ 66683 h 71815"/>
                  <a:gd name="connsiteX2" fmla="*/ 30199 w 78225"/>
                  <a:gd name="connsiteY2" fmla="*/ 61920 h 71815"/>
                  <a:gd name="connsiteX3" fmla="*/ 1624 w 78225"/>
                  <a:gd name="connsiteY3" fmla="*/ 8 h 71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225" h="71815">
                    <a:moveTo>
                      <a:pt x="1624" y="8"/>
                    </a:moveTo>
                    <a:cubicBezTo>
                      <a:pt x="9561" y="802"/>
                      <a:pt x="73062" y="56364"/>
                      <a:pt x="77824" y="66683"/>
                    </a:cubicBezTo>
                    <a:cubicBezTo>
                      <a:pt x="82586" y="77002"/>
                      <a:pt x="43693" y="69857"/>
                      <a:pt x="30199" y="61920"/>
                    </a:cubicBezTo>
                    <a:cubicBezTo>
                      <a:pt x="16705" y="53983"/>
                      <a:pt x="-6313" y="-786"/>
                      <a:pt x="1624" y="8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solidFill>
                  <a:srgbClr val="FFFF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" name="Полилиния 3"/>
              <p:cNvSpPr/>
              <p:nvPr/>
            </p:nvSpPr>
            <p:spPr>
              <a:xfrm>
                <a:off x="1482857" y="2971800"/>
                <a:ext cx="403228" cy="490851"/>
              </a:xfrm>
              <a:custGeom>
                <a:avLst/>
                <a:gdLst>
                  <a:gd name="connsiteX0" fmla="*/ 1680 w 367440"/>
                  <a:gd name="connsiteY0" fmla="*/ 443535 h 457375"/>
                  <a:gd name="connsiteX1" fmla="*/ 138840 w 367440"/>
                  <a:gd name="connsiteY1" fmla="*/ 207315 h 457375"/>
                  <a:gd name="connsiteX2" fmla="*/ 276000 w 367440"/>
                  <a:gd name="connsiteY2" fmla="*/ 77775 h 457375"/>
                  <a:gd name="connsiteX3" fmla="*/ 367440 w 367440"/>
                  <a:gd name="connsiteY3" fmla="*/ 1575 h 457375"/>
                  <a:gd name="connsiteX4" fmla="*/ 276000 w 367440"/>
                  <a:gd name="connsiteY4" fmla="*/ 146355 h 457375"/>
                  <a:gd name="connsiteX5" fmla="*/ 161700 w 367440"/>
                  <a:gd name="connsiteY5" fmla="*/ 291135 h 457375"/>
                  <a:gd name="connsiteX6" fmla="*/ 70260 w 367440"/>
                  <a:gd name="connsiteY6" fmla="*/ 413055 h 457375"/>
                  <a:gd name="connsiteX7" fmla="*/ 1680 w 367440"/>
                  <a:gd name="connsiteY7" fmla="*/ 443535 h 457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67440" h="457375">
                    <a:moveTo>
                      <a:pt x="1680" y="443535"/>
                    </a:moveTo>
                    <a:cubicBezTo>
                      <a:pt x="13110" y="409245"/>
                      <a:pt x="93120" y="268275"/>
                      <a:pt x="138840" y="207315"/>
                    </a:cubicBezTo>
                    <a:cubicBezTo>
                      <a:pt x="184560" y="146355"/>
                      <a:pt x="237900" y="112065"/>
                      <a:pt x="276000" y="77775"/>
                    </a:cubicBezTo>
                    <a:cubicBezTo>
                      <a:pt x="314100" y="43485"/>
                      <a:pt x="367440" y="-9855"/>
                      <a:pt x="367440" y="1575"/>
                    </a:cubicBezTo>
                    <a:cubicBezTo>
                      <a:pt x="367440" y="13005"/>
                      <a:pt x="310290" y="98095"/>
                      <a:pt x="276000" y="146355"/>
                    </a:cubicBezTo>
                    <a:cubicBezTo>
                      <a:pt x="241710" y="194615"/>
                      <a:pt x="195990" y="246685"/>
                      <a:pt x="161700" y="291135"/>
                    </a:cubicBezTo>
                    <a:cubicBezTo>
                      <a:pt x="127410" y="335585"/>
                      <a:pt x="100740" y="385115"/>
                      <a:pt x="70260" y="413055"/>
                    </a:cubicBezTo>
                    <a:cubicBezTo>
                      <a:pt x="39780" y="440995"/>
                      <a:pt x="-9750" y="477825"/>
                      <a:pt x="1680" y="443535"/>
                    </a:cubicBezTo>
                    <a:close/>
                  </a:path>
                </a:pathLst>
              </a:custGeom>
              <a:solidFill>
                <a:srgbClr val="FF0000"/>
              </a:solidFill>
              <a:ln>
                <a:solidFill>
                  <a:srgbClr val="FFFF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cxnSp>
          <p:nvCxnSpPr>
            <p:cNvPr id="15" name="Прямая соединительная линия 14"/>
            <p:cNvCxnSpPr/>
            <p:nvPr/>
          </p:nvCxnSpPr>
          <p:spPr>
            <a:xfrm>
              <a:off x="292443" y="1151059"/>
              <a:ext cx="4613189" cy="4520641"/>
            </a:xfrm>
            <a:prstGeom prst="line">
              <a:avLst/>
            </a:prstGeom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/>
            <p:cNvSpPr txBox="1"/>
            <p:nvPr/>
          </p:nvSpPr>
          <p:spPr>
            <a:xfrm rot="20234758">
              <a:off x="2329339" y="4675411"/>
              <a:ext cx="1381157" cy="278960"/>
            </a:xfrm>
            <a:prstGeom prst="rect">
              <a:avLst/>
            </a:prstGeom>
            <a:solidFill>
              <a:srgbClr val="FFCCCC">
                <a:alpha val="71000"/>
              </a:srgbClr>
            </a:solidFill>
          </p:spPr>
          <p:txBody>
            <a:bodyPr wrap="none" rtlCol="0">
              <a:spAutoFit/>
            </a:bodyPr>
            <a:lstStyle/>
            <a:p>
              <a:r>
                <a:rPr lang="ru-RU" sz="1200" dirty="0" smtClean="0"/>
                <a:t>гранатовые сланцы</a:t>
              </a:r>
              <a:endParaRPr lang="ru-RU" dirty="0"/>
            </a:p>
          </p:txBody>
        </p:sp>
        <p:sp>
          <p:nvSpPr>
            <p:cNvPr id="26" name="TextBox 25"/>
            <p:cNvSpPr txBox="1"/>
            <p:nvPr/>
          </p:nvSpPr>
          <p:spPr>
            <a:xfrm rot="19542873">
              <a:off x="3241840" y="4891576"/>
              <a:ext cx="1521996" cy="278960"/>
            </a:xfrm>
            <a:prstGeom prst="rect">
              <a:avLst/>
            </a:prstGeom>
            <a:solidFill>
              <a:srgbClr val="FFCCCC">
                <a:alpha val="71000"/>
              </a:srgbClr>
            </a:solidFill>
          </p:spPr>
          <p:txBody>
            <a:bodyPr wrap="none" rtlCol="0">
              <a:spAutoFit/>
            </a:bodyPr>
            <a:lstStyle/>
            <a:p>
              <a:r>
                <a:rPr lang="ru-RU" sz="1200" dirty="0" smtClean="0"/>
                <a:t>углеродистые сланцы</a:t>
              </a:r>
              <a:endParaRPr lang="ru-RU" dirty="0"/>
            </a:p>
          </p:txBody>
        </p:sp>
        <p:sp>
          <p:nvSpPr>
            <p:cNvPr id="27" name="TextBox 26"/>
            <p:cNvSpPr txBox="1"/>
            <p:nvPr/>
          </p:nvSpPr>
          <p:spPr>
            <a:xfrm rot="20732730">
              <a:off x="1788654" y="4076571"/>
              <a:ext cx="1483783" cy="278960"/>
            </a:xfrm>
            <a:prstGeom prst="rect">
              <a:avLst/>
            </a:prstGeom>
            <a:solidFill>
              <a:srgbClr val="FFCCCC">
                <a:alpha val="71000"/>
              </a:srgbClr>
            </a:solidFill>
          </p:spPr>
          <p:txBody>
            <a:bodyPr wrap="none" rtlCol="0">
              <a:spAutoFit/>
            </a:bodyPr>
            <a:lstStyle/>
            <a:p>
              <a:r>
                <a:rPr lang="ru-RU" sz="1200" dirty="0" smtClean="0"/>
                <a:t>карбонатные сланцы</a:t>
              </a:r>
              <a:endParaRPr lang="ru-RU" dirty="0"/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1619702" y="3529042"/>
              <a:ext cx="1026147" cy="464933"/>
            </a:xfrm>
            <a:prstGeom prst="rect">
              <a:avLst/>
            </a:prstGeom>
            <a:solidFill>
              <a:srgbClr val="FFCCCC">
                <a:alpha val="71000"/>
              </a:srgbClr>
            </a:solidFill>
          </p:spPr>
          <p:txBody>
            <a:bodyPr wrap="none" rtlCol="0">
              <a:spAutoFit/>
            </a:bodyPr>
            <a:lstStyle/>
            <a:p>
              <a:r>
                <a:rPr lang="ru-RU" sz="1200" dirty="0" smtClean="0"/>
                <a:t>сланцы </a:t>
              </a:r>
            </a:p>
            <a:p>
              <a:r>
                <a:rPr lang="ru-RU" sz="1200" dirty="0" smtClean="0"/>
                <a:t>двуслюдяные</a:t>
              </a:r>
              <a:endParaRPr lang="ru-RU" dirty="0"/>
            </a:p>
          </p:txBody>
        </p:sp>
        <p:sp>
          <p:nvSpPr>
            <p:cNvPr id="25" name="Полилиния 24"/>
            <p:cNvSpPr/>
            <p:nvPr/>
          </p:nvSpPr>
          <p:spPr>
            <a:xfrm>
              <a:off x="426242" y="2003559"/>
              <a:ext cx="3659796" cy="3353509"/>
            </a:xfrm>
            <a:custGeom>
              <a:avLst/>
              <a:gdLst>
                <a:gd name="connsiteX0" fmla="*/ 1946436 w 3868927"/>
                <a:gd name="connsiteY0" fmla="*/ 0 h 3329940"/>
                <a:gd name="connsiteX1" fmla="*/ 1611156 w 3868927"/>
                <a:gd name="connsiteY1" fmla="*/ 464820 h 3329940"/>
                <a:gd name="connsiteX2" fmla="*/ 1245396 w 3868927"/>
                <a:gd name="connsiteY2" fmla="*/ 830580 h 3329940"/>
                <a:gd name="connsiteX3" fmla="*/ 993936 w 3868927"/>
                <a:gd name="connsiteY3" fmla="*/ 1165860 h 3329940"/>
                <a:gd name="connsiteX4" fmla="*/ 833916 w 3868927"/>
                <a:gd name="connsiteY4" fmla="*/ 1623060 h 3329940"/>
                <a:gd name="connsiteX5" fmla="*/ 620556 w 3868927"/>
                <a:gd name="connsiteY5" fmla="*/ 1950720 h 3329940"/>
                <a:gd name="connsiteX6" fmla="*/ 270036 w 3868927"/>
                <a:gd name="connsiteY6" fmla="*/ 2156460 h 3329940"/>
                <a:gd name="connsiteX7" fmla="*/ 26196 w 3868927"/>
                <a:gd name="connsiteY7" fmla="*/ 2537460 h 3329940"/>
                <a:gd name="connsiteX8" fmla="*/ 155736 w 3868927"/>
                <a:gd name="connsiteY8" fmla="*/ 2819400 h 3329940"/>
                <a:gd name="connsiteX9" fmla="*/ 1344456 w 3868927"/>
                <a:gd name="connsiteY9" fmla="*/ 2644140 h 3329940"/>
                <a:gd name="connsiteX10" fmla="*/ 2022636 w 3868927"/>
                <a:gd name="connsiteY10" fmla="*/ 2514600 h 3329940"/>
                <a:gd name="connsiteX11" fmla="*/ 2639856 w 3868927"/>
                <a:gd name="connsiteY11" fmla="*/ 2392680 h 3329940"/>
                <a:gd name="connsiteX12" fmla="*/ 3058956 w 3868927"/>
                <a:gd name="connsiteY12" fmla="*/ 2407920 h 3329940"/>
                <a:gd name="connsiteX13" fmla="*/ 3523776 w 3868927"/>
                <a:gd name="connsiteY13" fmla="*/ 2461260 h 3329940"/>
                <a:gd name="connsiteX14" fmla="*/ 3859056 w 3868927"/>
                <a:gd name="connsiteY14" fmla="*/ 2499360 h 3329940"/>
                <a:gd name="connsiteX15" fmla="*/ 3752376 w 3868927"/>
                <a:gd name="connsiteY15" fmla="*/ 2689860 h 3329940"/>
                <a:gd name="connsiteX16" fmla="*/ 3470436 w 3868927"/>
                <a:gd name="connsiteY16" fmla="*/ 3002280 h 3329940"/>
                <a:gd name="connsiteX17" fmla="*/ 3051336 w 3868927"/>
                <a:gd name="connsiteY17" fmla="*/ 3329940 h 3329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868927" h="3329940">
                  <a:moveTo>
                    <a:pt x="1946436" y="0"/>
                  </a:moveTo>
                  <a:cubicBezTo>
                    <a:pt x="1837216" y="163195"/>
                    <a:pt x="1727996" y="326390"/>
                    <a:pt x="1611156" y="464820"/>
                  </a:cubicBezTo>
                  <a:cubicBezTo>
                    <a:pt x="1494316" y="603250"/>
                    <a:pt x="1348266" y="713740"/>
                    <a:pt x="1245396" y="830580"/>
                  </a:cubicBezTo>
                  <a:cubicBezTo>
                    <a:pt x="1142526" y="947420"/>
                    <a:pt x="1062516" y="1033780"/>
                    <a:pt x="993936" y="1165860"/>
                  </a:cubicBezTo>
                  <a:cubicBezTo>
                    <a:pt x="925356" y="1297940"/>
                    <a:pt x="896146" y="1492250"/>
                    <a:pt x="833916" y="1623060"/>
                  </a:cubicBezTo>
                  <a:cubicBezTo>
                    <a:pt x="771686" y="1753870"/>
                    <a:pt x="714536" y="1861820"/>
                    <a:pt x="620556" y="1950720"/>
                  </a:cubicBezTo>
                  <a:cubicBezTo>
                    <a:pt x="526576" y="2039620"/>
                    <a:pt x="369096" y="2058670"/>
                    <a:pt x="270036" y="2156460"/>
                  </a:cubicBezTo>
                  <a:cubicBezTo>
                    <a:pt x="170976" y="2254250"/>
                    <a:pt x="45246" y="2426970"/>
                    <a:pt x="26196" y="2537460"/>
                  </a:cubicBezTo>
                  <a:cubicBezTo>
                    <a:pt x="7146" y="2647950"/>
                    <a:pt x="-63974" y="2801620"/>
                    <a:pt x="155736" y="2819400"/>
                  </a:cubicBezTo>
                  <a:cubicBezTo>
                    <a:pt x="375446" y="2837180"/>
                    <a:pt x="1033306" y="2694940"/>
                    <a:pt x="1344456" y="2644140"/>
                  </a:cubicBezTo>
                  <a:cubicBezTo>
                    <a:pt x="1655606" y="2593340"/>
                    <a:pt x="2022636" y="2514600"/>
                    <a:pt x="2022636" y="2514600"/>
                  </a:cubicBezTo>
                  <a:cubicBezTo>
                    <a:pt x="2238536" y="2472690"/>
                    <a:pt x="2467136" y="2410460"/>
                    <a:pt x="2639856" y="2392680"/>
                  </a:cubicBezTo>
                  <a:cubicBezTo>
                    <a:pt x="2812576" y="2374900"/>
                    <a:pt x="2911636" y="2396490"/>
                    <a:pt x="3058956" y="2407920"/>
                  </a:cubicBezTo>
                  <a:cubicBezTo>
                    <a:pt x="3206276" y="2419350"/>
                    <a:pt x="3523776" y="2461260"/>
                    <a:pt x="3523776" y="2461260"/>
                  </a:cubicBezTo>
                  <a:cubicBezTo>
                    <a:pt x="3657126" y="2476500"/>
                    <a:pt x="3820956" y="2461260"/>
                    <a:pt x="3859056" y="2499360"/>
                  </a:cubicBezTo>
                  <a:cubicBezTo>
                    <a:pt x="3897156" y="2537460"/>
                    <a:pt x="3817146" y="2606040"/>
                    <a:pt x="3752376" y="2689860"/>
                  </a:cubicBezTo>
                  <a:cubicBezTo>
                    <a:pt x="3687606" y="2773680"/>
                    <a:pt x="3587276" y="2895600"/>
                    <a:pt x="3470436" y="3002280"/>
                  </a:cubicBezTo>
                  <a:cubicBezTo>
                    <a:pt x="3353596" y="3108960"/>
                    <a:pt x="3202466" y="3219450"/>
                    <a:pt x="3051336" y="3329940"/>
                  </a:cubicBezTo>
                </a:path>
              </a:pathLst>
            </a:custGeom>
            <a:noFill/>
            <a:ln w="38100">
              <a:solidFill>
                <a:srgbClr val="FFFF0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" name="TextBox 32"/>
            <p:cNvSpPr txBox="1">
              <a:spLocks noChangeAspect="1"/>
            </p:cNvSpPr>
            <p:nvPr/>
          </p:nvSpPr>
          <p:spPr>
            <a:xfrm>
              <a:off x="205742" y="5898799"/>
              <a:ext cx="173402" cy="197200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36000" tIns="36000" rIns="36000" bIns="36000" rtlCol="0">
              <a:spAutoFit/>
            </a:bodyPr>
            <a:lstStyle/>
            <a:p>
              <a:r>
                <a:rPr lang="ru-RU" sz="800" dirty="0" smtClean="0"/>
                <a:t>А1</a:t>
              </a:r>
              <a:endParaRPr lang="ru-RU" sz="1600" dirty="0"/>
            </a:p>
          </p:txBody>
        </p:sp>
        <p:pic>
          <p:nvPicPr>
            <p:cNvPr id="29" name="Рисунок 28"/>
            <p:cNvPicPr>
              <a:picLocks noChangeAspect="1"/>
            </p:cNvPicPr>
            <p:nvPr/>
          </p:nvPicPr>
          <p:blipFill rotWithShape="1">
            <a:blip r:embed="rId4"/>
            <a:srcRect t="4013"/>
            <a:stretch/>
          </p:blipFill>
          <p:spPr>
            <a:xfrm>
              <a:off x="5477005" y="1027303"/>
              <a:ext cx="4456645" cy="4477417"/>
            </a:xfrm>
            <a:prstGeom prst="rect">
              <a:avLst/>
            </a:prstGeom>
          </p:spPr>
        </p:pic>
        <p:sp>
          <p:nvSpPr>
            <p:cNvPr id="30" name="Полилиния 29"/>
            <p:cNvSpPr/>
            <p:nvPr/>
          </p:nvSpPr>
          <p:spPr>
            <a:xfrm>
              <a:off x="6395685" y="3200400"/>
              <a:ext cx="1300515" cy="1424833"/>
            </a:xfrm>
            <a:custGeom>
              <a:avLst/>
              <a:gdLst>
                <a:gd name="connsiteX0" fmla="*/ 1946436 w 3868927"/>
                <a:gd name="connsiteY0" fmla="*/ 0 h 3329940"/>
                <a:gd name="connsiteX1" fmla="*/ 1611156 w 3868927"/>
                <a:gd name="connsiteY1" fmla="*/ 464820 h 3329940"/>
                <a:gd name="connsiteX2" fmla="*/ 1245396 w 3868927"/>
                <a:gd name="connsiteY2" fmla="*/ 830580 h 3329940"/>
                <a:gd name="connsiteX3" fmla="*/ 993936 w 3868927"/>
                <a:gd name="connsiteY3" fmla="*/ 1165860 h 3329940"/>
                <a:gd name="connsiteX4" fmla="*/ 833916 w 3868927"/>
                <a:gd name="connsiteY4" fmla="*/ 1623060 h 3329940"/>
                <a:gd name="connsiteX5" fmla="*/ 620556 w 3868927"/>
                <a:gd name="connsiteY5" fmla="*/ 1950720 h 3329940"/>
                <a:gd name="connsiteX6" fmla="*/ 270036 w 3868927"/>
                <a:gd name="connsiteY6" fmla="*/ 2156460 h 3329940"/>
                <a:gd name="connsiteX7" fmla="*/ 26196 w 3868927"/>
                <a:gd name="connsiteY7" fmla="*/ 2537460 h 3329940"/>
                <a:gd name="connsiteX8" fmla="*/ 155736 w 3868927"/>
                <a:gd name="connsiteY8" fmla="*/ 2819400 h 3329940"/>
                <a:gd name="connsiteX9" fmla="*/ 1344456 w 3868927"/>
                <a:gd name="connsiteY9" fmla="*/ 2644140 h 3329940"/>
                <a:gd name="connsiteX10" fmla="*/ 2022636 w 3868927"/>
                <a:gd name="connsiteY10" fmla="*/ 2514600 h 3329940"/>
                <a:gd name="connsiteX11" fmla="*/ 2639856 w 3868927"/>
                <a:gd name="connsiteY11" fmla="*/ 2392680 h 3329940"/>
                <a:gd name="connsiteX12" fmla="*/ 3058956 w 3868927"/>
                <a:gd name="connsiteY12" fmla="*/ 2407920 h 3329940"/>
                <a:gd name="connsiteX13" fmla="*/ 3523776 w 3868927"/>
                <a:gd name="connsiteY13" fmla="*/ 2461260 h 3329940"/>
                <a:gd name="connsiteX14" fmla="*/ 3859056 w 3868927"/>
                <a:gd name="connsiteY14" fmla="*/ 2499360 h 3329940"/>
                <a:gd name="connsiteX15" fmla="*/ 3752376 w 3868927"/>
                <a:gd name="connsiteY15" fmla="*/ 2689860 h 3329940"/>
                <a:gd name="connsiteX16" fmla="*/ 3470436 w 3868927"/>
                <a:gd name="connsiteY16" fmla="*/ 3002280 h 3329940"/>
                <a:gd name="connsiteX17" fmla="*/ 3051336 w 3868927"/>
                <a:gd name="connsiteY17" fmla="*/ 3329940 h 3329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868927" h="3329940">
                  <a:moveTo>
                    <a:pt x="1946436" y="0"/>
                  </a:moveTo>
                  <a:cubicBezTo>
                    <a:pt x="1837216" y="163195"/>
                    <a:pt x="1727996" y="326390"/>
                    <a:pt x="1611156" y="464820"/>
                  </a:cubicBezTo>
                  <a:cubicBezTo>
                    <a:pt x="1494316" y="603250"/>
                    <a:pt x="1348266" y="713740"/>
                    <a:pt x="1245396" y="830580"/>
                  </a:cubicBezTo>
                  <a:cubicBezTo>
                    <a:pt x="1142526" y="947420"/>
                    <a:pt x="1062516" y="1033780"/>
                    <a:pt x="993936" y="1165860"/>
                  </a:cubicBezTo>
                  <a:cubicBezTo>
                    <a:pt x="925356" y="1297940"/>
                    <a:pt x="896146" y="1492250"/>
                    <a:pt x="833916" y="1623060"/>
                  </a:cubicBezTo>
                  <a:cubicBezTo>
                    <a:pt x="771686" y="1753870"/>
                    <a:pt x="714536" y="1861820"/>
                    <a:pt x="620556" y="1950720"/>
                  </a:cubicBezTo>
                  <a:cubicBezTo>
                    <a:pt x="526576" y="2039620"/>
                    <a:pt x="369096" y="2058670"/>
                    <a:pt x="270036" y="2156460"/>
                  </a:cubicBezTo>
                  <a:cubicBezTo>
                    <a:pt x="170976" y="2254250"/>
                    <a:pt x="45246" y="2426970"/>
                    <a:pt x="26196" y="2537460"/>
                  </a:cubicBezTo>
                  <a:cubicBezTo>
                    <a:pt x="7146" y="2647950"/>
                    <a:pt x="-63974" y="2801620"/>
                    <a:pt x="155736" y="2819400"/>
                  </a:cubicBezTo>
                  <a:cubicBezTo>
                    <a:pt x="375446" y="2837180"/>
                    <a:pt x="1033306" y="2694940"/>
                    <a:pt x="1344456" y="2644140"/>
                  </a:cubicBezTo>
                  <a:cubicBezTo>
                    <a:pt x="1655606" y="2593340"/>
                    <a:pt x="2022636" y="2514600"/>
                    <a:pt x="2022636" y="2514600"/>
                  </a:cubicBezTo>
                  <a:cubicBezTo>
                    <a:pt x="2238536" y="2472690"/>
                    <a:pt x="2467136" y="2410460"/>
                    <a:pt x="2639856" y="2392680"/>
                  </a:cubicBezTo>
                  <a:cubicBezTo>
                    <a:pt x="2812576" y="2374900"/>
                    <a:pt x="2911636" y="2396490"/>
                    <a:pt x="3058956" y="2407920"/>
                  </a:cubicBezTo>
                  <a:cubicBezTo>
                    <a:pt x="3206276" y="2419350"/>
                    <a:pt x="3523776" y="2461260"/>
                    <a:pt x="3523776" y="2461260"/>
                  </a:cubicBezTo>
                  <a:cubicBezTo>
                    <a:pt x="3657126" y="2476500"/>
                    <a:pt x="3820956" y="2461260"/>
                    <a:pt x="3859056" y="2499360"/>
                  </a:cubicBezTo>
                  <a:cubicBezTo>
                    <a:pt x="3897156" y="2537460"/>
                    <a:pt x="3817146" y="2606040"/>
                    <a:pt x="3752376" y="2689860"/>
                  </a:cubicBezTo>
                  <a:cubicBezTo>
                    <a:pt x="3687606" y="2773680"/>
                    <a:pt x="3587276" y="2895600"/>
                    <a:pt x="3470436" y="3002280"/>
                  </a:cubicBezTo>
                  <a:cubicBezTo>
                    <a:pt x="3353596" y="3108960"/>
                    <a:pt x="3202466" y="3219450"/>
                    <a:pt x="3051336" y="3329940"/>
                  </a:cubicBezTo>
                </a:path>
              </a:pathLst>
            </a:custGeom>
            <a:noFill/>
            <a:ln w="38100">
              <a:solidFill>
                <a:srgbClr val="FFFF0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5655833" y="5453053"/>
              <a:ext cx="4114799" cy="135421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marL="268288" indent="-268288" algn="just">
                <a:spcAft>
                  <a:spcPts val="0"/>
                </a:spcAft>
              </a:pPr>
              <a:r>
                <a:rPr lang="ru-RU" sz="10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Рудное поле</a:t>
              </a:r>
              <a:r>
                <a:rPr lang="ru-RU" sz="10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:</a:t>
              </a:r>
              <a:r>
                <a:rPr lang="ru-RU" sz="10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 </a:t>
              </a:r>
            </a:p>
            <a:p>
              <a:pPr marL="268288" lvl="0" indent="-268288" algn="just">
                <a:spcAft>
                  <a:spcPts val="0"/>
                </a:spcAft>
                <a:buFont typeface="+mj-lt"/>
                <a:buAutoNum type="arabicPeriod"/>
              </a:pPr>
              <a:r>
                <a:rPr lang="ru-RU" sz="800" dirty="0" smtClean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Мощная толща терригенных, глубоко метаморфизованных древних пород. </a:t>
              </a:r>
            </a:p>
            <a:p>
              <a:pPr marL="268288" lvl="0" indent="-268288" algn="just">
                <a:spcAft>
                  <a:spcPts val="0"/>
                </a:spcAft>
                <a:buFont typeface="+mj-lt"/>
                <a:buAutoNum type="arabicPeriod"/>
              </a:pPr>
              <a:r>
                <a:rPr lang="ru-RU" sz="800" dirty="0" smtClean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Удаленность интрузивов.</a:t>
              </a:r>
            </a:p>
            <a:p>
              <a:pPr marL="268288" lvl="0" indent="-268288" algn="just">
                <a:spcAft>
                  <a:spcPts val="0"/>
                </a:spcAft>
                <a:buFont typeface="+mj-lt"/>
                <a:buAutoNum type="arabicPeriod"/>
              </a:pPr>
              <a:r>
                <a:rPr lang="ru-RU" sz="800" dirty="0" smtClean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Интенсивная складчатая и разрывная тектоника.</a:t>
              </a:r>
            </a:p>
            <a:p>
              <a:pPr marL="268288" lvl="0" indent="-268288" algn="just">
                <a:spcAft>
                  <a:spcPts val="0"/>
                </a:spcAft>
                <a:buFont typeface="+mj-lt"/>
                <a:buAutoNum type="arabicPeriod"/>
              </a:pPr>
              <a:r>
                <a:rPr lang="ru-RU" sz="800" dirty="0" smtClean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Продуктивность минерализации увеличивается с осложнением тектоники.</a:t>
              </a:r>
            </a:p>
            <a:p>
              <a:pPr marL="268288" lvl="0" indent="-268288" algn="just">
                <a:spcAft>
                  <a:spcPts val="0"/>
                </a:spcAft>
                <a:buFont typeface="+mj-lt"/>
                <a:buAutoNum type="arabicPeriod"/>
              </a:pPr>
              <a:r>
                <a:rPr lang="ru-RU" sz="800" dirty="0" smtClean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Приуроченность минерализации к карбонатно-слюдистому горизонту, подстилают слюдистые, перекрывают углеродистые сланцы.</a:t>
              </a:r>
            </a:p>
            <a:p>
              <a:pPr marL="268288" lvl="0" indent="-268288" algn="just">
                <a:spcAft>
                  <a:spcPts val="0"/>
                </a:spcAft>
                <a:buFont typeface="+mj-lt"/>
                <a:buAutoNum type="arabicPeriod"/>
              </a:pPr>
              <a:r>
                <a:rPr lang="ru-RU" sz="800" dirty="0" err="1" smtClean="0">
                  <a:solidFill>
                    <a:srgbClr val="000000"/>
                  </a:solidFill>
                  <a:effectLst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Сульфидизация</a:t>
              </a:r>
              <a:r>
                <a:rPr lang="ru-RU" sz="800" dirty="0" smtClean="0">
                  <a:solidFill>
                    <a:srgbClr val="000000"/>
                  </a:solidFill>
                  <a:effectLst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и </a:t>
              </a:r>
              <a:r>
                <a:rPr lang="ru-RU" sz="800" dirty="0" err="1" smtClean="0">
                  <a:solidFill>
                    <a:srgbClr val="000000"/>
                  </a:solidFill>
                  <a:effectLst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углефикация</a:t>
              </a:r>
              <a:r>
                <a:rPr lang="ru-RU" sz="800" dirty="0" smtClean="0">
                  <a:solidFill>
                    <a:srgbClr val="000000"/>
                  </a:solidFill>
                  <a:effectLst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не имеют прямой корреляции с золотой минерализацией</a:t>
              </a:r>
            </a:p>
            <a:p>
              <a:pPr marL="268288" lvl="0" indent="-268288" algn="just">
                <a:spcAft>
                  <a:spcPts val="0"/>
                </a:spcAft>
                <a:buFont typeface="+mj-lt"/>
                <a:buAutoNum type="arabicPeriod"/>
              </a:pPr>
              <a:r>
                <a:rPr lang="ru-RU" sz="800" dirty="0" smtClean="0">
                  <a:solidFill>
                    <a:srgbClr val="000000"/>
                  </a:solidFill>
                  <a:effectLst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Меловые коры выветривания.</a:t>
              </a:r>
              <a:endParaRPr lang="ru-RU" sz="800" dirty="0">
                <a:solidFill>
                  <a:srgbClr val="000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cxnSp>
        <p:nvCxnSpPr>
          <p:cNvPr id="5" name="Прямая со стрелкой 4"/>
          <p:cNvCxnSpPr/>
          <p:nvPr/>
        </p:nvCxnSpPr>
        <p:spPr>
          <a:xfrm flipH="1" flipV="1">
            <a:off x="8529403" y="1027304"/>
            <a:ext cx="1376597" cy="1411096"/>
          </a:xfrm>
          <a:prstGeom prst="straightConnector1">
            <a:avLst/>
          </a:prstGeom>
          <a:ln w="38100">
            <a:solidFill>
              <a:srgbClr val="FF0000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/>
          <p:nvPr/>
        </p:nvCxnSpPr>
        <p:spPr>
          <a:xfrm>
            <a:off x="5662484" y="4260031"/>
            <a:ext cx="941176" cy="1183486"/>
          </a:xfrm>
          <a:prstGeom prst="straightConnector1">
            <a:avLst/>
          </a:prstGeom>
          <a:ln w="38100">
            <a:solidFill>
              <a:srgbClr val="FF0000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5699987" y="5089407"/>
            <a:ext cx="6751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 smtClean="0"/>
              <a:t>Pb</a:t>
            </a:r>
            <a:r>
              <a:rPr lang="en-US" sz="1600" b="1" dirty="0" smtClean="0"/>
              <a:t>-Zn</a:t>
            </a:r>
            <a:endParaRPr lang="ru-RU" sz="1600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8807973" y="5031056"/>
            <a:ext cx="81945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/>
              <a:t>Au-(Sb)</a:t>
            </a:r>
            <a:endParaRPr lang="ru-RU" sz="1600" b="1" dirty="0"/>
          </a:p>
        </p:txBody>
      </p:sp>
    </p:spTree>
    <p:extLst>
      <p:ext uri="{BB962C8B-B14F-4D97-AF65-F5344CB8AC3E}">
        <p14:creationId xmlns:p14="http://schemas.microsoft.com/office/powerpoint/2010/main" val="3576854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Text Placeholder 1"/>
          <p:cNvSpPr txBox="1">
            <a:spLocks/>
          </p:cNvSpPr>
          <p:nvPr/>
        </p:nvSpPr>
        <p:spPr bwMode="gray">
          <a:xfrm>
            <a:off x="457200" y="152400"/>
            <a:ext cx="889468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ts val="600"/>
              </a:spcBef>
              <a:defRPr/>
            </a:pPr>
            <a:r>
              <a:rPr lang="ru-RU" sz="2400" b="1" dirty="0" err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лимпиаднинское</a:t>
            </a:r>
            <a:r>
              <a:rPr lang="ru-RU" sz="24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месторождение</a:t>
            </a:r>
          </a:p>
          <a:p>
            <a:pPr>
              <a:spcBef>
                <a:spcPts val="600"/>
              </a:spcBef>
              <a:defRPr/>
            </a:pPr>
            <a:r>
              <a:rPr lang="ru-RU" sz="16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ресурсы 1300 т)</a:t>
            </a:r>
            <a:endParaRPr lang="en-US" sz="24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99023" y="1069041"/>
            <a:ext cx="4114799" cy="4009693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grpSp>
        <p:nvGrpSpPr>
          <p:cNvPr id="29" name="Группа 28"/>
          <p:cNvGrpSpPr/>
          <p:nvPr/>
        </p:nvGrpSpPr>
        <p:grpSpPr>
          <a:xfrm>
            <a:off x="76200" y="1069041"/>
            <a:ext cx="5683429" cy="4569759"/>
            <a:chOff x="67312" y="1416934"/>
            <a:chExt cx="5683429" cy="4266637"/>
          </a:xfrm>
        </p:grpSpPr>
        <p:pic>
          <p:nvPicPr>
            <p:cNvPr id="30" name="Рисунок 29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28" t="6069" r="13626" b="13205"/>
            <a:stretch/>
          </p:blipFill>
          <p:spPr>
            <a:xfrm>
              <a:off x="67312" y="1416934"/>
              <a:ext cx="5571488" cy="3743721"/>
            </a:xfrm>
            <a:prstGeom prst="rect">
              <a:avLst/>
            </a:prstGeom>
            <a:ln w="635">
              <a:solidFill>
                <a:schemeClr val="tx1"/>
              </a:solidFill>
            </a:ln>
          </p:spPr>
        </p:pic>
        <p:sp>
          <p:nvSpPr>
            <p:cNvPr id="32" name="TextBox 31"/>
            <p:cNvSpPr txBox="1"/>
            <p:nvPr/>
          </p:nvSpPr>
          <p:spPr>
            <a:xfrm>
              <a:off x="553832" y="2466966"/>
              <a:ext cx="886781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05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ЗАПАДНЫЙ</a:t>
              </a: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3018351" y="1717082"/>
              <a:ext cx="136607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05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ПРОМЕЖУТОЧНЫЙ</a:t>
              </a: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4440528" y="1708640"/>
              <a:ext cx="1310213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5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ВОСТОЧНЫЙ</a:t>
              </a:r>
              <a:r>
                <a:rPr lang="en-US" sz="105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endParaRPr lang="ru-RU" sz="105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>
            <a:xfrm flipH="1">
              <a:off x="2230008" y="1470735"/>
              <a:ext cx="770915" cy="3052104"/>
            </a:xfrm>
            <a:prstGeom prst="line">
              <a:avLst/>
            </a:prstGeom>
            <a:ln w="19050">
              <a:solidFill>
                <a:srgbClr val="FF66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Прямая соединительная линия 39"/>
            <p:cNvCxnSpPr/>
            <p:nvPr/>
          </p:nvCxnSpPr>
          <p:spPr>
            <a:xfrm flipH="1">
              <a:off x="3642246" y="1470735"/>
              <a:ext cx="1030604" cy="4130204"/>
            </a:xfrm>
            <a:prstGeom prst="line">
              <a:avLst/>
            </a:prstGeom>
            <a:ln w="19050">
              <a:solidFill>
                <a:srgbClr val="FF66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2" name="Рисунок 41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004" t="90466" r="37446" b="7076"/>
            <a:stretch/>
          </p:blipFill>
          <p:spPr>
            <a:xfrm>
              <a:off x="2712319" y="5547067"/>
              <a:ext cx="1063296" cy="136504"/>
            </a:xfrm>
            <a:prstGeom prst="rect">
              <a:avLst/>
            </a:prstGeom>
          </p:spPr>
        </p:pic>
      </p:grpSp>
      <p:pic>
        <p:nvPicPr>
          <p:cNvPr id="51" name="Рисунок 5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9967" y="2301373"/>
            <a:ext cx="204183" cy="61983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34837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Slide Number Placeholder 8"/>
          <p:cNvSpPr>
            <a:spLocks noGrp="1"/>
          </p:cNvSpPr>
          <p:nvPr>
            <p:ph type="sldNum" sz="quarter" idx="4294967295"/>
          </p:nvPr>
        </p:nvSpPr>
        <p:spPr bwMode="gray">
          <a:xfrm>
            <a:off x="9214975" y="6443316"/>
            <a:ext cx="395360" cy="244233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C05F1482-BC98-4127-A333-8481AF6BE516}" type="slidenum">
              <a:rPr lang="en-US" sz="1200"/>
              <a:pPr algn="r"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US" sz="1200" dirty="0"/>
          </a:p>
        </p:txBody>
      </p:sp>
      <p:sp>
        <p:nvSpPr>
          <p:cNvPr id="94" name="Text Placeholder 1"/>
          <p:cNvSpPr txBox="1">
            <a:spLocks/>
          </p:cNvSpPr>
          <p:nvPr/>
        </p:nvSpPr>
        <p:spPr bwMode="gray">
          <a:xfrm>
            <a:off x="320287" y="0"/>
            <a:ext cx="8894688" cy="826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ts val="600"/>
              </a:spcBef>
              <a:defRPr/>
            </a:pPr>
            <a:r>
              <a:rPr lang="ru-RU" sz="2400" b="1" dirty="0" err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лимпиаднинское</a:t>
            </a:r>
            <a:r>
              <a:rPr lang="ru-RU" sz="24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месторождение.</a:t>
            </a:r>
          </a:p>
          <a:p>
            <a:pPr>
              <a:spcBef>
                <a:spcPts val="600"/>
              </a:spcBef>
              <a:defRPr/>
            </a:pPr>
            <a:r>
              <a:rPr lang="ru-RU" sz="24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изические свойства пород и минерализованных зон.</a:t>
            </a:r>
            <a:endParaRPr lang="en-US" sz="24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76201" y="979392"/>
            <a:ext cx="9829799" cy="5311512"/>
            <a:chOff x="76201" y="979392"/>
            <a:chExt cx="9829799" cy="5311512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6201" y="979392"/>
              <a:ext cx="4827848" cy="5311512"/>
            </a:xfrm>
            <a:prstGeom prst="rect">
              <a:avLst/>
            </a:prstGeom>
          </p:spPr>
        </p:pic>
        <p:pic>
          <p:nvPicPr>
            <p:cNvPr id="13" name="Рисунок 1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074516" y="979392"/>
              <a:ext cx="4801466" cy="3904489"/>
            </a:xfrm>
            <a:prstGeom prst="rect">
              <a:avLst/>
            </a:prstGeom>
          </p:spPr>
        </p:pic>
        <p:sp>
          <p:nvSpPr>
            <p:cNvPr id="2" name="TextBox 1"/>
            <p:cNvSpPr txBox="1"/>
            <p:nvPr/>
          </p:nvSpPr>
          <p:spPr>
            <a:xfrm>
              <a:off x="6013652" y="1003204"/>
              <a:ext cx="3892348" cy="215444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rtlCol="0">
              <a:spAutoFit/>
            </a:bodyPr>
            <a:lstStyle/>
            <a:p>
              <a:r>
                <a:rPr lang="ru-RU" sz="1400" dirty="0" smtClean="0"/>
                <a:t>гидротермальные образования и зоны изменений</a:t>
              </a:r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1700033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Text Placeholder 1"/>
          <p:cNvSpPr txBox="1">
            <a:spLocks/>
          </p:cNvSpPr>
          <p:nvPr/>
        </p:nvSpPr>
        <p:spPr bwMode="gray">
          <a:xfrm>
            <a:off x="457200" y="152400"/>
            <a:ext cx="889468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ts val="600"/>
              </a:spcBef>
              <a:defRPr/>
            </a:pPr>
            <a:r>
              <a:rPr lang="ru-RU" sz="24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лагодатное месторождение</a:t>
            </a:r>
          </a:p>
          <a:p>
            <a:pPr>
              <a:spcBef>
                <a:spcPts val="600"/>
              </a:spcBef>
              <a:defRPr/>
            </a:pPr>
            <a:r>
              <a:rPr lang="ru-RU" sz="16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ресурсы 560 т)</a:t>
            </a:r>
            <a:endParaRPr lang="en-US" sz="24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074" name="Picture 2" descr="06+Благ+Обобщ-разрезы-Рис-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95"/>
          <a:stretch/>
        </p:blipFill>
        <p:spPr bwMode="auto">
          <a:xfrm>
            <a:off x="136672" y="1066800"/>
            <a:ext cx="6489359" cy="525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4" name="Группа 23"/>
          <p:cNvGrpSpPr/>
          <p:nvPr/>
        </p:nvGrpSpPr>
        <p:grpSpPr>
          <a:xfrm>
            <a:off x="3902368" y="2311088"/>
            <a:ext cx="109538" cy="108295"/>
            <a:chOff x="5529262" y="2177705"/>
            <a:chExt cx="219075" cy="216590"/>
          </a:xfrm>
        </p:grpSpPr>
        <p:cxnSp>
          <p:nvCxnSpPr>
            <p:cNvPr id="13" name="Прямая со стрелкой 12"/>
            <p:cNvCxnSpPr/>
            <p:nvPr/>
          </p:nvCxnSpPr>
          <p:spPr>
            <a:xfrm flipV="1">
              <a:off x="5638800" y="2209800"/>
              <a:ext cx="76200" cy="76200"/>
            </a:xfrm>
            <a:prstGeom prst="straightConnector1">
              <a:avLst/>
            </a:prstGeom>
            <a:ln w="22225">
              <a:solidFill>
                <a:schemeClr val="tx1"/>
              </a:solidFill>
              <a:headEnd type="none"/>
              <a:tailEnd type="non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Прямая соединительная линия 17"/>
            <p:cNvCxnSpPr/>
            <p:nvPr/>
          </p:nvCxnSpPr>
          <p:spPr>
            <a:xfrm>
              <a:off x="5529262" y="2177705"/>
              <a:ext cx="219075" cy="216590"/>
            </a:xfrm>
            <a:prstGeom prst="line">
              <a:avLst/>
            </a:prstGeom>
            <a:ln w="222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Группа 26"/>
          <p:cNvGrpSpPr/>
          <p:nvPr/>
        </p:nvGrpSpPr>
        <p:grpSpPr>
          <a:xfrm>
            <a:off x="5529263" y="3756660"/>
            <a:ext cx="109538" cy="108295"/>
            <a:chOff x="5529262" y="2177705"/>
            <a:chExt cx="219075" cy="216590"/>
          </a:xfrm>
        </p:grpSpPr>
        <p:cxnSp>
          <p:nvCxnSpPr>
            <p:cNvPr id="28" name="Прямая со стрелкой 27"/>
            <p:cNvCxnSpPr/>
            <p:nvPr/>
          </p:nvCxnSpPr>
          <p:spPr>
            <a:xfrm flipV="1">
              <a:off x="5638800" y="2209800"/>
              <a:ext cx="76200" cy="76200"/>
            </a:xfrm>
            <a:prstGeom prst="straightConnector1">
              <a:avLst/>
            </a:prstGeom>
            <a:ln w="22225">
              <a:solidFill>
                <a:schemeClr val="tx1"/>
              </a:solidFill>
              <a:headEnd type="none"/>
              <a:tailEnd type="none" w="sm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Прямая соединительная линия 28"/>
            <p:cNvCxnSpPr/>
            <p:nvPr/>
          </p:nvCxnSpPr>
          <p:spPr>
            <a:xfrm>
              <a:off x="5529262" y="2177705"/>
              <a:ext cx="219075" cy="216590"/>
            </a:xfrm>
            <a:prstGeom prst="line">
              <a:avLst/>
            </a:prstGeom>
            <a:ln w="222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4"/>
          <a:srcRect b="13132"/>
          <a:stretch/>
        </p:blipFill>
        <p:spPr>
          <a:xfrm>
            <a:off x="6588834" y="2835517"/>
            <a:ext cx="3160907" cy="4000560"/>
          </a:xfrm>
          <a:prstGeom prst="rect">
            <a:avLst/>
          </a:prstGeom>
        </p:spPr>
      </p:pic>
      <p:sp>
        <p:nvSpPr>
          <p:cNvPr id="15" name="Прямоугольник 14"/>
          <p:cNvSpPr/>
          <p:nvPr/>
        </p:nvSpPr>
        <p:spPr>
          <a:xfrm>
            <a:off x="4718735" y="1038621"/>
            <a:ext cx="5029200" cy="163121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268288" indent="-268288" algn="just">
              <a:spcAft>
                <a:spcPts val="0"/>
              </a:spcAft>
            </a:pPr>
            <a:r>
              <a:rPr 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удное поле</a:t>
            </a:r>
            <a:r>
              <a:rPr lang="ru-RU" sz="1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  <a:r>
              <a:rPr lang="ru-RU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  <a:endParaRPr lang="ru-RU" sz="10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68288" lvl="0" indent="-268288" algn="just">
              <a:spcAft>
                <a:spcPts val="0"/>
              </a:spcAft>
              <a:buFont typeface="+mj-lt"/>
              <a:buAutoNum type="arabicPeriod"/>
            </a:pPr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ощная толща терригенных, метаморфизованных древних пород (псаммитовые, псефитовые, </a:t>
            </a:r>
            <a:r>
              <a:rPr lang="ru-RU" sz="1000" dirty="0" err="1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итмиты</a:t>
            </a:r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. </a:t>
            </a:r>
          </a:p>
          <a:p>
            <a:pPr marL="268288" lvl="0" indent="-268288" algn="just">
              <a:spcAft>
                <a:spcPts val="0"/>
              </a:spcAft>
              <a:buFont typeface="+mj-lt"/>
              <a:buAutoNum type="arabicPeriod"/>
            </a:pPr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даленность </a:t>
            </a:r>
            <a:r>
              <a:rPr lang="ru-RU" sz="10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трузивов.</a:t>
            </a:r>
          </a:p>
          <a:p>
            <a:pPr marL="268288" lvl="0" indent="-268288" algn="just">
              <a:spcAft>
                <a:spcPts val="0"/>
              </a:spcAft>
              <a:buFont typeface="+mj-lt"/>
              <a:buAutoNum type="arabicPeriod"/>
            </a:pPr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ктоника по типу левостороннего сдвига подготовила благоприятную структуру – дуплексные линзы растяжения.</a:t>
            </a:r>
          </a:p>
          <a:p>
            <a:pPr marL="268288" lvl="0" indent="-268288" algn="just">
              <a:spcAft>
                <a:spcPts val="0"/>
              </a:spcAft>
              <a:buFont typeface="+mj-lt"/>
              <a:buAutoNum type="arabicPeriod"/>
            </a:pPr>
            <a:endParaRPr lang="ru-RU" sz="10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68288" lvl="0" indent="-268288" algn="just">
              <a:spcAft>
                <a:spcPts val="0"/>
              </a:spcAft>
              <a:buFont typeface="+mj-lt"/>
              <a:buAutoNum type="arabicPeriod"/>
            </a:pPr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дуктивность </a:t>
            </a:r>
            <a:r>
              <a:rPr lang="ru-RU" sz="10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инерализации увеличивается с осложнением тектоники.</a:t>
            </a:r>
          </a:p>
          <a:p>
            <a:pPr marL="268288" lvl="0" indent="-268288" algn="just">
              <a:spcAft>
                <a:spcPts val="0"/>
              </a:spcAft>
              <a:buFont typeface="+mj-lt"/>
              <a:buAutoNum type="arabicPeriod"/>
            </a:pPr>
            <a:r>
              <a:rPr lang="ru-RU" sz="10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уроченность минерализации к карбонатно-слюдистому горизонту, подстилают слюдистые, перекрывают углеродистые </a:t>
            </a:r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ланцы.</a:t>
            </a:r>
            <a:endParaRPr lang="ru-RU" sz="1000" dirty="0">
              <a:solidFill>
                <a:srgbClr val="000000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2510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Text Placeholder 1"/>
          <p:cNvSpPr txBox="1">
            <a:spLocks/>
          </p:cNvSpPr>
          <p:nvPr/>
        </p:nvSpPr>
        <p:spPr bwMode="gray">
          <a:xfrm>
            <a:off x="499343" y="0"/>
            <a:ext cx="8894688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ts val="600"/>
              </a:spcBef>
              <a:defRPr/>
            </a:pPr>
            <a:r>
              <a:rPr lang="ru-RU" sz="24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лагодатное месторождение</a:t>
            </a:r>
          </a:p>
          <a:p>
            <a:pPr>
              <a:spcBef>
                <a:spcPts val="600"/>
              </a:spcBef>
              <a:defRPr/>
            </a:pPr>
            <a:r>
              <a:rPr lang="ru-RU" sz="24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изические свойства </a:t>
            </a:r>
            <a:r>
              <a:rPr lang="ru-RU" sz="2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род и минерализованных зон.</a:t>
            </a:r>
            <a:endParaRPr lang="en-US" sz="24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spcBef>
                <a:spcPts val="600"/>
              </a:spcBef>
              <a:defRPr/>
            </a:pPr>
            <a:r>
              <a:rPr lang="ru-RU" sz="24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en-US" sz="24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6459151"/>
              </p:ext>
            </p:extLst>
          </p:nvPr>
        </p:nvGraphicFramePr>
        <p:xfrm>
          <a:off x="368374" y="1219200"/>
          <a:ext cx="9156626" cy="3962400"/>
        </p:xfrm>
        <a:graphic>
          <a:graphicData uri="http://schemas.openxmlformats.org/drawingml/2006/table">
            <a:tbl>
              <a:tblPr firstRow="1" firstCol="1" lastRow="1" lastCol="1" bandRow="1" bandCol="1"/>
              <a:tblGrid>
                <a:gridCol w="231198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2142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4749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2142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92142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921425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15572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1155722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</a:tblGrid>
              <a:tr h="190970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Обособляемый горизонт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7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Интервалы физических свойств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8194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КС, Омм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ПС, мВ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ВП, %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ГК,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мкР/ч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КМ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КМВ,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ед.СИ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СМ,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нТл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0197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Кварц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8000-2000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,1-1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5-12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-10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0950-6105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0197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Кварц с пиритом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200-1000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+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,1-4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5-12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-15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0950-6105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0197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Кварц с пирротином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200-1000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+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,1-4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5-12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50-150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0950-6105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0197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Кварцевые прожил. с дроб.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00-400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,1-1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5-12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-10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0950-6105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0197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Пиритизация интенсивная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0-100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-25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5-7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6-4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-15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0950-6105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0197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Пиритизация умеренная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00-500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50-100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-6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6-4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-15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0950-6105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0197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Пирротинизация интенсивная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0-100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50-100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5-7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6-4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50-200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000-8500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0197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Пирротинизация умеренная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00-500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50-100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-6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6-4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50-150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000-8500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0197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Обуглероженность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-10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+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7-16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0-45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-10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0950-6105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819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Обуглероженность с сульфидами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-26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+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-12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0-45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00-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50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50000-6200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0197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Карбонатизация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000-2000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,1-1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6-35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-10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0950-6105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3819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Слабо измененные кв.-сл.сланцы, метаалевросланцы 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5000-1000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,1-1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6-35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-10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0950-6105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0197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То же, трещиноватые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000-500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,1-1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6-35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-10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0950-6105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0197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То же, трещин. интенсивно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500-300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,1-2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6-35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+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-10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0950-6105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0197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Зоны дробления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0-50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,1-2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6-35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++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-100</a:t>
                      </a:r>
                      <a:endParaRPr lang="ru-RU" sz="10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5220970" algn="l"/>
                        </a:tabLst>
                      </a:pPr>
                      <a:r>
                        <a:rPr lang="ru-RU" sz="1000" dirty="0">
                          <a:effectLst/>
                          <a:latin typeface="1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0950-61050</a:t>
                      </a:r>
                      <a:endParaRPr lang="ru-RU" sz="1000" dirty="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782" marR="5478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9538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99B19C1-649F-475A-B071-CFFAEF88A230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95300" y="129790"/>
            <a:ext cx="9400794" cy="685742"/>
          </a:xfrm>
        </p:spPr>
        <p:txBody>
          <a:bodyPr/>
          <a:lstStyle/>
          <a:p>
            <a:pPr eaLnBrk="0" hangingPunct="0">
              <a:lnSpc>
                <a:spcPct val="100000"/>
              </a:lnSpc>
              <a:spcBef>
                <a:spcPts val="600"/>
              </a:spcBef>
              <a:defRPr/>
            </a:pPr>
            <a:r>
              <a:rPr lang="ru-RU" sz="24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сторождения </a:t>
            </a:r>
            <a:r>
              <a:rPr lang="ru-RU" sz="2400" dirty="0" err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ухоложского</a:t>
            </a:r>
            <a:r>
              <a:rPr lang="ru-RU" sz="24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рудного поля. </a:t>
            </a:r>
            <a:r>
              <a:rPr lang="ru-RU" sz="24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ru-RU" sz="24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6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ресурсы 1900 т)</a:t>
            </a:r>
            <a:endParaRPr lang="ru-RU" sz="24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09" t="7537" r="28544" b="8037"/>
          <a:stretch/>
        </p:blipFill>
        <p:spPr>
          <a:xfrm>
            <a:off x="51472" y="990600"/>
            <a:ext cx="5608918" cy="4848386"/>
          </a:xfrm>
          <a:prstGeom prst="rect">
            <a:avLst/>
          </a:prstGeom>
        </p:spPr>
      </p:pic>
      <p:grpSp>
        <p:nvGrpSpPr>
          <p:cNvPr id="11" name="Группа 10"/>
          <p:cNvGrpSpPr/>
          <p:nvPr/>
        </p:nvGrpSpPr>
        <p:grpSpPr>
          <a:xfrm>
            <a:off x="4263928" y="4079554"/>
            <a:ext cx="5161033" cy="2620242"/>
            <a:chOff x="3962400" y="4049921"/>
            <a:chExt cx="5161033" cy="2620242"/>
          </a:xfrm>
        </p:grpSpPr>
        <p:graphicFrame>
          <p:nvGraphicFramePr>
            <p:cNvPr id="8" name="Объект 7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52311794"/>
                </p:ext>
              </p:extLst>
            </p:nvPr>
          </p:nvGraphicFramePr>
          <p:xfrm>
            <a:off x="3962400" y="4049921"/>
            <a:ext cx="5156200" cy="262024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107" name="CorelDRAW" r:id="rId4" imgW="26092107" imgH="13259482" progId="CorelDraw.Graphic.18">
                    <p:embed/>
                  </p:oleObj>
                </mc:Choice>
                <mc:Fallback>
                  <p:oleObj name="CorelDRAW" r:id="rId4" imgW="26092107" imgH="13259482" progId="CorelDraw.Graphic.18">
                    <p:embed/>
                    <p:pic>
                      <p:nvPicPr>
                        <p:cNvPr id="0" name=""/>
                        <p:cNvPicPr/>
                        <p:nvPr/>
                      </p:nvPicPr>
                      <p:blipFill>
                        <a:blip r:embed="rId5"/>
                        <a:stretch>
                          <a:fillRect/>
                        </a:stretch>
                      </p:blipFill>
                      <p:spPr>
                        <a:xfrm>
                          <a:off x="3962400" y="4049921"/>
                          <a:ext cx="5156200" cy="2620242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385271" y="4715371"/>
              <a:ext cx="535573" cy="285835"/>
            </a:xfrm>
            <a:prstGeom prst="rect">
              <a:avLst/>
            </a:prstGeom>
          </p:spPr>
        </p:pic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579340" y="5989632"/>
              <a:ext cx="544093" cy="294960"/>
            </a:xfrm>
            <a:prstGeom prst="rect">
              <a:avLst/>
            </a:prstGeom>
          </p:spPr>
        </p:pic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931343" y="5025238"/>
              <a:ext cx="453928" cy="240264"/>
            </a:xfrm>
            <a:prstGeom prst="rect">
              <a:avLst/>
            </a:prstGeom>
          </p:spPr>
        </p:pic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293076" y="5353635"/>
              <a:ext cx="424322" cy="218903"/>
            </a:xfrm>
            <a:prstGeom prst="rect">
              <a:avLst/>
            </a:prstGeom>
          </p:spPr>
        </p:pic>
      </p:grpSp>
      <p:sp>
        <p:nvSpPr>
          <p:cNvPr id="12" name="Прямоугольник 11"/>
          <p:cNvSpPr/>
          <p:nvPr/>
        </p:nvSpPr>
        <p:spPr>
          <a:xfrm>
            <a:off x="5758047" y="990600"/>
            <a:ext cx="4114799" cy="332398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268288" indent="-268288" algn="just">
              <a:spcAft>
                <a:spcPts val="0"/>
              </a:spcAft>
            </a:pPr>
            <a:r>
              <a:rPr lang="ru-RU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сторождение </a:t>
            </a:r>
            <a:r>
              <a:rPr lang="ru-RU" sz="1000" dirty="0" err="1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рогенного</a:t>
            </a:r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золото-кварцевого </a:t>
            </a:r>
            <a:r>
              <a:rPr lang="ru-RU" sz="1000" dirty="0" err="1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лосульфидного</a:t>
            </a:r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типа в </a:t>
            </a:r>
            <a:r>
              <a:rPr lang="ru-RU" sz="10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черносланцевой </a:t>
            </a:r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олще</a:t>
            </a:r>
            <a:r>
              <a:rPr lang="en-US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PR</a:t>
            </a:r>
            <a:r>
              <a:rPr lang="en-US" sz="1000" baseline="-25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  <a:r>
              <a:rPr lang="en-US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endParaRPr lang="en-US" sz="1000" dirty="0" smtClean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68288" lvl="0" indent="-268288" algn="just">
              <a:spcAft>
                <a:spcPts val="0"/>
              </a:spcAft>
              <a:buFont typeface="+mj-lt"/>
              <a:buAutoNum type="arabicPeriod"/>
            </a:pPr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едставлено мощными терригенными отложениями с различной </a:t>
            </a:r>
            <a:r>
              <a:rPr lang="ru-RU" sz="1000" dirty="0" err="1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глеродистостью</a:t>
            </a:r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</a:t>
            </a:r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Частично перекрыт </a:t>
            </a:r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рригенно-карбонатными породами. </a:t>
            </a:r>
          </a:p>
          <a:p>
            <a:pPr marL="268288" lvl="0" indent="-268288" algn="just">
              <a:spcAft>
                <a:spcPts val="0"/>
              </a:spcAft>
              <a:buFont typeface="+mj-lt"/>
              <a:buAutoNum type="arabicPeriod"/>
            </a:pPr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гматические образования практически отсутствуют.</a:t>
            </a:r>
            <a:endParaRPr lang="ru-RU" sz="10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68288" lvl="0" indent="-268288" algn="just">
              <a:spcAft>
                <a:spcPts val="0"/>
              </a:spcAft>
              <a:buFont typeface="+mj-lt"/>
              <a:buAutoNum type="arabicPeriod"/>
            </a:pPr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руктурно-тектоническое строение – антиклинальная складка. Системы трещин и нарушений связаны со складчатым строением.</a:t>
            </a:r>
            <a:endParaRPr lang="ru-RU" sz="10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68288" lvl="0" indent="-268288" algn="just">
              <a:spcAft>
                <a:spcPts val="0"/>
              </a:spcAft>
              <a:buFont typeface="+mj-lt"/>
              <a:buAutoNum type="arabicPeriod"/>
            </a:pPr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ерывистый </a:t>
            </a:r>
            <a:r>
              <a:rPr lang="ru-RU" sz="10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характер распределения золоторудной минерализации в направлении мощности рудного </a:t>
            </a:r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ла.</a:t>
            </a:r>
            <a:endParaRPr lang="ru-RU" sz="10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68288" lvl="0" indent="-268288" algn="just">
              <a:spcAft>
                <a:spcPts val="0"/>
              </a:spcAft>
              <a:buFont typeface="+mj-lt"/>
              <a:buAutoNum type="arabicPeriod"/>
            </a:pPr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ональное </a:t>
            </a:r>
            <a:r>
              <a:rPr lang="ru-RU" sz="10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спределение содержаний золота относительно осевой плоскости антиклинали, положение которой контролируется зоной смятия</a:t>
            </a:r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marL="268288" lvl="0" indent="-268288" algn="just">
              <a:spcAft>
                <a:spcPts val="0"/>
              </a:spcAft>
              <a:buFont typeface="+mj-lt"/>
              <a:buAutoNum type="arabicPeriod"/>
            </a:pPr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ыдержанность рудных тел </a:t>
            </a:r>
            <a:r>
              <a:rPr lang="ru-RU" sz="10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 простиранию и падению</a:t>
            </a:r>
          </a:p>
          <a:p>
            <a:pPr marL="268288" lvl="0" indent="-268288" algn="just">
              <a:spcAft>
                <a:spcPts val="0"/>
              </a:spcAft>
              <a:buFont typeface="+mj-lt"/>
              <a:buAutoNum type="arabicPeriod"/>
            </a:pPr>
            <a:r>
              <a:rPr lang="ru-RU" sz="10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уды </a:t>
            </a:r>
            <a:r>
              <a:rPr lang="ru-RU" sz="1000" dirty="0" err="1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лосульфидные</a:t>
            </a:r>
            <a:r>
              <a:rPr lang="ru-RU" sz="10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кварц-карбонатные, прожилково-вкрапленные, </a:t>
            </a:r>
            <a:r>
              <a:rPr lang="ru-RU" sz="10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нездово</a:t>
            </a:r>
            <a:r>
              <a:rPr lang="ru-RU" sz="10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линзовидные, в подчиненном количестве жильные, </a:t>
            </a:r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крапленные.</a:t>
            </a:r>
          </a:p>
          <a:p>
            <a:pPr marL="268288" lvl="0" indent="-268288" algn="just">
              <a:spcAft>
                <a:spcPts val="0"/>
              </a:spcAft>
              <a:buFont typeface="+mj-lt"/>
              <a:buAutoNum type="arabicPeriod"/>
            </a:pPr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еимущественно пиритовая минерализация.</a:t>
            </a:r>
          </a:p>
          <a:p>
            <a:pPr marL="268288" lvl="0" indent="-268288" algn="just">
              <a:spcAft>
                <a:spcPts val="0"/>
              </a:spcAft>
              <a:buFont typeface="+mj-lt"/>
              <a:buAutoNum type="arabicPeriod"/>
            </a:pPr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ъемная </a:t>
            </a:r>
            <a:r>
              <a:rPr lang="ru-RU" sz="10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сса вмещающих пород изменяется от 2,5 до 3,0, в среднем 2,79 г/см3</a:t>
            </a:r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ru-RU" sz="10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02965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241" y="6368702"/>
            <a:ext cx="1487195" cy="306000"/>
          </a:xfrm>
          <a:prstGeom prst="rect">
            <a:avLst/>
          </a:prstGeom>
        </p:spPr>
      </p:pic>
      <p:sp>
        <p:nvSpPr>
          <p:cNvPr id="263" name="Slide Number Placeholder 8"/>
          <p:cNvSpPr>
            <a:spLocks noGrp="1"/>
          </p:cNvSpPr>
          <p:nvPr>
            <p:ph type="sldNum" sz="quarter" idx="4294967295"/>
          </p:nvPr>
        </p:nvSpPr>
        <p:spPr bwMode="gray">
          <a:xfrm>
            <a:off x="8887130" y="6443316"/>
            <a:ext cx="395288" cy="28917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C05F1482-BC98-4127-A333-8481AF6BE516}" type="slidenum">
              <a:rPr lang="en-US" sz="1200"/>
              <a:pPr algn="r" fontAlgn="base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en-US" sz="1200" dirty="0"/>
          </a:p>
        </p:txBody>
      </p:sp>
      <p:sp>
        <p:nvSpPr>
          <p:cNvPr id="24" name="Text Placeholder 1"/>
          <p:cNvSpPr txBox="1">
            <a:spLocks/>
          </p:cNvSpPr>
          <p:nvPr/>
        </p:nvSpPr>
        <p:spPr bwMode="gray">
          <a:xfrm>
            <a:off x="961180" y="16811"/>
            <a:ext cx="1933243" cy="8555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r>
              <a:rPr lang="ru-RU" sz="2400" b="1" dirty="0" smtClean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ВЕРНИНСКОЕ</a:t>
            </a:r>
          </a:p>
          <a:p>
            <a:pPr>
              <a:spcBef>
                <a:spcPct val="50000"/>
              </a:spcBef>
              <a:defRPr/>
            </a:pPr>
            <a:r>
              <a:rPr lang="ru-RU" sz="1600" b="1" dirty="0" smtClean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(ресурсы 360 т)</a:t>
            </a:r>
            <a:endParaRPr lang="en-US" sz="1600" b="1" dirty="0">
              <a:solidFill>
                <a:schemeClr val="bg1"/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7767997" y="4610555"/>
            <a:ext cx="3208780" cy="2485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15" b="1" dirty="0">
                <a:solidFill>
                  <a:schemeClr val="bg1"/>
                </a:solidFill>
              </a:rPr>
              <a:t>Возможный прирост запасов</a:t>
            </a:r>
          </a:p>
        </p:txBody>
      </p:sp>
      <p:pic>
        <p:nvPicPr>
          <p:cNvPr id="32" name="Рисунок 31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876" y="1878204"/>
            <a:ext cx="3533044" cy="1392056"/>
          </a:xfrm>
          <a:prstGeom prst="rect">
            <a:avLst/>
          </a:prstGeom>
        </p:spPr>
      </p:pic>
      <p:sp>
        <p:nvSpPr>
          <p:cNvPr id="33" name="Стрелка вправо 32"/>
          <p:cNvSpPr/>
          <p:nvPr/>
        </p:nvSpPr>
        <p:spPr>
          <a:xfrm rot="2014394">
            <a:off x="8251048" y="2678553"/>
            <a:ext cx="532250" cy="264066"/>
          </a:xfrm>
          <a:prstGeom prst="rightArrow">
            <a:avLst/>
          </a:prstGeom>
          <a:solidFill>
            <a:srgbClr val="FFC000"/>
          </a:solidFill>
          <a:ln>
            <a:solidFill>
              <a:srgbClr val="FFFF00"/>
            </a:solidFill>
          </a:ln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62"/>
          </a:p>
        </p:txBody>
      </p:sp>
      <p:sp>
        <p:nvSpPr>
          <p:cNvPr id="34" name="Стрелка вниз 33"/>
          <p:cNvSpPr/>
          <p:nvPr/>
        </p:nvSpPr>
        <p:spPr>
          <a:xfrm rot="18328778">
            <a:off x="8378826" y="3023425"/>
            <a:ext cx="265876" cy="521115"/>
          </a:xfrm>
          <a:prstGeom prst="downArrow">
            <a:avLst/>
          </a:prstGeom>
          <a:solidFill>
            <a:srgbClr val="FFC000"/>
          </a:solidFill>
          <a:ln>
            <a:solidFill>
              <a:srgbClr val="FFFF00"/>
            </a:solidFill>
          </a:ln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62"/>
          </a:p>
        </p:txBody>
      </p:sp>
      <p:sp>
        <p:nvSpPr>
          <p:cNvPr id="35" name="Прямоугольник 34"/>
          <p:cNvSpPr/>
          <p:nvPr/>
        </p:nvSpPr>
        <p:spPr>
          <a:xfrm>
            <a:off x="8769653" y="2947095"/>
            <a:ext cx="112421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Возможный прирост запасов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7833872" y="4743909"/>
            <a:ext cx="1649623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Смежный</a:t>
            </a:r>
            <a:r>
              <a:rPr lang="ru-RU" sz="1400" dirty="0"/>
              <a:t>: фланги не оконтурены, </a:t>
            </a:r>
            <a:r>
              <a:rPr lang="ru-RU" sz="1400" dirty="0"/>
              <a:t>основной прирост ожидается для подземной добычи. </a:t>
            </a:r>
            <a:r>
              <a:rPr lang="ru-RU" sz="1400" dirty="0"/>
              <a:t>Ожидаемый </a:t>
            </a:r>
            <a:r>
              <a:rPr lang="ru-RU" sz="1400" dirty="0"/>
              <a:t>прирост запасов – 50 т. </a:t>
            </a:r>
            <a:r>
              <a:rPr lang="en-US" sz="1400" dirty="0"/>
              <a:t>Au</a:t>
            </a:r>
            <a:endParaRPr lang="ru-RU" sz="1400" dirty="0"/>
          </a:p>
        </p:txBody>
      </p:sp>
      <p:sp>
        <p:nvSpPr>
          <p:cNvPr id="41" name="Прямоугольник 40"/>
          <p:cNvSpPr/>
          <p:nvPr/>
        </p:nvSpPr>
        <p:spPr>
          <a:xfrm>
            <a:off x="7426107" y="1591414"/>
            <a:ext cx="1244858" cy="262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8" b="1" dirty="0"/>
              <a:t>Разрез А-Б </a:t>
            </a:r>
            <a:endParaRPr lang="ru-RU" sz="1108" dirty="0"/>
          </a:p>
        </p:txBody>
      </p:sp>
      <p:grpSp>
        <p:nvGrpSpPr>
          <p:cNvPr id="2" name="Группа 1"/>
          <p:cNvGrpSpPr/>
          <p:nvPr/>
        </p:nvGrpSpPr>
        <p:grpSpPr>
          <a:xfrm>
            <a:off x="260799" y="1065830"/>
            <a:ext cx="6200458" cy="3759412"/>
            <a:chOff x="260799" y="1065830"/>
            <a:chExt cx="6200458" cy="3759412"/>
          </a:xfrm>
        </p:grpSpPr>
        <p:pic>
          <p:nvPicPr>
            <p:cNvPr id="22" name="Рисунок 21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0799" y="1272466"/>
              <a:ext cx="6013916" cy="3471443"/>
            </a:xfrm>
            <a:prstGeom prst="rect">
              <a:avLst/>
            </a:prstGeom>
          </p:spPr>
        </p:pic>
        <p:sp>
          <p:nvSpPr>
            <p:cNvPr id="12" name="Rectangle 52"/>
            <p:cNvSpPr>
              <a:spLocks noChangeArrowheads="1"/>
            </p:cNvSpPr>
            <p:nvPr/>
          </p:nvSpPr>
          <p:spPr bwMode="auto">
            <a:xfrm>
              <a:off x="6376265" y="1743846"/>
              <a:ext cx="84992" cy="835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/>
              <a:endParaRPr lang="en-US" sz="1846">
                <a:cs typeface="Arial" pitchFamily="34" charset="0"/>
              </a:endParaRPr>
            </a:p>
          </p:txBody>
        </p:sp>
        <p:sp>
          <p:nvSpPr>
            <p:cNvPr id="16" name="Rectangle 49"/>
            <p:cNvSpPr/>
            <p:nvPr/>
          </p:nvSpPr>
          <p:spPr bwMode="gray">
            <a:xfrm>
              <a:off x="5901267" y="1570931"/>
              <a:ext cx="65942" cy="67408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62" dirty="0">
                <a:solidFill>
                  <a:schemeClr val="tx1"/>
                </a:solidFill>
              </a:endParaRPr>
            </a:p>
          </p:txBody>
        </p:sp>
        <p:sp>
          <p:nvSpPr>
            <p:cNvPr id="17" name="Rectangle 50"/>
            <p:cNvSpPr/>
            <p:nvPr/>
          </p:nvSpPr>
          <p:spPr bwMode="gray">
            <a:xfrm>
              <a:off x="5901267" y="2085280"/>
              <a:ext cx="65942" cy="67408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62" dirty="0">
                <a:solidFill>
                  <a:schemeClr val="tx1"/>
                </a:solidFill>
              </a:endParaRPr>
            </a:p>
          </p:txBody>
        </p:sp>
        <p:sp>
          <p:nvSpPr>
            <p:cNvPr id="18" name="Rectangle 51"/>
            <p:cNvSpPr/>
            <p:nvPr/>
          </p:nvSpPr>
          <p:spPr bwMode="gray">
            <a:xfrm>
              <a:off x="5901267" y="3442226"/>
              <a:ext cx="65942" cy="65943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62" dirty="0">
                <a:solidFill>
                  <a:schemeClr val="tx1"/>
                </a:solidFill>
              </a:endParaRPr>
            </a:p>
          </p:txBody>
        </p:sp>
        <p:sp>
          <p:nvSpPr>
            <p:cNvPr id="26" name="Стрелка вниз 25"/>
            <p:cNvSpPr/>
            <p:nvPr/>
          </p:nvSpPr>
          <p:spPr>
            <a:xfrm rot="12634923">
              <a:off x="4482839" y="2289728"/>
              <a:ext cx="383485" cy="908905"/>
            </a:xfrm>
            <a:prstGeom prst="downArrow">
              <a:avLst/>
            </a:prstGeom>
            <a:solidFill>
              <a:srgbClr val="FFC000"/>
            </a:solidFill>
            <a:ln>
              <a:solidFill>
                <a:srgbClr val="FFFF00"/>
              </a:solidFill>
            </a:ln>
            <a:effectLst>
              <a:glow rad="101600">
                <a:schemeClr val="accent1">
                  <a:satMod val="175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62">
                <a:solidFill>
                  <a:schemeClr val="tx1"/>
                </a:solidFill>
              </a:endParaRPr>
            </a:p>
          </p:txBody>
        </p:sp>
        <p:sp>
          <p:nvSpPr>
            <p:cNvPr id="27" name="Стрелка вправо 26"/>
            <p:cNvSpPr/>
            <p:nvPr/>
          </p:nvSpPr>
          <p:spPr>
            <a:xfrm rot="18162551">
              <a:off x="3315795" y="2100345"/>
              <a:ext cx="823837" cy="347381"/>
            </a:xfrm>
            <a:prstGeom prst="rightArrow">
              <a:avLst/>
            </a:prstGeom>
            <a:solidFill>
              <a:srgbClr val="FFC000"/>
            </a:solidFill>
            <a:ln>
              <a:solidFill>
                <a:srgbClr val="FFFF00"/>
              </a:solidFill>
            </a:ln>
            <a:effectLst>
              <a:glow rad="101600">
                <a:schemeClr val="accent1">
                  <a:satMod val="175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62">
                <a:solidFill>
                  <a:schemeClr val="tx1"/>
                </a:solidFill>
              </a:endParaRPr>
            </a:p>
          </p:txBody>
        </p:sp>
        <p:sp>
          <p:nvSpPr>
            <p:cNvPr id="29" name="Стрелка вниз 28"/>
            <p:cNvSpPr/>
            <p:nvPr/>
          </p:nvSpPr>
          <p:spPr>
            <a:xfrm rot="12412987">
              <a:off x="6088643" y="3790832"/>
              <a:ext cx="247994" cy="534385"/>
            </a:xfrm>
            <a:prstGeom prst="downArrow">
              <a:avLst/>
            </a:prstGeom>
            <a:solidFill>
              <a:srgbClr val="FFC000"/>
            </a:solidFill>
            <a:ln>
              <a:solidFill>
                <a:srgbClr val="FFFF00"/>
              </a:solidFill>
            </a:ln>
            <a:effectLst>
              <a:glow rad="101600">
                <a:schemeClr val="accent1">
                  <a:satMod val="175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62"/>
            </a:p>
          </p:txBody>
        </p:sp>
        <p:cxnSp>
          <p:nvCxnSpPr>
            <p:cNvPr id="37" name="Прямая соединительная линия 36"/>
            <p:cNvCxnSpPr/>
            <p:nvPr/>
          </p:nvCxnSpPr>
          <p:spPr>
            <a:xfrm flipH="1">
              <a:off x="1947283" y="4630042"/>
              <a:ext cx="138693" cy="19520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Прямая соединительная линия 37"/>
            <p:cNvCxnSpPr/>
            <p:nvPr/>
          </p:nvCxnSpPr>
          <p:spPr>
            <a:xfrm flipV="1">
              <a:off x="4610515" y="1085142"/>
              <a:ext cx="130409" cy="170817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Прямоугольник 38"/>
            <p:cNvSpPr/>
            <p:nvPr/>
          </p:nvSpPr>
          <p:spPr>
            <a:xfrm rot="18379633">
              <a:off x="1752521" y="4465538"/>
              <a:ext cx="350562" cy="2628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108" b="1" dirty="0"/>
                <a:t>А</a:t>
              </a:r>
              <a:endParaRPr lang="ru-RU" sz="1108" dirty="0"/>
            </a:p>
          </p:txBody>
        </p:sp>
        <p:sp>
          <p:nvSpPr>
            <p:cNvPr id="40" name="Прямоугольник 39"/>
            <p:cNvSpPr/>
            <p:nvPr/>
          </p:nvSpPr>
          <p:spPr>
            <a:xfrm rot="18538044">
              <a:off x="4492254" y="1005414"/>
              <a:ext cx="141997" cy="2628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108" b="1" dirty="0"/>
                <a:t>Б</a:t>
              </a:r>
              <a:endParaRPr lang="ru-RU" sz="1108" dirty="0"/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4147968" y="1576090"/>
              <a:ext cx="1124218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dirty="0">
                  <a:latin typeface="Arial" panose="020B0604020202020204" pitchFamily="34" charset="0"/>
                  <a:cs typeface="Arial" panose="020B0604020202020204" pitchFamily="34" charset="0"/>
                </a:rPr>
                <a:t>Возможный прирост запасов</a:t>
              </a:r>
            </a:p>
          </p:txBody>
        </p:sp>
      </p:grpSp>
      <p:pic>
        <p:nvPicPr>
          <p:cNvPr id="47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99" t="84548" r="6530"/>
          <a:stretch/>
        </p:blipFill>
        <p:spPr bwMode="auto">
          <a:xfrm>
            <a:off x="381000" y="5339903"/>
            <a:ext cx="6959449" cy="139258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6291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6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Polyus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lyus" id="{7AB67AA2-4238-45F7-96EA-57F9A2CE2FE9}" vid="{B24C55F5-A601-4AC5-8F4D-D3147B874685}"/>
    </a:ext>
  </a:extLst>
</a:theme>
</file>

<file path=ppt/theme/theme3.xml><?xml version="1.0" encoding="utf-8"?>
<a:theme xmlns:a="http://schemas.openxmlformats.org/drawingml/2006/main" name="1_Polyus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lyus" id="{7AB67AA2-4238-45F7-96EA-57F9A2CE2FE9}" vid="{B24C55F5-A601-4AC5-8F4D-D3147B874685}"/>
    </a:ext>
  </a:extLst>
</a:theme>
</file>

<file path=ppt/theme/theme4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Polyus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lyus" id="{7AB67AA2-4238-45F7-96EA-57F9A2CE2FE9}" vid="{B24C55F5-A601-4AC5-8F4D-D3147B874685}"/>
    </a:ext>
  </a:extLst>
</a:theme>
</file>

<file path=ppt/theme/theme6.xml><?xml version="1.0" encoding="utf-8"?>
<a:theme xmlns:a="http://schemas.openxmlformats.org/drawingml/2006/main" name="4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5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Polyus_new">
  <a:themeElements>
    <a:clrScheme name="Бумажная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Polyu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6E6E6"/>
        </a:solidFill>
        <a:ln>
          <a:noFill/>
        </a:ln>
      </a:spPr>
      <a:bodyPr lIns="0" tIns="0" rIns="0" bIns="0" rtlCol="0" anchor="ctr"/>
      <a:lstStyle>
        <a:defPPr>
          <a:defRPr sz="1300" b="1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olyus_new" id="{CB7E9508-AB8C-4BE7-84BB-BDBFA9617F68}" vid="{F4EB97BE-2F6D-4CA6-909D-E6AA58A9AA65}"/>
    </a:ext>
  </a:extLst>
</a:theme>
</file>

<file path=ppt/theme/theme9.xml><?xml version="1.0" encoding="utf-8"?>
<a:theme xmlns:a="http://schemas.openxmlformats.org/drawingml/2006/main" name="2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693</TotalTime>
  <Words>716</Words>
  <Application>Microsoft Office PowerPoint</Application>
  <PresentationFormat>Лист A4 (210x297 мм)</PresentationFormat>
  <Paragraphs>274</Paragraphs>
  <Slides>13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0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3</vt:i4>
      </vt:variant>
    </vt:vector>
  </HeadingPairs>
  <TitlesOfParts>
    <vt:vector size="34" baseType="lpstr">
      <vt:lpstr>10</vt:lpstr>
      <vt:lpstr>Arial</vt:lpstr>
      <vt:lpstr>Calibri</vt:lpstr>
      <vt:lpstr>Calibri Light</vt:lpstr>
      <vt:lpstr>Courier New</vt:lpstr>
      <vt:lpstr>Road radio</vt:lpstr>
      <vt:lpstr>Tahoma</vt:lpstr>
      <vt:lpstr>Times New Roman</vt:lpstr>
      <vt:lpstr>Verdana</vt:lpstr>
      <vt:lpstr>Тема Office</vt:lpstr>
      <vt:lpstr>2_Polyus</vt:lpstr>
      <vt:lpstr>1_Polyus</vt:lpstr>
      <vt:lpstr>1_Тема Office</vt:lpstr>
      <vt:lpstr>Polyus</vt:lpstr>
      <vt:lpstr>4_Тема Office</vt:lpstr>
      <vt:lpstr>5_Тема Office</vt:lpstr>
      <vt:lpstr>Polyus_new</vt:lpstr>
      <vt:lpstr>2_Тема Office</vt:lpstr>
      <vt:lpstr>6_Тема Office</vt:lpstr>
      <vt:lpstr>think-cell Slide</vt:lpstr>
      <vt:lpstr>CorelDRAW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Месторождения Сухоложского рудного поля.  (ресурсы 1900 т)</vt:lpstr>
      <vt:lpstr>Презентация PowerPoint</vt:lpstr>
      <vt:lpstr>Физические свойства пород месторождений Сухоложского рудного поля</vt:lpstr>
      <vt:lpstr>Презентация PowerPoint</vt:lpstr>
      <vt:lpstr>Презентация PowerPoint</vt:lpstr>
      <vt:lpstr>Переспективны объекты Полюса. золото-меднопорфировые.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GladyshevVV@polyusgold.com</dc:creator>
  <cp:lastModifiedBy>Данилов Владимир Викторович</cp:lastModifiedBy>
  <cp:revision>862</cp:revision>
  <dcterms:created xsi:type="dcterms:W3CDTF">2016-03-22T10:40:35Z</dcterms:created>
  <dcterms:modified xsi:type="dcterms:W3CDTF">2020-02-11T04:53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6-03-17T00:00:00Z</vt:filetime>
  </property>
  <property fmtid="{D5CDD505-2E9C-101B-9397-08002B2CF9AE}" pid="3" name="Creator">
    <vt:lpwstr>Microsoft® PowerPoint® 2010</vt:lpwstr>
  </property>
  <property fmtid="{D5CDD505-2E9C-101B-9397-08002B2CF9AE}" pid="4" name="LastSaved">
    <vt:filetime>2016-03-22T00:00:00Z</vt:filetime>
  </property>
</Properties>
</file>